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147483640" r:id="rId3"/>
    <p:sldId id="2147483638" r:id="rId4"/>
    <p:sldId id="2147483639" r:id="rId5"/>
    <p:sldId id="259" r:id="rId6"/>
    <p:sldId id="2147483641" r:id="rId7"/>
    <p:sldId id="258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4C84AD-9808-4925-8E20-3D982DC57AAD}" v="407" dt="2025-06-24T15:34:52.32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6" autoAdjust="0"/>
    <p:restoredTop sz="94660"/>
  </p:normalViewPr>
  <p:slideViewPr>
    <p:cSldViewPr snapToGrid="0">
      <p:cViewPr varScale="1">
        <p:scale>
          <a:sx n="94" d="100"/>
          <a:sy n="94" d="100"/>
        </p:scale>
        <p:origin x="1230" y="27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microsoft.com/office/2016/11/relationships/changesInfo" Target="changesInfos/changesInfo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blo Salvador Lopez" userId="97bf2e1f-2ff7-4d81-8328-2de988cb1216" providerId="ADAL" clId="{4C4C84AD-9808-4925-8E20-3D982DC57AAD}"/>
    <pc:docChg chg="undo custSel addSld delSld modSld sldOrd">
      <pc:chgData name="Pablo Salvador Lopez" userId="97bf2e1f-2ff7-4d81-8328-2de988cb1216" providerId="ADAL" clId="{4C4C84AD-9808-4925-8E20-3D982DC57AAD}" dt="2025-06-25T05:38:19.299" v="1916" actId="20577"/>
      <pc:docMkLst>
        <pc:docMk/>
      </pc:docMkLst>
      <pc:sldChg chg="del">
        <pc:chgData name="Pablo Salvador Lopez" userId="97bf2e1f-2ff7-4d81-8328-2de988cb1216" providerId="ADAL" clId="{4C4C84AD-9808-4925-8E20-3D982DC57AAD}" dt="2025-03-24T01:04:02.436" v="408" actId="47"/>
        <pc:sldMkLst>
          <pc:docMk/>
          <pc:sldMk cId="3011506141" sldId="257"/>
        </pc:sldMkLst>
      </pc:sldChg>
      <pc:sldChg chg="addSp delSp modSp mod ord delAnim modAnim">
        <pc:chgData name="Pablo Salvador Lopez" userId="97bf2e1f-2ff7-4d81-8328-2de988cb1216" providerId="ADAL" clId="{4C4C84AD-9808-4925-8E20-3D982DC57AAD}" dt="2025-06-25T05:38:19.299" v="1916" actId="20577"/>
        <pc:sldMkLst>
          <pc:docMk/>
          <pc:sldMk cId="689183972" sldId="258"/>
        </pc:sldMkLst>
        <pc:spChg chg="mod">
          <ac:chgData name="Pablo Salvador Lopez" userId="97bf2e1f-2ff7-4d81-8328-2de988cb1216" providerId="ADAL" clId="{4C4C84AD-9808-4925-8E20-3D982DC57AAD}" dt="2025-06-25T05:38:19.299" v="1916" actId="20577"/>
          <ac:spMkLst>
            <pc:docMk/>
            <pc:sldMk cId="689183972" sldId="258"/>
            <ac:spMk id="4" creationId="{F3965C42-AD95-4885-656D-15BBF12C2FEA}"/>
          </ac:spMkLst>
        </pc:spChg>
      </pc:sldChg>
      <pc:sldChg chg="addSp delSp modSp add mod ord delAnim modAnim">
        <pc:chgData name="Pablo Salvador Lopez" userId="97bf2e1f-2ff7-4d81-8328-2de988cb1216" providerId="ADAL" clId="{4C4C84AD-9808-4925-8E20-3D982DC57AAD}" dt="2025-03-29T14:59:53.035" v="1852" actId="1076"/>
        <pc:sldMkLst>
          <pc:docMk/>
          <pc:sldMk cId="3205287591" sldId="259"/>
        </pc:sldMkLst>
      </pc:sldChg>
      <pc:sldChg chg="addSp delSp modSp add del mod ord modShow">
        <pc:chgData name="Pablo Salvador Lopez" userId="97bf2e1f-2ff7-4d81-8328-2de988cb1216" providerId="ADAL" clId="{4C4C84AD-9808-4925-8E20-3D982DC57AAD}" dt="2025-03-28T15:42:15.631" v="1242" actId="1076"/>
        <pc:sldMkLst>
          <pc:docMk/>
          <pc:sldMk cId="3804749464" sldId="2147483638"/>
        </pc:sldMkLst>
      </pc:sldChg>
      <pc:sldChg chg="addSp delSp modSp add mod">
        <pc:chgData name="Pablo Salvador Lopez" userId="97bf2e1f-2ff7-4d81-8328-2de988cb1216" providerId="ADAL" clId="{4C4C84AD-9808-4925-8E20-3D982DC57AAD}" dt="2025-03-28T15:41:09.921" v="1238" actId="1076"/>
        <pc:sldMkLst>
          <pc:docMk/>
          <pc:sldMk cId="3673315578" sldId="2147483639"/>
        </pc:sldMkLst>
      </pc:sldChg>
      <pc:sldChg chg="addSp delSp modSp add mod">
        <pc:chgData name="Pablo Salvador Lopez" userId="97bf2e1f-2ff7-4d81-8328-2de988cb1216" providerId="ADAL" clId="{4C4C84AD-9808-4925-8E20-3D982DC57AAD}" dt="2025-03-28T15:59:08.791" v="1775" actId="20577"/>
        <pc:sldMkLst>
          <pc:docMk/>
          <pc:sldMk cId="3028930182" sldId="2147483640"/>
        </pc:sldMkLst>
      </pc:sldChg>
      <pc:sldChg chg="delSp new del mod">
        <pc:chgData name="Pablo Salvador Lopez" userId="97bf2e1f-2ff7-4d81-8328-2de988cb1216" providerId="ADAL" clId="{4C4C84AD-9808-4925-8E20-3D982DC57AAD}" dt="2025-03-28T15:42:38.190" v="1245" actId="47"/>
        <pc:sldMkLst>
          <pc:docMk/>
          <pc:sldMk cId="4206514666" sldId="2147483640"/>
        </pc:sldMkLst>
      </pc:sldChg>
      <pc:sldChg chg="addSp delSp modSp add mod">
        <pc:chgData name="Pablo Salvador Lopez" userId="97bf2e1f-2ff7-4d81-8328-2de988cb1216" providerId="ADAL" clId="{4C4C84AD-9808-4925-8E20-3D982DC57AAD}" dt="2025-06-24T15:35:33.905" v="1890" actId="313"/>
        <pc:sldMkLst>
          <pc:docMk/>
          <pc:sldMk cId="3647189422" sldId="2147483641"/>
        </pc:sldMkLst>
        <pc:spChg chg="mod">
          <ac:chgData name="Pablo Salvador Lopez" userId="97bf2e1f-2ff7-4d81-8328-2de988cb1216" providerId="ADAL" clId="{4C4C84AD-9808-4925-8E20-3D982DC57AAD}" dt="2025-06-24T15:34:52.322" v="1885"/>
          <ac:spMkLst>
            <pc:docMk/>
            <pc:sldMk cId="3647189422" sldId="2147483641"/>
            <ac:spMk id="13" creationId="{D8DE9329-BCF5-72EC-D037-B28C5CBC07B5}"/>
          </ac:spMkLst>
        </pc:spChg>
        <pc:spChg chg="del">
          <ac:chgData name="Pablo Salvador Lopez" userId="97bf2e1f-2ff7-4d81-8328-2de988cb1216" providerId="ADAL" clId="{4C4C84AD-9808-4925-8E20-3D982DC57AAD}" dt="2025-06-24T15:34:57.501" v="1887" actId="478"/>
          <ac:spMkLst>
            <pc:docMk/>
            <pc:sldMk cId="3647189422" sldId="2147483641"/>
            <ac:spMk id="22" creationId="{084B92B8-CDA8-110F-7563-BD5A774F8D6B}"/>
          </ac:spMkLst>
        </pc:spChg>
        <pc:spChg chg="mod">
          <ac:chgData name="Pablo Salvador Lopez" userId="97bf2e1f-2ff7-4d81-8328-2de988cb1216" providerId="ADAL" clId="{4C4C84AD-9808-4925-8E20-3D982DC57AAD}" dt="2025-06-24T15:34:43.318" v="1883" actId="20577"/>
          <ac:spMkLst>
            <pc:docMk/>
            <pc:sldMk cId="3647189422" sldId="2147483641"/>
            <ac:spMk id="63" creationId="{393645A2-4805-9579-1B15-7AF1F0E06813}"/>
          </ac:spMkLst>
        </pc:spChg>
        <pc:spChg chg="mod">
          <ac:chgData name="Pablo Salvador Lopez" userId="97bf2e1f-2ff7-4d81-8328-2de988cb1216" providerId="ADAL" clId="{4C4C84AD-9808-4925-8E20-3D982DC57AAD}" dt="2025-06-24T15:34:49.322" v="1884"/>
          <ac:spMkLst>
            <pc:docMk/>
            <pc:sldMk cId="3647189422" sldId="2147483641"/>
            <ac:spMk id="93" creationId="{1070013E-CDE5-0851-8812-6821F5F82E68}"/>
          </ac:spMkLst>
        </pc:spChg>
        <pc:spChg chg="mod">
          <ac:chgData name="Pablo Salvador Lopez" userId="97bf2e1f-2ff7-4d81-8328-2de988cb1216" providerId="ADAL" clId="{4C4C84AD-9808-4925-8E20-3D982DC57AAD}" dt="2025-06-24T15:35:33.905" v="1890" actId="313"/>
          <ac:spMkLst>
            <pc:docMk/>
            <pc:sldMk cId="3647189422" sldId="2147483641"/>
            <ac:spMk id="1055" creationId="{05AB3723-2452-8D01-D2D7-D7FF70B99662}"/>
          </ac:spMkLst>
        </pc:spChg>
        <pc:spChg chg="del">
          <ac:chgData name="Pablo Salvador Lopez" userId="97bf2e1f-2ff7-4d81-8328-2de988cb1216" providerId="ADAL" clId="{4C4C84AD-9808-4925-8E20-3D982DC57AAD}" dt="2025-06-24T15:34:59.039" v="1888" actId="478"/>
          <ac:spMkLst>
            <pc:docMk/>
            <pc:sldMk cId="3647189422" sldId="2147483641"/>
            <ac:spMk id="1106" creationId="{1910F08A-5ADB-80BD-2A49-954438A146CA}"/>
          </ac:spMkLst>
        </pc:spChg>
        <pc:picChg chg="del">
          <ac:chgData name="Pablo Salvador Lopez" userId="97bf2e1f-2ff7-4d81-8328-2de988cb1216" providerId="ADAL" clId="{4C4C84AD-9808-4925-8E20-3D982DC57AAD}" dt="2025-06-24T15:33:56.052" v="1854" actId="478"/>
          <ac:picMkLst>
            <pc:docMk/>
            <pc:sldMk cId="3647189422" sldId="2147483641"/>
            <ac:picMk id="14" creationId="{C8DF61C5-8453-884C-C247-8ACCD3242981}"/>
          </ac:picMkLst>
        </pc:picChg>
        <pc:picChg chg="del">
          <ac:chgData name="Pablo Salvador Lopez" userId="97bf2e1f-2ff7-4d81-8328-2de988cb1216" providerId="ADAL" clId="{4C4C84AD-9808-4925-8E20-3D982DC57AAD}" dt="2025-06-24T15:34:55.624" v="1886" actId="478"/>
          <ac:picMkLst>
            <pc:docMk/>
            <pc:sldMk cId="3647189422" sldId="2147483641"/>
            <ac:picMk id="23" creationId="{39428492-D781-04A5-D893-C75B3F522C3D}"/>
          </ac:picMkLst>
        </pc:picChg>
        <pc:picChg chg="del">
          <ac:chgData name="Pablo Salvador Lopez" userId="97bf2e1f-2ff7-4d81-8328-2de988cb1216" providerId="ADAL" clId="{4C4C84AD-9808-4925-8E20-3D982DC57AAD}" dt="2025-06-24T15:34:27.084" v="1866" actId="478"/>
          <ac:picMkLst>
            <pc:docMk/>
            <pc:sldMk cId="3647189422" sldId="2147483641"/>
            <ac:picMk id="64" creationId="{8FD46AD8-7F75-A8BB-4FE8-AD028B5B866D}"/>
          </ac:picMkLst>
        </pc:picChg>
        <pc:picChg chg="del">
          <ac:chgData name="Pablo Salvador Lopez" userId="97bf2e1f-2ff7-4d81-8328-2de988cb1216" providerId="ADAL" clId="{4C4C84AD-9808-4925-8E20-3D982DC57AAD}" dt="2025-06-24T15:34:12.819" v="1859" actId="478"/>
          <ac:picMkLst>
            <pc:docMk/>
            <pc:sldMk cId="3647189422" sldId="2147483641"/>
            <ac:picMk id="91" creationId="{67FEAE89-5A9D-359E-8C50-8E55DF9B5141}"/>
          </ac:picMkLst>
        </pc:picChg>
        <pc:picChg chg="add mod">
          <ac:chgData name="Pablo Salvador Lopez" userId="97bf2e1f-2ff7-4d81-8328-2de988cb1216" providerId="ADAL" clId="{4C4C84AD-9808-4925-8E20-3D982DC57AAD}" dt="2025-06-24T15:34:06.884" v="1858" actId="1076"/>
          <ac:picMkLst>
            <pc:docMk/>
            <pc:sldMk cId="3647189422" sldId="2147483641"/>
            <ac:picMk id="1107" creationId="{A792D893-8D84-D635-20CE-17113484316D}"/>
          </ac:picMkLst>
        </pc:picChg>
        <pc:picChg chg="add mod">
          <ac:chgData name="Pablo Salvador Lopez" userId="97bf2e1f-2ff7-4d81-8328-2de988cb1216" providerId="ADAL" clId="{4C4C84AD-9808-4925-8E20-3D982DC57AAD}" dt="2025-06-24T15:34:21.997" v="1863" actId="1076"/>
          <ac:picMkLst>
            <pc:docMk/>
            <pc:sldMk cId="3647189422" sldId="2147483641"/>
            <ac:picMk id="1108" creationId="{CBEB5A46-F6D5-B839-8EA1-CC9DACDD4A2A}"/>
          </ac:picMkLst>
        </pc:picChg>
        <pc:picChg chg="add mod">
          <ac:chgData name="Pablo Salvador Lopez" userId="97bf2e1f-2ff7-4d81-8328-2de988cb1216" providerId="ADAL" clId="{4C4C84AD-9808-4925-8E20-3D982DC57AAD}" dt="2025-06-24T15:34:32.610" v="1869" actId="1076"/>
          <ac:picMkLst>
            <pc:docMk/>
            <pc:sldMk cId="3647189422" sldId="2147483641"/>
            <ac:picMk id="1109" creationId="{C7ADFDCE-07F1-746B-C342-5CDC3622CE83}"/>
          </ac:picMkLst>
        </pc:picChg>
        <pc:cxnChg chg="del mod">
          <ac:chgData name="Pablo Salvador Lopez" userId="97bf2e1f-2ff7-4d81-8328-2de988cb1216" providerId="ADAL" clId="{4C4C84AD-9808-4925-8E20-3D982DC57AAD}" dt="2025-06-24T15:35:00.768" v="1889" actId="478"/>
          <ac:cxnSpMkLst>
            <pc:docMk/>
            <pc:sldMk cId="3647189422" sldId="2147483641"/>
            <ac:cxnSpMk id="24" creationId="{F2E0458A-6AB1-E3C6-8944-A0E44C102D41}"/>
          </ac:cxnSpMkLst>
        </pc:cxn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jpe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1.bin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8B3A4-39E3-7972-CBE5-9861BCD273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6A1788-B626-6C7F-EC4A-DEE32D3FA1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12947F-B46C-528E-6EFD-99722A1C2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D0698-29A7-4C52-9343-EC3C85165FE2}" type="datetimeFigureOut">
              <a:rPr lang="en-US" smtClean="0"/>
              <a:t>6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2FEB06-5DCC-8C0A-43C9-A33A699DB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359B63-422E-DE3B-DAFA-AF5CA296C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4B9F1-1B37-4A63-B179-41149742E4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7430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52F91B-E9C1-13A2-8A1B-44D1DA6C43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142289-3AB4-36C4-6A0D-D886DCCEF3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0A7C6A-1428-B4A2-D2D8-FEDE1074C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D0698-29A7-4C52-9343-EC3C85165FE2}" type="datetimeFigureOut">
              <a:rPr lang="en-US" smtClean="0"/>
              <a:t>6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9FC988-ACE6-FCAC-2FA2-C0227515EC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FECB0B-4C6C-47FA-883F-57CA1DD539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4B9F1-1B37-4A63-B179-41149742E4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0513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512DE1E-AE75-65CA-E550-58615861F5D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AA1520-3FAC-6FA8-CA1D-1EA74293D19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D4BC10-5010-D880-8423-9C38817130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D0698-29A7-4C52-9343-EC3C85165FE2}" type="datetimeFigureOut">
              <a:rPr lang="en-US" smtClean="0"/>
              <a:t>6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2E5EF9-7100-76B0-DFE3-1F5EF6B822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7EAED4-3EAB-C1BE-5408-9BA8F0E7D5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4B9F1-1B37-4A63-B179-41149742E4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13397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MS logo white - EMF" descr="Microsoft logo white text version">
            <a:extLst>
              <a:ext uri="{FF2B5EF4-FFF2-40B4-BE49-F238E27FC236}">
                <a16:creationId xmlns:a16="http://schemas.microsoft.com/office/drawing/2014/main" id="{F7CD6B1F-AE52-08A4-59DD-ADA3920FEFA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3B4BC62-442D-D07F-D062-B23F459AF590}"/>
              </a:ext>
            </a:extLst>
          </p:cNvPr>
          <p:cNvSpPr txBox="1"/>
          <p:nvPr/>
        </p:nvSpPr>
        <p:spPr>
          <a:xfrm>
            <a:off x="584200" y="2841172"/>
            <a:ext cx="3790950" cy="14957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 Semibold"/>
                <a:ea typeface="+mn-ea"/>
                <a:cs typeface="+mn-cs"/>
              </a:rPr>
              <a:t>Microsoft Azure</a:t>
            </a:r>
          </a:p>
        </p:txBody>
      </p:sp>
    </p:spTree>
    <p:extLst>
      <p:ext uri="{BB962C8B-B14F-4D97-AF65-F5344CB8AC3E}">
        <p14:creationId xmlns:p14="http://schemas.microsoft.com/office/powerpoint/2010/main" val="2214608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Walkin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3B4BC62-442D-D07F-D062-B23F459AF590}"/>
              </a:ext>
            </a:extLst>
          </p:cNvPr>
          <p:cNvSpPr txBox="1"/>
          <p:nvPr/>
        </p:nvSpPr>
        <p:spPr>
          <a:xfrm>
            <a:off x="584200" y="2841172"/>
            <a:ext cx="3790950" cy="14957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ea typeface="+mn-ea"/>
                <a:cs typeface="+mn-cs"/>
              </a:rPr>
              <a:t>Microsoft Azure</a:t>
            </a:r>
          </a:p>
        </p:txBody>
      </p:sp>
      <p:pic>
        <p:nvPicPr>
          <p:cNvPr id="5" name="MS logo gray - EMF" descr="Microsoft logo, gray text version">
            <a:extLst>
              <a:ext uri="{FF2B5EF4-FFF2-40B4-BE49-F238E27FC236}">
                <a16:creationId xmlns:a16="http://schemas.microsoft.com/office/drawing/2014/main" id="{8672AF12-6140-9E72-C268-A8ED4080CAD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012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302670"/>
            <a:ext cx="4978400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978400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C6B9E508-E424-C5B2-1415-EF47F2EDB13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73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32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302670"/>
            <a:ext cx="4978400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978400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C6B9E508-E424-C5B2-1415-EF47F2EDB13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6718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32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302670"/>
            <a:ext cx="4978400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bg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978400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4" name="MS logo white - EMF" descr="Microsoft logo white text version">
            <a:extLst>
              <a:ext uri="{FF2B5EF4-FFF2-40B4-BE49-F238E27FC236}">
                <a16:creationId xmlns:a16="http://schemas.microsoft.com/office/drawing/2014/main" id="{0BB37EE3-73AC-5546-F43B-FE5420C7D02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495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32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302670"/>
            <a:ext cx="4978400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bg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978400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4" name="MS logo white - EMF" descr="Microsoft logo white text version">
            <a:extLst>
              <a:ext uri="{FF2B5EF4-FFF2-40B4-BE49-F238E27FC236}">
                <a16:creationId xmlns:a16="http://schemas.microsoft.com/office/drawing/2014/main" id="{0BB37EE3-73AC-5546-F43B-FE5420C7D02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3858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32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302670"/>
            <a:ext cx="4978400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978400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2" name="MS logo gray - EMF" descr="Microsoft logo, gray text version">
            <a:extLst>
              <a:ext uri="{FF2B5EF4-FFF2-40B4-BE49-F238E27FC236}">
                <a16:creationId xmlns:a16="http://schemas.microsoft.com/office/drawing/2014/main" id="{BBFAAA10-F521-410E-1BB5-6D77902DD0C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390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302670"/>
            <a:ext cx="4978400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978400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2" name="MS logo gray - EMF" descr="Microsoft logo, gray text version">
            <a:extLst>
              <a:ext uri="{FF2B5EF4-FFF2-40B4-BE49-F238E27FC236}">
                <a16:creationId xmlns:a16="http://schemas.microsoft.com/office/drawing/2014/main" id="{BBFAAA10-F521-410E-1BB5-6D77902DD0C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1069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043CCE-E766-2C59-49F4-5E5F0C6445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E7C7FF-3E17-F79F-B337-F5C44D4277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1EFFDF-852D-D4C6-C8F8-1D5BE40A3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D0698-29A7-4C52-9343-EC3C85165FE2}" type="datetimeFigureOut">
              <a:rPr lang="en-US" smtClean="0"/>
              <a:t>6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9ED8E0-6D73-2732-10D2-954DBB87B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FA1D5A-B70F-CF90-F670-34CF0E8DC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4B9F1-1B37-4A63-B179-41149742E4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4572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302670"/>
            <a:ext cx="4978400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978400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C6B9E508-E424-C5B2-1415-EF47F2EDB13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1631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3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302670"/>
            <a:ext cx="4978400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978400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C6B9E508-E424-C5B2-1415-EF47F2EDB13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1681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18223"/>
            <a:ext cx="9144000" cy="615553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3B0D12AE-ADCF-1091-117F-BB03F7EC50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394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08CE50-46CE-0973-AC08-7477BEAD00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3424D10-01E7-37F9-6091-2C95487D9F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FDFE8ED1-0EC9-B339-1813-0B4260A0A2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00438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 dirty="0"/>
            </a:lvl1pPr>
            <a:lvl2pPr>
              <a:defRPr lang="en-US" sz="1600" dirty="0"/>
            </a:lvl2pPr>
            <a:lvl3pPr>
              <a:defRPr lang="en-US" sz="16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marL="141288" lvl="0" indent="-141288"/>
            <a:r>
              <a:rPr lang="en-US"/>
              <a:t>Click to edit Master text styles</a:t>
            </a:r>
          </a:p>
          <a:p>
            <a:pPr marL="141288" lvl="1" indent="-141288"/>
            <a:r>
              <a:rPr lang="en-US"/>
              <a:t>Second level</a:t>
            </a:r>
          </a:p>
          <a:p>
            <a:pPr marL="141288" lvl="2" indent="-141288"/>
            <a:r>
              <a:rPr lang="en-US"/>
              <a:t>Third level</a:t>
            </a:r>
          </a:p>
          <a:p>
            <a:pPr marL="141288" lvl="3" indent="-141288"/>
            <a:r>
              <a:rPr lang="en-US"/>
              <a:t>Fourth level</a:t>
            </a:r>
          </a:p>
          <a:p>
            <a:pPr marL="141288" lvl="4" indent="-141288"/>
            <a:r>
              <a:rPr lang="en-US"/>
              <a:t>Fifth level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23006D8-810A-DCBB-7E79-17F6322E2FF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DAAB847-57CB-2458-2ADA-6D777079407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00438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 dirty="0"/>
            </a:lvl1pPr>
            <a:lvl2pPr>
              <a:defRPr lang="en-US" sz="1600" dirty="0"/>
            </a:lvl2pPr>
            <a:lvl3pPr>
              <a:defRPr lang="en-US" sz="16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marL="141288" lvl="0" indent="-141288"/>
            <a:r>
              <a:rPr lang="en-US"/>
              <a:t>Click to edit Master text styles</a:t>
            </a:r>
          </a:p>
          <a:p>
            <a:pPr marL="141288" lvl="1" indent="-141288"/>
            <a:r>
              <a:rPr lang="en-US"/>
              <a:t>Second level</a:t>
            </a:r>
          </a:p>
          <a:p>
            <a:pPr marL="141288" lvl="2" indent="-141288"/>
            <a:r>
              <a:rPr lang="en-US"/>
              <a:t>Third level</a:t>
            </a:r>
          </a:p>
          <a:p>
            <a:pPr marL="141288" lvl="3" indent="-141288"/>
            <a:r>
              <a:rPr lang="en-US"/>
              <a:t>Fourth level</a:t>
            </a:r>
          </a:p>
          <a:p>
            <a:pPr marL="141288" lvl="4" indent="-141288"/>
            <a:r>
              <a:rPr lang="en-US"/>
              <a:t>Fifth level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6B655A31-FF73-73EA-1EA8-00F13891AB9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19634A-80BB-C620-3C16-1EA80A7B1C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00438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 dirty="0"/>
            </a:lvl1pPr>
            <a:lvl2pPr>
              <a:defRPr lang="en-US" sz="1600" dirty="0"/>
            </a:lvl2pPr>
            <a:lvl3pPr>
              <a:defRPr lang="en-US" sz="1600" dirty="0"/>
            </a:lvl3pPr>
            <a:lvl4pPr>
              <a:defRPr lang="en-US" sz="1400" dirty="0"/>
            </a:lvl4pPr>
            <a:lvl5pPr>
              <a:defRPr lang="en-US" sz="1400" dirty="0"/>
            </a:lvl5pPr>
          </a:lstStyle>
          <a:p>
            <a:pPr marL="141288" lvl="0" indent="-141288"/>
            <a:r>
              <a:rPr lang="en-US"/>
              <a:t>Click to edit Master text styles</a:t>
            </a:r>
          </a:p>
          <a:p>
            <a:pPr marL="141288" lvl="1" indent="-141288"/>
            <a:r>
              <a:rPr lang="en-US"/>
              <a:t>Second level</a:t>
            </a:r>
          </a:p>
          <a:p>
            <a:pPr marL="141288" lvl="2" indent="-141288"/>
            <a:r>
              <a:rPr lang="en-US"/>
              <a:t>Third level</a:t>
            </a:r>
          </a:p>
          <a:p>
            <a:pPr marL="141288" lvl="3" indent="-141288"/>
            <a:r>
              <a:rPr lang="en-US"/>
              <a:t>Fourth level</a:t>
            </a:r>
          </a:p>
          <a:p>
            <a:pPr marL="141288" lvl="4" indent="-141288"/>
            <a:r>
              <a:rPr lang="en-US"/>
              <a:t>Fifth level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5E7CC6D-40F5-C58C-FC44-793B1A98AC5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6B93ED5-5CA7-C983-373E-E42D7424C7C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00438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/>
            </a:lvl1pPr>
            <a:lvl2pPr>
              <a:defRPr lang="en-US" sz="1600"/>
            </a:lvl2pPr>
            <a:lvl3pPr>
              <a:defRPr lang="en-US" sz="1600"/>
            </a:lvl3pPr>
            <a:lvl4pPr>
              <a:defRPr lang="en-US" sz="1400"/>
            </a:lvl4pPr>
            <a:lvl5pPr>
              <a:defRPr lang="en-US" sz="1400" dirty="0"/>
            </a:lvl5pPr>
          </a:lstStyle>
          <a:p>
            <a:pPr marL="141288" lvl="0" indent="-141288"/>
            <a:r>
              <a:rPr lang="en-US"/>
              <a:t>Click to edit Master text styles</a:t>
            </a:r>
          </a:p>
          <a:p>
            <a:pPr marL="141288" lvl="1" indent="-141288"/>
            <a:r>
              <a:rPr lang="en-US"/>
              <a:t>Second level</a:t>
            </a:r>
          </a:p>
          <a:p>
            <a:pPr marL="141288" lvl="2" indent="-141288"/>
            <a:r>
              <a:rPr lang="en-US"/>
              <a:t>Third level</a:t>
            </a:r>
          </a:p>
          <a:p>
            <a:pPr marL="141288" lvl="3" indent="-141288"/>
            <a:r>
              <a:rPr lang="en-US"/>
              <a:t>Fourth level</a:t>
            </a:r>
          </a:p>
          <a:p>
            <a:pPr marL="141288" lvl="4" indent="-141288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9546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304751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3388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318665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22202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1862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ADFBB8-E1C1-D5AB-8154-CBA2D9EFB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567520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4B72B2-8E13-D829-237E-D142F5BF8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28CAFD-5CDD-F5D5-5E18-2B45339FB0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0EB7AB-5DCD-ED44-AA53-CD13115BA4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D0698-29A7-4C52-9343-EC3C85165FE2}" type="datetimeFigureOut">
              <a:rPr lang="en-US" smtClean="0"/>
              <a:t>6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69872F-1B7D-F170-495B-6D1C0D6522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65F04C-4907-DF9E-B9E7-19E3EB54D6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4B9F1-1B37-4A63-B179-41149742E4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5519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5801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32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55399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0">
                      <a:srgbClr val="31ACBD"/>
                    </a:gs>
                    <a:gs pos="68000">
                      <a:schemeClr val="tx2"/>
                    </a:gs>
                  </a:gsLst>
                  <a:lin ang="10800000" scaled="1"/>
                </a:gra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5539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1800" b="1">
                <a:gradFill>
                  <a:gsLst>
                    <a:gs pos="100000">
                      <a:srgbClr val="3EA89B"/>
                    </a:gs>
                    <a:gs pos="0">
                      <a:srgbClr val="225B62"/>
                    </a:gs>
                  </a:gsLst>
                  <a:lin ang="10800000" scaled="1"/>
                </a:gradFill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5539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1800" b="1" dirty="0">
                <a:gradFill>
                  <a:gsLst>
                    <a:gs pos="0">
                      <a:srgbClr val="F4364C"/>
                    </a:gs>
                    <a:gs pos="68000">
                      <a:srgbClr val="C03BC4"/>
                    </a:gs>
                  </a:gsLst>
                  <a:lin ang="10800000" scaled="1"/>
                </a:gradFill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5539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1800" b="1">
                <a:gradFill>
                  <a:gsLst>
                    <a:gs pos="0">
                      <a:srgbClr val="FF9318"/>
                    </a:gs>
                    <a:gs pos="44000">
                      <a:srgbClr val="FF5C39"/>
                    </a:gs>
                  </a:gsLst>
                  <a:lin ang="10800000" scaled="1"/>
                </a:gradFill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7639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2735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0695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086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210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15836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BDF4B0-32EF-4DA8-9A83-B73DD8310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698303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92DE97-5F35-4963-AC7A-96FEB9806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4159950" cy="5683249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A09A47B-FEF5-47F3-B2DD-A73E7C3234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35139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5" orient="horz" pos="2160">
          <p15:clr>
            <a:srgbClr val="5ACBF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E2C6C6-B442-4DE7-9C6C-405B90053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979738"/>
            <a:ext cx="4163125" cy="32893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3EBEAA94-C151-43DE-8A5A-09E8A930427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gradFill flip="none" rotWithShape="1">
            <a:gsLst>
              <a:gs pos="47706">
                <a:schemeClr val="accent1"/>
              </a:gs>
              <a:gs pos="100000">
                <a:schemeClr val="accent3"/>
              </a:gs>
              <a:gs pos="60000">
                <a:schemeClr val="accent1"/>
              </a:gs>
            </a:gsLst>
            <a:lin ang="18900000" scaled="1"/>
            <a:tileRect/>
          </a:grad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2F1290-9237-4BEE-AAAC-6708F28626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005969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ower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/>
          </p:nvPr>
        </p:nvSpPr>
        <p:spPr bwMode="ltGray">
          <a:xfrm>
            <a:off x="0" y="3657600"/>
            <a:ext cx="12192000" cy="3200400"/>
          </a:xfrm>
          <a:gradFill flip="none" rotWithShape="1">
            <a:gsLst>
              <a:gs pos="4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</p:spPr>
        <p:txBody>
          <a:bodyPr lIns="585216" tIns="585216" rIns="585216" bIns="585216" anchor="b" anchorCtr="0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09554D-CD2C-F836-9A2C-88CABE576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5879747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04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E3D228-CB12-1F37-97C3-013A636F4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508C87-8310-FC71-DA08-3899824FD8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66E9EBD-3DCD-9D54-81AC-C077AA8AE71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5597F7-B953-7AEF-5241-521FD3BC40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D0698-29A7-4C52-9343-EC3C85165FE2}" type="datetimeFigureOut">
              <a:rPr lang="en-US" smtClean="0"/>
              <a:t>6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874F83-D2F6-8D82-AE85-E74D01D1B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D714AF-D031-19F5-8B5B-2C7045E7F8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4B9F1-1B37-4A63-B179-41149742E4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85147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-3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894F6-B50F-43E1-83FC-4F2200B2F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97888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pos="3576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righ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6522720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lIns="585216" tIns="585216" rIns="585216" bIns="585216" anchor="ctr">
            <a:noAutofit/>
          </a:bodyPr>
          <a:lstStyle>
            <a:lvl1pPr algn="r"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29011D-E3B4-416F-9D7F-7A99AE49F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228652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pos="4105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01E45-D858-46CB-8C37-2ADA7A8B4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157216"/>
            <a:ext cx="11018520" cy="111182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4572000"/>
          </a:xfr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vert="horz" wrap="square" lIns="0" tIns="128016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chemeClr val="bg1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996C37-D0C9-4349-A860-B639C4EB9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429621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orient="horz" pos="2880">
          <p15:clr>
            <a:srgbClr val="5ACBF0"/>
          </p15:clr>
        </p15:guide>
        <p15:guide id="6" orient="horz" pos="3600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563AC-3A0B-4839-A9DC-F00E8E541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49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-2381" y="2286000"/>
            <a:ext cx="12192000" cy="4572000"/>
          </a:xfr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vert="horz" wrap="square" lIns="0" tIns="137160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chemeClr val="bg1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FDE6F-0F4B-446A-A51F-494FB09966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232302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orient="horz" pos="1440">
          <p15:clr>
            <a:srgbClr val="5ACBF0"/>
          </p15:clr>
        </p15:guide>
        <p15:guide id="6" orient="horz" pos="720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27DCA08-1117-4B11-AEFD-AAB2B3354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199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5367528" cy="347472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chemeClr val="bg1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1860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39255" y="2025650"/>
            <a:ext cx="5367528" cy="3474720"/>
          </a:xfrm>
          <a:blipFill>
            <a:blip r:embed="rId3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F59E09-7602-42B9-AB0C-9D1365A9E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921892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312">
          <p15:clr>
            <a:srgbClr val="5ACBF0"/>
          </p15:clr>
        </p15:guide>
        <p15:guide id="6" pos="3749">
          <p15:clr>
            <a:srgbClr val="5ACBF0"/>
          </p15:clr>
        </p15:guide>
        <p15:guide id="7" pos="3931">
          <p15:clr>
            <a:srgbClr val="5ACBF0"/>
          </p15:clr>
        </p15:guide>
        <p15:guide id="8" orient="horz" pos="3464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3474720" cy="3474720"/>
          </a:xfrm>
          <a:blipFill>
            <a:blip r:embed="rId2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8640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358640" y="2025650"/>
            <a:ext cx="3474720" cy="3474720"/>
          </a:xfrm>
          <a:blipFill>
            <a:blip r:embed="rId3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4351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32063" y="2025650"/>
            <a:ext cx="3474720" cy="3474720"/>
          </a:xfrm>
          <a:blipFill>
            <a:blip r:embed="rId4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B36921-D927-4BA6-8891-8AEE978492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372907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557">
          <p15:clr>
            <a:srgbClr val="5ACBF0"/>
          </p15:clr>
        </p15:guide>
        <p15:guide id="7" pos="2744">
          <p15:clr>
            <a:srgbClr val="5ACBF0"/>
          </p15:clr>
        </p15:guide>
        <p15:guide id="8" pos="4936">
          <p15:clr>
            <a:srgbClr val="5ACBF0"/>
          </p15:clr>
        </p15:guide>
        <p15:guide id="9" pos="5123">
          <p15:clr>
            <a:srgbClr val="5ACBF0"/>
          </p15:clr>
        </p15:guide>
        <p15:guide id="10" orient="horz" pos="3465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2532888" cy="2532888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908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413908" y="2025650"/>
            <a:ext cx="2532888" cy="2532888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5204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45204" y="2025650"/>
            <a:ext cx="2532888" cy="2532888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8E883C1-8203-4549-AF30-B96AEC45AC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6500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BD58C33-921C-42F1-9803-1C798DB548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073895" y="2025650"/>
            <a:ext cx="2532888" cy="2532888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F56B00-AAD4-4F4F-8228-B6CF8367DE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671649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orient="horz" pos="2993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2870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5334000"/>
            <a:ext cx="4892040" cy="9350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6062472" cy="2807208"/>
          </a:xfr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14744" y="5334000"/>
            <a:ext cx="4892040" cy="93821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129528" y="2286000"/>
            <a:ext cx="6062472" cy="2807208"/>
          </a:xfrm>
          <a:gradFill>
            <a:gsLst>
              <a:gs pos="100000">
                <a:srgbClr val="FFB900"/>
              </a:gs>
              <a:gs pos="0">
                <a:srgbClr val="FFB3BB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AE597A-BE1E-6B1F-960D-A90DC9544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66473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4" orient="horz" pos="3209">
          <p15:clr>
            <a:srgbClr val="5ACBF0"/>
          </p15:clr>
        </p15:guide>
        <p15:guide id="5" pos="3826">
          <p15:clr>
            <a:srgbClr val="5ACBF0"/>
          </p15:clr>
        </p15:guide>
        <p15:guide id="6" pos="3859">
          <p15:clr>
            <a:srgbClr val="5ACBF0"/>
          </p15:clr>
        </p15:guide>
        <p15:guide id="11" pos="1910">
          <p15:clr>
            <a:srgbClr val="5ACBF0"/>
          </p15:clr>
        </p15:guide>
        <p15:guide id="12" pos="5770">
          <p15:clr>
            <a:srgbClr val="5ACBF0"/>
          </p15:clr>
        </p15:guide>
        <p15:guide id="13" orient="horz" pos="3360">
          <p15:clr>
            <a:srgbClr val="5ACBF0"/>
          </p15:clr>
        </p15:guide>
        <p15:guide id="14" orient="horz">
          <p15:clr>
            <a:srgbClr val="5ACBF0"/>
          </p15:clr>
        </p15:guide>
        <p15:guide id="15" pos="3451">
          <p15:clr>
            <a:srgbClr val="5ACBF0"/>
          </p15:clr>
        </p15:guide>
        <p15:guide id="16" pos="4229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285292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4023360" cy="2286000"/>
          </a:xfr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69536" y="4799409"/>
            <a:ext cx="285292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084320" y="2286000"/>
            <a:ext cx="4023360" cy="2286000"/>
          </a:xfrm>
          <a:gradFill>
            <a:gsLst>
              <a:gs pos="100000">
                <a:srgbClr val="FFB900"/>
              </a:gs>
              <a:gs pos="0">
                <a:srgbClr val="FFB3BB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53856" y="4799410"/>
            <a:ext cx="285292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68640" y="2286000"/>
            <a:ext cx="4023360" cy="2286000"/>
          </a:xfrm>
          <a:gradFill>
            <a:gsLst>
              <a:gs pos="100000">
                <a:srgbClr val="F4364C"/>
              </a:gs>
              <a:gs pos="0">
                <a:srgbClr val="8661C5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B999C7-F5A8-46A6-92C5-AA3BE4E26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447826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2534">
          <p15:clr>
            <a:srgbClr val="5ACBF0"/>
          </p15:clr>
        </p15:guide>
        <p15:guide id="6" pos="2573">
          <p15:clr>
            <a:srgbClr val="5ACBF0"/>
          </p15:clr>
        </p15:guide>
        <p15:guide id="8" pos="5109">
          <p15:clr>
            <a:srgbClr val="5ACBF0"/>
          </p15:clr>
        </p15:guide>
        <p15:guide id="9" pos="5145">
          <p15:clr>
            <a:srgbClr val="5ACBF0"/>
          </p15:clr>
        </p15:guide>
        <p15:guide id="11" pos="1266">
          <p15:clr>
            <a:srgbClr val="5ACBF0"/>
          </p15:clr>
        </p15:guide>
        <p15:guide id="12" pos="3840">
          <p15:clr>
            <a:srgbClr val="5ACBF0"/>
          </p15:clr>
        </p15:guide>
        <p15:guide id="13" pos="6414">
          <p15:clr>
            <a:srgbClr val="5ACBF0"/>
          </p15:clr>
        </p15:guide>
        <p15:guide id="14" orient="horz" pos="1074">
          <p15:clr>
            <a:srgbClr val="5ACBF0"/>
          </p15:clr>
        </p15:guide>
        <p15:guide id="15" pos="2168">
          <p15:clr>
            <a:srgbClr val="5ACBF0"/>
          </p15:clr>
        </p15:guide>
        <p15:guide id="16" pos="2944">
          <p15:clr>
            <a:srgbClr val="5ACBF0"/>
          </p15:clr>
        </p15:guide>
        <p15:guide id="17" pos="4738">
          <p15:clr>
            <a:srgbClr val="5ACBF0"/>
          </p15:clr>
        </p15:guide>
        <p15:guide id="18" pos="5514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1828800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999232" cy="2286000"/>
          </a:xfr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49472" y="4799409"/>
            <a:ext cx="1828800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064256" y="2286000"/>
            <a:ext cx="2999232" cy="2286000"/>
          </a:xfrm>
          <a:gradFill>
            <a:gsLst>
              <a:gs pos="100000">
                <a:srgbClr val="FFB900"/>
              </a:gs>
              <a:gs pos="0">
                <a:srgbClr val="FFB3BB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13728" y="4799410"/>
            <a:ext cx="1828800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128512" y="2286000"/>
            <a:ext cx="2999232" cy="2286000"/>
          </a:xfrm>
          <a:gradFill>
            <a:gsLst>
              <a:gs pos="100000">
                <a:srgbClr val="F4364C"/>
              </a:gs>
              <a:gs pos="0">
                <a:srgbClr val="8661C5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77984" y="4799409"/>
            <a:ext cx="1828800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192768" y="2286000"/>
            <a:ext cx="2999232" cy="2286000"/>
          </a:xfrm>
          <a:gradFill>
            <a:gsLst>
              <a:gs pos="0">
                <a:srgbClr val="E8E6DF"/>
              </a:gs>
              <a:gs pos="100000">
                <a:srgbClr val="FFA38B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130720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1890">
          <p15:clr>
            <a:srgbClr val="5ACBF0"/>
          </p15:clr>
        </p15:guide>
        <p15:guide id="6" pos="1930">
          <p15:clr>
            <a:srgbClr val="5ACBF0"/>
          </p15:clr>
        </p15:guide>
        <p15:guide id="7" pos="5749">
          <p15:clr>
            <a:srgbClr val="5ACBF0"/>
          </p15:clr>
        </p15:guide>
        <p15:guide id="8" pos="3820">
          <p15:clr>
            <a:srgbClr val="5ACBF0"/>
          </p15:clr>
        </p15:guide>
        <p15:guide id="9" pos="3860">
          <p15:clr>
            <a:srgbClr val="5ACBF0"/>
          </p15:clr>
        </p15:guide>
        <p15:guide id="10" pos="5789">
          <p15:clr>
            <a:srgbClr val="5ACBF0"/>
          </p15:clr>
        </p15:guide>
        <p15:guide id="11" pos="944">
          <p15:clr>
            <a:srgbClr val="5ACBF0"/>
          </p15:clr>
        </p15:guide>
        <p15:guide id="12" pos="2876">
          <p15:clr>
            <a:srgbClr val="5ACBF0"/>
          </p15:clr>
        </p15:guide>
        <p15:guide id="13" pos="4807">
          <p15:clr>
            <a:srgbClr val="5ACBF0"/>
          </p15:clr>
        </p15:guide>
        <p15:guide id="14" pos="6736">
          <p15:clr>
            <a:srgbClr val="5ACBF0"/>
          </p15:clr>
        </p15:guide>
        <p15:guide id="15" orient="horz">
          <p15:clr>
            <a:srgbClr val="5ACBF0"/>
          </p15:clr>
        </p15:guide>
        <p15:guide id="16" pos="1524">
          <p15:clr>
            <a:srgbClr val="5ACBF0"/>
          </p15:clr>
        </p15:guide>
        <p15:guide id="17" pos="2298">
          <p15:clr>
            <a:srgbClr val="5ACBF0"/>
          </p15:clr>
        </p15:guide>
        <p15:guide id="18" pos="3450">
          <p15:clr>
            <a:srgbClr val="5ACBF0"/>
          </p15:clr>
        </p15:guide>
        <p15:guide id="19" pos="4230">
          <p15:clr>
            <a:srgbClr val="5ACBF0"/>
          </p15:clr>
        </p15:guide>
        <p15:guide id="20" pos="5380">
          <p15:clr>
            <a:srgbClr val="5ACBF0"/>
          </p15:clr>
        </p15:guide>
        <p15:guide id="21" pos="6156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DAF7D8-B715-6BC1-2E5D-E73A1C8BB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17839F-4909-2071-CD56-29522EFD39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86EF2A-4564-2465-714F-4A0B6EAACF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A18A0F-6BC7-BFBA-EE34-684AECB6D23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205DC29-8173-B7F7-FAAD-7B1BEEE315E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666C4B1-A603-3684-DB7D-8F255AFF8F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D0698-29A7-4C52-9343-EC3C85165FE2}" type="datetimeFigureOut">
              <a:rPr lang="en-US" smtClean="0"/>
              <a:t>6/24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EAD3F59-6C43-1C36-35EC-4AC5C4ECEB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5EEC498-B727-D13F-1FBF-16CD50594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4B9F1-1B37-4A63-B179-41149742E4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11533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2608" y="4800600"/>
            <a:ext cx="180136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386584" cy="2286000"/>
          </a:xfr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43962" y="4799409"/>
            <a:ext cx="180136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2451354" y="2286000"/>
            <a:ext cx="2386584" cy="2286000"/>
          </a:xfrm>
          <a:gradFill>
            <a:gsLst>
              <a:gs pos="100000">
                <a:srgbClr val="FFB900"/>
              </a:gs>
              <a:gs pos="0">
                <a:srgbClr val="FFB3BB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95316" y="4799410"/>
            <a:ext cx="180136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4902708" y="2286000"/>
            <a:ext cx="2386584" cy="2286000"/>
          </a:xfrm>
          <a:gradFill>
            <a:gsLst>
              <a:gs pos="100000">
                <a:srgbClr val="F4364C"/>
              </a:gs>
              <a:gs pos="0">
                <a:srgbClr val="8661C5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46670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7354062" y="2286000"/>
            <a:ext cx="2386584" cy="2286000"/>
          </a:xfrm>
          <a:gradFill>
            <a:gsLst>
              <a:gs pos="0">
                <a:srgbClr val="E8E6DF"/>
              </a:gs>
              <a:gs pos="100000">
                <a:srgbClr val="FFA38B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B1B6F72-F14C-40F1-8B29-8620AA34DC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098024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AD682C7-20D7-4ED0-99A7-C8530DAC86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ltGray">
          <a:xfrm>
            <a:off x="9805416" y="2286000"/>
            <a:ext cx="2386584" cy="2286000"/>
          </a:xfrm>
          <a:gradFill>
            <a:gsLst>
              <a:gs pos="0">
                <a:srgbClr val="E8E6DF"/>
              </a:gs>
              <a:gs pos="100000">
                <a:srgbClr val="D4EC8E"/>
              </a:gs>
            </a:gsLst>
            <a:lin ang="18900000" scaled="1"/>
          </a:grad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372587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8" pos="4631">
          <p15:clr>
            <a:srgbClr val="5ACBF0"/>
          </p15:clr>
        </p15:guide>
        <p15:guide id="9" pos="4593">
          <p15:clr>
            <a:srgbClr val="5ACBF0"/>
          </p15:clr>
        </p15:guide>
        <p15:guide id="10" pos="6134">
          <p15:clr>
            <a:srgbClr val="5ACBF0"/>
          </p15:clr>
        </p15:guide>
        <p15:guide id="11" pos="1323">
          <p15:clr>
            <a:srgbClr val="5ACBF0"/>
          </p15:clr>
        </p15:guide>
        <p15:guide id="12" pos="2865">
          <p15:clr>
            <a:srgbClr val="5ACBF0"/>
          </p15:clr>
        </p15:guide>
        <p15:guide id="13" pos="4815">
          <p15:clr>
            <a:srgbClr val="5ACBF0"/>
          </p15:clr>
        </p15:guide>
        <p15:guide id="14" pos="6361">
          <p15:clr>
            <a:srgbClr val="5ACBF0"/>
          </p15:clr>
        </p15:guide>
        <p15:guide id="15" orient="horz">
          <p15:clr>
            <a:srgbClr val="5ACBF0"/>
          </p15:clr>
        </p15:guide>
        <p15:guide id="16" pos="1727">
          <p15:clr>
            <a:srgbClr val="5ACBF0"/>
          </p15:clr>
        </p15:guide>
        <p15:guide id="17" pos="2294">
          <p15:clr>
            <a:srgbClr val="5ACBF0"/>
          </p15:clr>
        </p15:guide>
        <p15:guide id="18" pos="3273">
          <p15:clr>
            <a:srgbClr val="5ACBF0"/>
          </p15:clr>
        </p15:guide>
        <p15:guide id="19" pos="4411">
          <p15:clr>
            <a:srgbClr val="5ACBF0"/>
          </p15:clr>
        </p15:guide>
        <p15:guide id="21" pos="6179">
          <p15:clr>
            <a:srgbClr val="5ACBF0"/>
          </p15:clr>
        </p15:guide>
        <p15:guide id="22" pos="1501">
          <p15:clr>
            <a:srgbClr val="5ACBF0"/>
          </p15:clr>
        </p15:guide>
        <p15:guide id="23" pos="1543">
          <p15:clr>
            <a:srgbClr val="5ACBF0"/>
          </p15:clr>
        </p15:guide>
        <p15:guide id="24" pos="3049">
          <p15:clr>
            <a:srgbClr val="5ACBF0"/>
          </p15:clr>
        </p15:guide>
        <p15:guide id="25" pos="3088">
          <p15:clr>
            <a:srgbClr val="5ACBF0"/>
          </p15:clr>
        </p15:guide>
        <p15:guide id="26" pos="5954">
          <p15:clr>
            <a:srgbClr val="5ACBF0"/>
          </p15:clr>
        </p15:guide>
        <p15:guide id="27" pos="3840">
          <p15:clr>
            <a:srgbClr val="5ACBF0"/>
          </p15:clr>
        </p15:guide>
        <p15:guide id="28" pos="5386">
          <p15:clr>
            <a:srgbClr val="5ACBF0"/>
          </p15:clr>
        </p15:guide>
        <p15:guide id="29" pos="753">
          <p15:clr>
            <a:srgbClr val="5ACBF0"/>
          </p15:clr>
        </p15:guide>
        <p15:guide id="30" pos="6927">
          <p15:clr>
            <a:srgbClr val="5ACBF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8962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2037906" y="2286000"/>
            <a:ext cx="2313432" cy="2313432"/>
          </a:xfrm>
          <a:prstGeom prst="ellipse">
            <a:avLst/>
          </a:prstGeo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7906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4939284" y="2286000"/>
            <a:ext cx="2313432" cy="2313432"/>
          </a:xfrm>
          <a:prstGeom prst="ellipse">
            <a:avLst/>
          </a:prstGeom>
          <a:gradFill>
            <a:gsLst>
              <a:gs pos="100000">
                <a:srgbClr val="FFB900"/>
              </a:gs>
              <a:gs pos="0">
                <a:srgbClr val="FFB3BB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39284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7840663" y="2286000"/>
            <a:ext cx="2313432" cy="2313432"/>
          </a:xfrm>
          <a:prstGeom prst="ellipse">
            <a:avLst/>
          </a:prstGeom>
          <a:gradFill>
            <a:gsLst>
              <a:gs pos="100000">
                <a:srgbClr val="F4364C"/>
              </a:gs>
              <a:gs pos="0">
                <a:srgbClr val="8661C5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40663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6AFB7A-35B4-4881-AB50-D112482166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431583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3840">
          <p15:clr>
            <a:srgbClr val="5ACBF0"/>
          </p15:clr>
        </p15:guide>
        <p15:guide id="4" pos="1283">
          <p15:clr>
            <a:srgbClr val="5ACBF0"/>
          </p15:clr>
        </p15:guide>
        <p15:guide id="5" pos="5666">
          <p15:clr>
            <a:srgbClr val="5ACBF0"/>
          </p15:clr>
        </p15:guide>
        <p15:guide id="6" pos="2741">
          <p15:clr>
            <a:srgbClr val="5ACBF0"/>
          </p15:clr>
        </p15:guide>
        <p15:guide id="7" pos="2012">
          <p15:clr>
            <a:srgbClr val="5ACBF0"/>
          </p15:clr>
        </p15:guide>
        <p15:guide id="8" pos="3109">
          <p15:clr>
            <a:srgbClr val="5ACBF0"/>
          </p15:clr>
        </p15:guide>
        <p15:guide id="9" pos="4570">
          <p15:clr>
            <a:srgbClr val="5ACBF0"/>
          </p15:clr>
        </p15:guide>
        <p15:guide id="11" pos="6397">
          <p15:clr>
            <a:srgbClr val="5ACBF0"/>
          </p15:clr>
        </p15:guide>
        <p15:guide id="12" orient="horz" pos="1440">
          <p15:clr>
            <a:srgbClr val="5ACBF0"/>
          </p15:clr>
        </p15:guide>
        <p15:guide id="13" pos="4938">
          <p15:clr>
            <a:srgbClr val="5ACBF0"/>
          </p15:clr>
        </p15:guide>
        <p15:guide id="14" orient="horz" pos="2894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2313432" cy="2313432"/>
          </a:xfrm>
          <a:prstGeom prst="ellipse">
            <a:avLst/>
          </a:prstGeo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3487250" y="2286000"/>
            <a:ext cx="2313432" cy="2313432"/>
          </a:xfrm>
          <a:prstGeom prst="ellipse">
            <a:avLst/>
          </a:prstGeom>
          <a:gradFill>
            <a:gsLst>
              <a:gs pos="100000">
                <a:srgbClr val="FFB900"/>
              </a:gs>
              <a:gs pos="0">
                <a:srgbClr val="FFB3BB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8725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6390300" y="2286000"/>
            <a:ext cx="2313432" cy="2313432"/>
          </a:xfrm>
          <a:prstGeom prst="ellipse">
            <a:avLst/>
          </a:prstGeom>
          <a:gradFill>
            <a:gsLst>
              <a:gs pos="100000">
                <a:srgbClr val="F4364C"/>
              </a:gs>
              <a:gs pos="0">
                <a:srgbClr val="8661C5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03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9293351" y="2286000"/>
            <a:ext cx="2313432" cy="2313432"/>
          </a:xfrm>
          <a:prstGeom prst="ellipse">
            <a:avLst/>
          </a:prstGeom>
          <a:gradFill>
            <a:gsLst>
              <a:gs pos="0">
                <a:srgbClr val="E8E6DF"/>
              </a:gs>
              <a:gs pos="100000">
                <a:srgbClr val="FFA38B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93351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711847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4025">
          <p15:clr>
            <a:srgbClr val="5ACBF0"/>
          </p15:clr>
        </p15:guide>
        <p15:guide id="5" pos="5854">
          <p15:clr>
            <a:srgbClr val="5ACBF0"/>
          </p15:clr>
        </p15:guide>
        <p15:guide id="7" pos="3654">
          <p15:clr>
            <a:srgbClr val="5ACBF0"/>
          </p15:clr>
        </p15:guide>
        <p15:guide id="8" pos="2195">
          <p15:clr>
            <a:srgbClr val="5ACBF0"/>
          </p15:clr>
        </p15:guide>
        <p15:guide id="10" pos="2926">
          <p15:clr>
            <a:srgbClr val="5ACBF0"/>
          </p15:clr>
        </p15:guide>
        <p15:guide id="11" pos="4756">
          <p15:clr>
            <a:srgbClr val="5ACBF0"/>
          </p15:clr>
        </p15:guide>
        <p15:guide id="12" pos="6581">
          <p15:clr>
            <a:srgbClr val="5ACBF0"/>
          </p15:clr>
        </p15:guide>
        <p15:guide id="13" pos="1097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26">
          <p15:clr>
            <a:srgbClr val="5ACBF0"/>
          </p15:clr>
        </p15:guide>
        <p15:guide id="18" pos="5483">
          <p15:clr>
            <a:srgbClr val="5ACBF0"/>
          </p15:clr>
        </p15:guide>
        <p15:guide id="19" orient="horz" pos="2898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1737360" cy="1737360"/>
          </a:xfrm>
          <a:prstGeom prst="ellipse">
            <a:avLst/>
          </a:prstGeom>
          <a:gradFill>
            <a:gsLst>
              <a:gs pos="100000">
                <a:schemeClr val="accent3"/>
              </a:gs>
              <a:gs pos="8000">
                <a:schemeClr val="accent1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2905506" y="2286000"/>
            <a:ext cx="1737360" cy="1737360"/>
          </a:xfrm>
          <a:prstGeom prst="ellipse">
            <a:avLst/>
          </a:prstGeom>
          <a:gradFill>
            <a:gsLst>
              <a:gs pos="100000">
                <a:srgbClr val="FFB900"/>
              </a:gs>
              <a:gs pos="0">
                <a:srgbClr val="FFB3BB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05506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5227320" y="2286000"/>
            <a:ext cx="1737360" cy="1737360"/>
          </a:xfrm>
          <a:prstGeom prst="ellipse">
            <a:avLst/>
          </a:prstGeom>
          <a:gradFill>
            <a:gsLst>
              <a:gs pos="100000">
                <a:srgbClr val="F4364C"/>
              </a:gs>
              <a:gs pos="0">
                <a:srgbClr val="8661C5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27320" y="4235451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7548118" y="2286000"/>
            <a:ext cx="1737360" cy="1737360"/>
          </a:xfrm>
          <a:prstGeom prst="ellipse">
            <a:avLst/>
          </a:prstGeom>
          <a:gradFill>
            <a:gsLst>
              <a:gs pos="0">
                <a:srgbClr val="E8E6DF"/>
              </a:gs>
              <a:gs pos="100000">
                <a:srgbClr val="FFA38B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44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48118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4DC3400-0B11-4EA0-9B8D-6FADE6964F37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ltGray">
          <a:xfrm>
            <a:off x="9869423" y="2286000"/>
            <a:ext cx="1737360" cy="1737360"/>
          </a:xfrm>
          <a:prstGeom prst="ellipse">
            <a:avLst/>
          </a:prstGeom>
          <a:gradFill>
            <a:gsLst>
              <a:gs pos="0">
                <a:srgbClr val="E8E6DF"/>
              </a:gs>
              <a:gs pos="100000">
                <a:srgbClr val="D4EC8E"/>
              </a:gs>
            </a:gsLst>
            <a:lin ang="18900000" scaled="1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33C357E-ECC0-485F-9033-5D4DEC8774B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869423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82048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2664">
          <p15:clr>
            <a:srgbClr val="5ACBF0"/>
          </p15:clr>
        </p15:guide>
        <p15:guide id="3" pos="6216">
          <p15:clr>
            <a:srgbClr val="5ACBF0"/>
          </p15:clr>
        </p15:guide>
        <p15:guide id="5" pos="5850">
          <p15:clr>
            <a:srgbClr val="5ACBF0"/>
          </p15:clr>
        </p15:guide>
        <p15:guide id="7" pos="4392">
          <p15:clr>
            <a:srgbClr val="5ACBF0"/>
          </p15:clr>
        </p15:guide>
        <p15:guide id="8" pos="3292">
          <p15:clr>
            <a:srgbClr val="5ACBF0"/>
          </p15:clr>
        </p15:guide>
        <p15:guide id="10" pos="2926">
          <p15:clr>
            <a:srgbClr val="5ACBF0"/>
          </p15:clr>
        </p15:guide>
        <p15:guide id="11" pos="4754">
          <p15:clr>
            <a:srgbClr val="5ACBF0"/>
          </p15:clr>
        </p15:guide>
        <p15:guide id="13" pos="1464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30">
          <p15:clr>
            <a:srgbClr val="5ACBF0"/>
          </p15:clr>
        </p15:guide>
        <p15:guide id="16" orient="horz" pos="2533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1"/>
            <a:ext cx="3182027" cy="3959217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508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146347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636FE-845C-418D-82A1-1DA6DB73D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2D46E0-16CE-40B0-8623-F82D5D410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1436688"/>
            <a:ext cx="12192000" cy="542131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4977AB6-1D7E-4858-A2EA-BF86577C3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43668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2099310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tabLst>
                <a:tab pos="344488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tabLst>
                <a:tab pos="569913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tabLst>
                <a:tab pos="8001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tabLst>
                <a:tab pos="10287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62086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32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Botto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390" y="1230681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2827138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82713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3491219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11202201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1776">
          <p15:clr>
            <a:srgbClr val="5ACBF0"/>
          </p15:clr>
        </p15:guide>
        <p15:guide id="5" orient="horz" pos="2197">
          <p15:clr>
            <a:srgbClr val="5ACBF0"/>
          </p15:clr>
        </p15:guide>
        <p15:guide id="6" orient="horz" pos="773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Top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0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224580"/>
            <a:ext cx="11018520" cy="492443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660508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152" y="4996505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3115029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2661">
          <p15:clr>
            <a:srgbClr val="5ACBF0"/>
          </p15:clr>
        </p15:guide>
        <p15:guide id="5" orient="horz" pos="3147">
          <p15:clr>
            <a:srgbClr val="5ACBF0"/>
          </p15:clr>
        </p15:guide>
        <p15:guide id="6" orient="horz" pos="419">
          <p15:clr>
            <a:srgbClr val="5ACBF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Right s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2BB27-7DA5-4478-8C18-C1FFEE20AA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4040887" cy="492443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965" y="1338139"/>
            <a:ext cx="4040185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205984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11763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00725" y="709187"/>
            <a:ext cx="5801961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426561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45">
          <p15:clr>
            <a:srgbClr val="5ACBF0"/>
          </p15:clr>
        </p15:guide>
        <p15:guide id="4" orient="horz" pos="843">
          <p15:clr>
            <a:srgbClr val="5ACBF0"/>
          </p15:clr>
        </p15:guide>
        <p15:guide id="7" pos="3283">
          <p15:clr>
            <a:srgbClr val="5ACBF0"/>
          </p15:clr>
        </p15:guide>
        <p15:guide id="8" pos="3654">
          <p15:clr>
            <a:srgbClr val="5ACBF0"/>
          </p15:clr>
        </p15:guide>
        <p15:guide id="9" pos="2916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D3E282-E798-20C2-2DFC-D99A8ED8D4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3FAF76-CA0A-01EE-3423-6568EB56D4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D0698-29A7-4C52-9343-EC3C85165FE2}" type="datetimeFigureOut">
              <a:rPr lang="en-US" smtClean="0"/>
              <a:t>6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1BC94F-F9C8-2A13-2C1B-C6342D6123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8C60A9-7094-8896-9E76-9EC0E0263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4B9F1-1B37-4A63-B179-41149742E4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9244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Left s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-2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B14A7D-C409-4A7C-9D82-A2E5DBB8A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5549" y="457200"/>
            <a:ext cx="4031233" cy="492443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199" y="706011"/>
            <a:ext cx="5819775" cy="369332"/>
          </a:xfrm>
        </p:spPr>
        <p:txBody>
          <a:bodyPr/>
          <a:lstStyle>
            <a:lvl1pPr marL="0" indent="0">
              <a:buNone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75550" y="1336675"/>
            <a:ext cx="4033838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8001501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36">
          <p15:clr>
            <a:srgbClr val="5ACBF0"/>
          </p15:clr>
        </p15:guide>
        <p15:guide id="4" orient="horz" pos="839">
          <p15:clr>
            <a:srgbClr val="5ACBF0"/>
          </p15:clr>
        </p15:guide>
        <p15:guide id="6" pos="4402">
          <p15:clr>
            <a:srgbClr val="5ACBF0"/>
          </p15:clr>
        </p15:guide>
        <p15:guide id="7" pos="4034">
          <p15:clr>
            <a:srgbClr val="5ACBF0"/>
          </p15:clr>
        </p15:guide>
        <p15:guide id="8" pos="4772">
          <p15:clr>
            <a:srgbClr val="5ACBF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000" dirty="0"/>
            </a:lvl1pPr>
          </a:lstStyle>
          <a:p>
            <a:pPr lvl="0">
              <a:lnSpc>
                <a:spcPct val="90000"/>
              </a:lnSpc>
            </a:pPr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767470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000" b="0" dirty="0">
                <a:latin typeface="+mj-lt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681531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000" b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153579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000" b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023294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000" b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748503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000" b="0" dirty="0">
                <a:latin typeface="+mj-lt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50667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000" b="0" dirty="0">
                <a:latin typeface="+mj-lt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816572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838778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825640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FE5B7D-4771-85F5-8F4E-EA0FF56E77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D0698-29A7-4C52-9343-EC3C85165FE2}" type="datetimeFigureOut">
              <a:rPr lang="en-US" smtClean="0"/>
              <a:t>6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B02652-9F8F-8B54-84FD-D5973672F1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700CE2-CD01-2662-AEC5-FCC082922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4B9F1-1B37-4A63-B179-41149742E4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20770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21200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Titl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19224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60D155-47E8-D819-5FA4-748607570A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5022EE65-FBB2-C961-B89F-9DADBDB2DB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827263" y="2199576"/>
            <a:ext cx="3760470" cy="376047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effectLst>
            <a:outerShdw blurRad="215900" dist="190500" dir="2700000" sx="101000" sy="101000" algn="ctr" rotWithShape="0">
              <a:srgbClr val="000000">
                <a:alpha val="23000"/>
              </a:srgbClr>
            </a:outerShdw>
          </a:effectLst>
        </p:spPr>
        <p:txBody>
          <a:bodyPr vert="horz" wrap="square" lIns="0" tIns="0" rIns="0" bIns="0" rtlCol="0" anchor="ctr" anchorCtr="0">
            <a:normAutofit/>
          </a:bodyPr>
          <a:lstStyle>
            <a:lvl1pPr marL="228600" indent="-228600" algn="ctr">
              <a:buNone/>
              <a:defRPr lang="en-US" sz="1800" b="1">
                <a:solidFill>
                  <a:schemeClr val="tx1"/>
                </a:solidFill>
                <a:latin typeface="+mn-lt"/>
              </a:defRPr>
            </a:lvl1pPr>
          </a:lstStyle>
          <a:p>
            <a:pPr marL="228600" lvl="0" indent="-228600" algn="ctr"/>
            <a:r>
              <a:rPr lang="en-US"/>
              <a:t>Click to insert photo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B878651-6EA0-F1DE-DDB3-D4C07A4E594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45931" y="3206751"/>
            <a:ext cx="2706480" cy="147732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2A3F807-DEFB-6026-D7BD-82284EB7FB76}"/>
              </a:ext>
            </a:extLst>
          </p:cNvPr>
          <p:cNvSpPr/>
          <p:nvPr/>
        </p:nvSpPr>
        <p:spPr>
          <a:xfrm>
            <a:off x="552732" y="2199576"/>
            <a:ext cx="693200" cy="604267"/>
          </a:xfrm>
          <a:custGeom>
            <a:avLst/>
            <a:gdLst>
              <a:gd name="connsiteX0" fmla="*/ 393237 w 674431"/>
              <a:gd name="connsiteY0" fmla="*/ 0 h 587906"/>
              <a:gd name="connsiteX1" fmla="*/ 616089 w 674431"/>
              <a:gd name="connsiteY1" fmla="*/ 0 h 587906"/>
              <a:gd name="connsiteX2" fmla="*/ 616151 w 674431"/>
              <a:gd name="connsiteY2" fmla="*/ 0 h 587906"/>
              <a:gd name="connsiteX3" fmla="*/ 674431 w 674431"/>
              <a:gd name="connsiteY3" fmla="*/ 58280 h 587906"/>
              <a:gd name="connsiteX4" fmla="*/ 674431 w 674431"/>
              <a:gd name="connsiteY4" fmla="*/ 221738 h 587906"/>
              <a:gd name="connsiteX5" fmla="*/ 597219 w 674431"/>
              <a:gd name="connsiteY5" fmla="*/ 471750 h 587906"/>
              <a:gd name="connsiteX6" fmla="*/ 393361 w 674431"/>
              <a:gd name="connsiteY6" fmla="*/ 587630 h 587906"/>
              <a:gd name="connsiteX7" fmla="*/ 380245 w 674431"/>
              <a:gd name="connsiteY7" fmla="*/ 577174 h 587906"/>
              <a:gd name="connsiteX8" fmla="*/ 380245 w 674431"/>
              <a:gd name="connsiteY8" fmla="*/ 489011 h 587906"/>
              <a:gd name="connsiteX9" fmla="*/ 387484 w 674431"/>
              <a:gd name="connsiteY9" fmla="*/ 478865 h 587906"/>
              <a:gd name="connsiteX10" fmla="*/ 523100 w 674431"/>
              <a:gd name="connsiteY10" fmla="*/ 363541 h 587906"/>
              <a:gd name="connsiteX11" fmla="*/ 540423 w 674431"/>
              <a:gd name="connsiteY11" fmla="*/ 283112 h 587906"/>
              <a:gd name="connsiteX12" fmla="*/ 533308 w 674431"/>
              <a:gd name="connsiteY12" fmla="*/ 276306 h 587906"/>
              <a:gd name="connsiteX13" fmla="*/ 393361 w 674431"/>
              <a:gd name="connsiteY13" fmla="*/ 276306 h 587906"/>
              <a:gd name="connsiteX14" fmla="*/ 374986 w 674431"/>
              <a:gd name="connsiteY14" fmla="*/ 257931 h 587906"/>
              <a:gd name="connsiteX15" fmla="*/ 374986 w 674431"/>
              <a:gd name="connsiteY15" fmla="*/ 18251 h 587906"/>
              <a:gd name="connsiteX16" fmla="*/ 393237 w 674431"/>
              <a:gd name="connsiteY16" fmla="*/ 0 h 587906"/>
              <a:gd name="connsiteX17" fmla="*/ 58466 w 674431"/>
              <a:gd name="connsiteY17" fmla="*/ 0 h 587906"/>
              <a:gd name="connsiteX18" fmla="*/ 281070 w 674431"/>
              <a:gd name="connsiteY18" fmla="*/ 0 h 587906"/>
              <a:gd name="connsiteX19" fmla="*/ 299445 w 674431"/>
              <a:gd name="connsiteY19" fmla="*/ 18375 h 587906"/>
              <a:gd name="connsiteX20" fmla="*/ 299445 w 674431"/>
              <a:gd name="connsiteY20" fmla="*/ 221738 h 587906"/>
              <a:gd name="connsiteX21" fmla="*/ 222233 w 674431"/>
              <a:gd name="connsiteY21" fmla="*/ 471750 h 587906"/>
              <a:gd name="connsiteX22" fmla="*/ 18375 w 674431"/>
              <a:gd name="connsiteY22" fmla="*/ 587630 h 587906"/>
              <a:gd name="connsiteX23" fmla="*/ 5259 w 674431"/>
              <a:gd name="connsiteY23" fmla="*/ 577174 h 587906"/>
              <a:gd name="connsiteX24" fmla="*/ 5259 w 674431"/>
              <a:gd name="connsiteY24" fmla="*/ 489011 h 587906"/>
              <a:gd name="connsiteX25" fmla="*/ 12497 w 674431"/>
              <a:gd name="connsiteY25" fmla="*/ 478865 h 587906"/>
              <a:gd name="connsiteX26" fmla="*/ 148114 w 674431"/>
              <a:gd name="connsiteY26" fmla="*/ 363541 h 587906"/>
              <a:gd name="connsiteX27" fmla="*/ 165437 w 674431"/>
              <a:gd name="connsiteY27" fmla="*/ 283112 h 587906"/>
              <a:gd name="connsiteX28" fmla="*/ 158322 w 674431"/>
              <a:gd name="connsiteY28" fmla="*/ 276306 h 587906"/>
              <a:gd name="connsiteX29" fmla="*/ 18375 w 674431"/>
              <a:gd name="connsiteY29" fmla="*/ 276306 h 587906"/>
              <a:gd name="connsiteX30" fmla="*/ 0 w 674431"/>
              <a:gd name="connsiteY30" fmla="*/ 257931 h 587906"/>
              <a:gd name="connsiteX31" fmla="*/ 0 w 674431"/>
              <a:gd name="connsiteY31" fmla="*/ 58466 h 587906"/>
              <a:gd name="connsiteX32" fmla="*/ 58466 w 674431"/>
              <a:gd name="connsiteY32" fmla="*/ 0 h 58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674431" h="587906">
                <a:moveTo>
                  <a:pt x="393237" y="0"/>
                </a:moveTo>
                <a:lnTo>
                  <a:pt x="616089" y="0"/>
                </a:lnTo>
                <a:lnTo>
                  <a:pt x="616151" y="0"/>
                </a:lnTo>
                <a:cubicBezTo>
                  <a:pt x="648322" y="0"/>
                  <a:pt x="674431" y="26109"/>
                  <a:pt x="674431" y="58280"/>
                </a:cubicBezTo>
                <a:lnTo>
                  <a:pt x="674431" y="221738"/>
                </a:lnTo>
                <a:cubicBezTo>
                  <a:pt x="674431" y="328152"/>
                  <a:pt x="648694" y="411490"/>
                  <a:pt x="597219" y="471750"/>
                </a:cubicBezTo>
                <a:cubicBezTo>
                  <a:pt x="548157" y="529102"/>
                  <a:pt x="480225" y="567770"/>
                  <a:pt x="393361" y="587630"/>
                </a:cubicBezTo>
                <a:cubicBezTo>
                  <a:pt x="386679" y="589177"/>
                  <a:pt x="380245" y="584042"/>
                  <a:pt x="380245" y="577174"/>
                </a:cubicBezTo>
                <a:lnTo>
                  <a:pt x="380245" y="489011"/>
                </a:lnTo>
                <a:cubicBezTo>
                  <a:pt x="380245" y="484433"/>
                  <a:pt x="383153" y="480288"/>
                  <a:pt x="387484" y="478865"/>
                </a:cubicBezTo>
                <a:cubicBezTo>
                  <a:pt x="454240" y="456778"/>
                  <a:pt x="499466" y="418295"/>
                  <a:pt x="523100" y="363541"/>
                </a:cubicBezTo>
                <a:cubicBezTo>
                  <a:pt x="535969" y="335824"/>
                  <a:pt x="541784" y="309035"/>
                  <a:pt x="540423" y="283112"/>
                </a:cubicBezTo>
                <a:cubicBezTo>
                  <a:pt x="540238" y="279276"/>
                  <a:pt x="537082" y="276306"/>
                  <a:pt x="533308" y="276306"/>
                </a:cubicBezTo>
                <a:lnTo>
                  <a:pt x="393361" y="276306"/>
                </a:lnTo>
                <a:cubicBezTo>
                  <a:pt x="383215" y="276306"/>
                  <a:pt x="374986" y="268078"/>
                  <a:pt x="374986" y="257931"/>
                </a:cubicBezTo>
                <a:lnTo>
                  <a:pt x="374986" y="18251"/>
                </a:lnTo>
                <a:cubicBezTo>
                  <a:pt x="374986" y="8167"/>
                  <a:pt x="383153" y="0"/>
                  <a:pt x="393237" y="0"/>
                </a:cubicBezTo>
                <a:close/>
                <a:moveTo>
                  <a:pt x="58466" y="0"/>
                </a:moveTo>
                <a:lnTo>
                  <a:pt x="281070" y="0"/>
                </a:lnTo>
                <a:cubicBezTo>
                  <a:pt x="291216" y="0"/>
                  <a:pt x="299445" y="8229"/>
                  <a:pt x="299445" y="18375"/>
                </a:cubicBezTo>
                <a:lnTo>
                  <a:pt x="299445" y="221738"/>
                </a:lnTo>
                <a:cubicBezTo>
                  <a:pt x="299445" y="328152"/>
                  <a:pt x="273708" y="411490"/>
                  <a:pt x="222233" y="471750"/>
                </a:cubicBezTo>
                <a:cubicBezTo>
                  <a:pt x="173171" y="529102"/>
                  <a:pt x="105239" y="567770"/>
                  <a:pt x="18375" y="587630"/>
                </a:cubicBezTo>
                <a:cubicBezTo>
                  <a:pt x="11631" y="589177"/>
                  <a:pt x="5259" y="584042"/>
                  <a:pt x="5259" y="577174"/>
                </a:cubicBezTo>
                <a:lnTo>
                  <a:pt x="5259" y="489011"/>
                </a:lnTo>
                <a:cubicBezTo>
                  <a:pt x="5259" y="484433"/>
                  <a:pt x="8167" y="480288"/>
                  <a:pt x="12497" y="478865"/>
                </a:cubicBezTo>
                <a:cubicBezTo>
                  <a:pt x="79254" y="456778"/>
                  <a:pt x="124480" y="418295"/>
                  <a:pt x="148114" y="363541"/>
                </a:cubicBezTo>
                <a:cubicBezTo>
                  <a:pt x="160983" y="335824"/>
                  <a:pt x="166798" y="309035"/>
                  <a:pt x="165437" y="283112"/>
                </a:cubicBezTo>
                <a:cubicBezTo>
                  <a:pt x="165252" y="279276"/>
                  <a:pt x="162096" y="276306"/>
                  <a:pt x="158322" y="276306"/>
                </a:cubicBezTo>
                <a:lnTo>
                  <a:pt x="18375" y="276306"/>
                </a:lnTo>
                <a:cubicBezTo>
                  <a:pt x="8229" y="276306"/>
                  <a:pt x="0" y="268078"/>
                  <a:pt x="0" y="257931"/>
                </a:cubicBezTo>
                <a:lnTo>
                  <a:pt x="0" y="58466"/>
                </a:lnTo>
                <a:cubicBezTo>
                  <a:pt x="0" y="26171"/>
                  <a:pt x="26171" y="0"/>
                  <a:pt x="58466" y="0"/>
                </a:cubicBezTo>
                <a:close/>
              </a:path>
            </a:pathLst>
          </a:custGeom>
          <a:solidFill>
            <a:schemeClr val="tx1"/>
          </a:solidFill>
          <a:ln w="611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B8F6EDE-3287-C98A-2287-E97E9546E9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45931" y="4963876"/>
            <a:ext cx="2706480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Quote author</a:t>
            </a:r>
          </a:p>
        </p:txBody>
      </p:sp>
    </p:spTree>
    <p:extLst>
      <p:ext uri="{BB962C8B-B14F-4D97-AF65-F5344CB8AC3E}">
        <p14:creationId xmlns:p14="http://schemas.microsoft.com/office/powerpoint/2010/main" val="3458723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3E7235-22DD-1125-FF85-028A2E641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6359434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565C022-5A4E-84F5-B51B-1431B6A0AE21}"/>
              </a:ext>
            </a:extLst>
          </p:cNvPr>
          <p:cNvSpPr/>
          <p:nvPr/>
        </p:nvSpPr>
        <p:spPr bwMode="auto">
          <a:xfrm>
            <a:off x="7228114" y="292100"/>
            <a:ext cx="4659086" cy="6272213"/>
          </a:xfrm>
          <a:prstGeom prst="rect">
            <a:avLst/>
          </a:prstGeom>
          <a:gradFill>
            <a:gsLst>
              <a:gs pos="0">
                <a:srgbClr val="FFB3BB"/>
              </a:gs>
              <a:gs pos="100000">
                <a:srgbClr val="FFB900"/>
              </a:gs>
            </a:gsLst>
            <a:lin ang="810000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5068233-F46E-B659-0799-22A45E3DA22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76380" y="1866864"/>
            <a:ext cx="5544120" cy="3124272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241300" dist="304800" dir="2700000" sx="101000" sy="101000" algn="ctr" rotWithShape="0">
              <a:srgbClr val="000000">
                <a:alpha val="17000"/>
              </a:srgbClr>
            </a:outerShdw>
          </a:effectLst>
        </p:spPr>
        <p:txBody>
          <a:bodyPr lIns="731520" rIns="731520" bIns="109728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Drag &amp; drop your photo here or click or tap icon below to insert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1020F17E-67BE-FC02-AF7B-709A3923C23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1482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565C022-5A4E-84F5-B51B-1431B6A0AE21}"/>
              </a:ext>
            </a:extLst>
          </p:cNvPr>
          <p:cNvSpPr/>
          <p:nvPr/>
        </p:nvSpPr>
        <p:spPr bwMode="auto">
          <a:xfrm>
            <a:off x="304800" y="292100"/>
            <a:ext cx="11582400" cy="6272213"/>
          </a:xfrm>
          <a:prstGeom prst="rect">
            <a:avLst/>
          </a:prstGeom>
          <a:gradFill>
            <a:gsLst>
              <a:gs pos="64000">
                <a:srgbClr val="0D82CB"/>
              </a:gs>
              <a:gs pos="0">
                <a:srgbClr val="7FDE7B"/>
              </a:gs>
            </a:gsLst>
            <a:lin ang="810000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3E7235-22DD-1125-FF85-028A2E641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896801"/>
            <a:ext cx="3590037" cy="1661993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5068233-F46E-B659-0799-22A45E3DA22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61762" y="1490647"/>
            <a:ext cx="6879337" cy="3876706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241300" dist="304800" dir="2700000" sx="101000" sy="101000" algn="ctr" rotWithShape="0">
              <a:srgbClr val="000000">
                <a:alpha val="17000"/>
              </a:srgbClr>
            </a:outerShdw>
          </a:effectLst>
        </p:spPr>
        <p:txBody>
          <a:bodyPr lIns="1097280" rIns="1097280" bIns="109728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rag &amp; drop your photo here or click or tap icon below to insert</a:t>
            </a:r>
          </a:p>
        </p:txBody>
      </p:sp>
    </p:spTree>
    <p:extLst>
      <p:ext uri="{BB962C8B-B14F-4D97-AF65-F5344CB8AC3E}">
        <p14:creationId xmlns:p14="http://schemas.microsoft.com/office/powerpoint/2010/main" val="10057931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DB0FE6-6EE4-72F6-EE0C-E481F72F7D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4910837" cy="11079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BEC160D-0F95-E237-7287-43174DA4A3F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1" y="1816100"/>
            <a:ext cx="4910838" cy="20436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90C592A4-DBC6-A7A9-63D9-5020A47499F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blipFill>
            <a:blip r:embed="rId2"/>
            <a:stretch>
              <a:fillRect/>
            </a:stretch>
          </a:blipFill>
          <a:effectLst/>
        </p:spPr>
        <p:txBody>
          <a:bodyPr lIns="1097280" rIns="1097280" bIns="109728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Drag &amp; drop your photo here or click or tap icon below to insert</a:t>
            </a:r>
          </a:p>
        </p:txBody>
      </p:sp>
    </p:spTree>
    <p:extLst>
      <p:ext uri="{BB962C8B-B14F-4D97-AF65-F5344CB8AC3E}">
        <p14:creationId xmlns:p14="http://schemas.microsoft.com/office/powerpoint/2010/main" val="16172255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DB0FE6-6EE4-72F6-EE0C-E481F72F7D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4910837" cy="110799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BEC160D-0F95-E237-7287-43174DA4A3F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1" y="1816100"/>
            <a:ext cx="4910838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830D09FD-2495-FD73-64EA-14E484039EF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blipFill>
            <a:blip r:embed="rId2"/>
            <a:stretch>
              <a:fillRect/>
            </a:stretch>
          </a:blipFill>
          <a:effectLst/>
        </p:spPr>
        <p:txBody>
          <a:bodyPr lIns="1097280" rIns="1097280" bIns="109728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rag &amp; drop your photo here or click or tap icon below to insert</a:t>
            </a:r>
          </a:p>
        </p:txBody>
      </p:sp>
    </p:spTree>
    <p:extLst>
      <p:ext uri="{BB962C8B-B14F-4D97-AF65-F5344CB8AC3E}">
        <p14:creationId xmlns:p14="http://schemas.microsoft.com/office/powerpoint/2010/main" val="3521449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655B182-C5FF-81E8-8156-470DF32495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2798286"/>
            <a:ext cx="4663440" cy="738664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800" spc="-50" baseline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C71D650-3B87-D82E-F786-ADD5DDCE4C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4199" y="4847464"/>
            <a:ext cx="3898901" cy="246221"/>
          </a:xfrm>
          <a:noFill/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35A3663-712F-A49D-172F-24B8615113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4199" y="5106140"/>
            <a:ext cx="3898901" cy="184666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ontact information</a:t>
            </a:r>
          </a:p>
        </p:txBody>
      </p:sp>
      <p:pic>
        <p:nvPicPr>
          <p:cNvPr id="8" name="MS logo gray - EMF" descr="Microsoft logo, gray text version">
            <a:extLst>
              <a:ext uri="{FF2B5EF4-FFF2-40B4-BE49-F238E27FC236}">
                <a16:creationId xmlns:a16="http://schemas.microsoft.com/office/drawing/2014/main" id="{4B828D67-4891-FD7F-4AA2-E9E4A652519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930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ank you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655B182-C5FF-81E8-8156-470DF32495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2798286"/>
            <a:ext cx="4663440" cy="738664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800" spc="-50" baseline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C71D650-3B87-D82E-F786-ADD5DDCE4C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4199" y="4847464"/>
            <a:ext cx="3898901" cy="246221"/>
          </a:xfrm>
          <a:noFill/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35A3663-712F-A49D-172F-24B8615113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4199" y="5106140"/>
            <a:ext cx="3898901" cy="184666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ontact information</a:t>
            </a:r>
          </a:p>
        </p:txBody>
      </p:sp>
      <p:pic>
        <p:nvPicPr>
          <p:cNvPr id="8" name="MS logo gray - EMF" descr="Microsoft logo, gray text version">
            <a:extLst>
              <a:ext uri="{FF2B5EF4-FFF2-40B4-BE49-F238E27FC236}">
                <a16:creationId xmlns:a16="http://schemas.microsoft.com/office/drawing/2014/main" id="{4B828D67-4891-FD7F-4AA2-E9E4A652519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929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66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C3E8F3-B36D-79FD-A93A-924DA4170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FC8233-CF77-5AE9-CABE-ECAF48E117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7777CC-C92D-8299-5282-187A623315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1FD920-BA33-ADD6-3E70-9BE45700B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D0698-29A7-4C52-9343-EC3C85165FE2}" type="datetimeFigureOut">
              <a:rPr lang="en-US" smtClean="0"/>
              <a:t>6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04ADED-F741-E11C-247A-E48DA34115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F1F90A-A644-B516-DED9-AF6C175BC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4B9F1-1B37-4A63-B179-41149742E4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208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72182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29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342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696401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701C9-5E10-22D0-C528-782D931B49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ED3F1F-A4B7-2E64-454F-9289F732DA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2E381D-CD0C-1C6C-5E50-7102D74AF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F70253-9429-4E23-A464-34B60540974E}" type="datetimeFigureOut">
              <a:rPr lang="en-US" smtClean="0"/>
              <a:t>6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444B62-54F9-E0DD-0182-FAEC040587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2C4DDC-2DC8-58BE-E4A6-7651892948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0058C-FC8D-4F7E-8F0E-DB8447C6E0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077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199" y="457200"/>
            <a:ext cx="11022583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58FD15-A5B5-C53A-8733-14C6D367221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067356"/>
            <a:ext cx="11036300" cy="369332"/>
          </a:xfrm>
        </p:spPr>
        <p:txBody>
          <a:bodyPr/>
          <a:lstStyle>
            <a:lvl1pPr marL="0" indent="0">
              <a:buNone/>
              <a:defRPr kumimoji="0" lang="en-US" sz="2400" b="0" u="none" strike="noStrike" kern="1200" cap="none" spc="0" normalizeH="0" baseline="0" dirty="0">
                <a:ln w="3175">
                  <a:noFill/>
                </a:ln>
                <a:gradFill flip="none" rotWithShape="1">
                  <a:gsLst>
                    <a:gs pos="32000">
                      <a:srgbClr val="D59ED7"/>
                    </a:gs>
                    <a:gs pos="68000">
                      <a:srgbClr val="8DC8E8"/>
                    </a:gs>
                    <a:gs pos="100000">
                      <a:srgbClr val="49C5B1"/>
                    </a:gs>
                    <a:gs pos="0">
                      <a:srgbClr val="FFA38B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8073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281294-6354-4DDC-8233-3BACF7CAF81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8212" y="1409910"/>
            <a:ext cx="11292463" cy="4903310"/>
          </a:xfrm>
        </p:spPr>
        <p:txBody>
          <a:bodyPr wrap="square">
            <a:noAutofit/>
          </a:bodyPr>
          <a:lstStyle>
            <a:lvl1pPr>
              <a:defRPr sz="1961">
                <a:solidFill>
                  <a:schemeClr val="bg1"/>
                </a:solidFill>
              </a:defRPr>
            </a:lvl1pPr>
            <a:lvl2pPr>
              <a:defRPr sz="1372">
                <a:solidFill>
                  <a:schemeClr val="bg1"/>
                </a:solidFill>
              </a:defRPr>
            </a:lvl2pPr>
            <a:lvl3pPr>
              <a:defRPr sz="1176">
                <a:solidFill>
                  <a:schemeClr val="bg1"/>
                </a:solidFill>
              </a:defRPr>
            </a:lvl3pPr>
            <a:lvl4pPr>
              <a:defRPr sz="1078">
                <a:solidFill>
                  <a:schemeClr val="bg1"/>
                </a:solidFill>
              </a:defRPr>
            </a:lvl4pPr>
            <a:lvl5pPr>
              <a:defRPr sz="107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48212" y="253713"/>
            <a:ext cx="11292420" cy="935463"/>
          </a:xfrm>
        </p:spPr>
        <p:txBody>
          <a:bodyPr/>
          <a:lstStyle>
            <a:lvl1pPr>
              <a:defRPr sz="352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48212" y="957259"/>
            <a:ext cx="11292463" cy="461665"/>
          </a:xfrm>
        </p:spPr>
        <p:txBody>
          <a:bodyPr/>
          <a:lstStyle>
            <a:lvl1pPr marL="0" indent="0">
              <a:buNone/>
              <a:defRPr sz="1961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7">
                <a:latin typeface="+mn-lt"/>
              </a:defRPr>
            </a:lvl4pPr>
            <a:lvl5pPr>
              <a:defRPr sz="156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Footer Placeholder 6">
            <a:extLst>
              <a:ext uri="{FF2B5EF4-FFF2-40B4-BE49-F238E27FC236}">
                <a16:creationId xmlns:a16="http://schemas.microsoft.com/office/drawing/2014/main" id="{40169C90-137E-4272-89A1-7E4FB237AC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0593" y="6592226"/>
            <a:ext cx="1867552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784" smtClean="0">
                <a:solidFill>
                  <a:schemeClr val="bg1"/>
                </a:solidFill>
              </a:defRPr>
            </a:lvl1pPr>
          </a:lstStyle>
          <a:p>
            <a:r>
              <a:rPr lang="en-IN"/>
              <a:t>Microsoft Confidential – Internal Only 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6E81FED5-F9FE-4590-8BFB-D76AD95445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9420" y="65858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784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38119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2C284FE-C4D0-DD2B-A720-4B27B6534113}"/>
              </a:ext>
            </a:extLst>
          </p:cNvPr>
          <p:cNvSpPr/>
          <p:nvPr userDrawn="1"/>
        </p:nvSpPr>
        <p:spPr bwMode="auto">
          <a:xfrm>
            <a:off x="0" y="1537855"/>
            <a:ext cx="4373217" cy="5320146"/>
          </a:xfrm>
          <a:prstGeom prst="rect">
            <a:avLst/>
          </a:prstGeom>
          <a:gradFill>
            <a:gsLst>
              <a:gs pos="0">
                <a:schemeClr val="accent2">
                  <a:alpha val="0"/>
                </a:schemeClr>
              </a:gs>
              <a:gs pos="100000">
                <a:schemeClr val="accent2">
                  <a:alpha val="50448"/>
                </a:schemeClr>
              </a:gs>
            </a:gsLst>
            <a:lin ang="540000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 descr="A picture containing plant, flower&#10;&#10;Description automatically generated">
            <a:extLst>
              <a:ext uri="{FF2B5EF4-FFF2-40B4-BE49-F238E27FC236}">
                <a16:creationId xmlns:a16="http://schemas.microsoft.com/office/drawing/2014/main" id="{F8156420-329E-6B68-5591-52480586F2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7495" y="3314700"/>
            <a:ext cx="4394200" cy="35433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2C84F27-63CD-3AB4-E6C7-2BE88FBF1778}"/>
              </a:ext>
            </a:extLst>
          </p:cNvPr>
          <p:cNvSpPr/>
          <p:nvPr userDrawn="1"/>
        </p:nvSpPr>
        <p:spPr bwMode="auto">
          <a:xfrm flipH="1">
            <a:off x="4373217" y="0"/>
            <a:ext cx="7818783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3118624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7"/>
            <a:ext cx="6667500" cy="952067"/>
          </a:xfrm>
        </p:spPr>
        <p:txBody>
          <a:bodyPr anchor="t">
            <a:noAutofit/>
          </a:bodyPr>
          <a:lstStyle>
            <a:lvl1pPr marL="0" indent="0">
              <a:spcAft>
                <a:spcPts val="600"/>
              </a:spcAft>
              <a:buFont typeface="Wingdings" panose="05000000000000000000" pitchFamily="2" charset="2"/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4524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1BC66-9646-C880-A0E7-3A4DFC0D6E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0EA7639-C049-1DDD-6CE1-C416ECDAD19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923125-FFCF-FB39-8937-6A674A6855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7D42C3-02BB-AB81-D93B-3684CA2513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D0698-29A7-4C52-9343-EC3C85165FE2}" type="datetimeFigureOut">
              <a:rPr lang="en-US" smtClean="0"/>
              <a:t>6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F7B6B9-CDCA-39E1-18FC-BB4A040B8F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A6B41D-E571-B8DD-0597-5F956C508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4B9F1-1B37-4A63-B179-41149742E4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9026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32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63" Type="http://schemas.openxmlformats.org/officeDocument/2006/relationships/slideLayout" Target="../slideLayouts/slideLayout74.xml"/><Relationship Id="rId68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slideLayout" Target="../slideLayouts/slideLayout77.xml"/><Relationship Id="rId74" Type="http://schemas.openxmlformats.org/officeDocument/2006/relationships/slideLayout" Target="../slideLayouts/slideLayout85.xml"/><Relationship Id="rId5" Type="http://schemas.openxmlformats.org/officeDocument/2006/relationships/slideLayout" Target="../slideLayouts/slideLayout16.xml"/><Relationship Id="rId61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69" Type="http://schemas.openxmlformats.org/officeDocument/2006/relationships/slideLayout" Target="../slideLayouts/slideLayout80.xml"/><Relationship Id="rId77" Type="http://schemas.openxmlformats.org/officeDocument/2006/relationships/image" Target="../media/image1.png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72" Type="http://schemas.openxmlformats.org/officeDocument/2006/relationships/slideLayout" Target="../slideLayouts/slideLayout83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Relationship Id="rId70" Type="http://schemas.openxmlformats.org/officeDocument/2006/relationships/slideLayout" Target="../slideLayouts/slideLayout81.xml"/><Relationship Id="rId75" Type="http://schemas.openxmlformats.org/officeDocument/2006/relationships/slideLayout" Target="../slideLayouts/slideLayout86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73" Type="http://schemas.openxmlformats.org/officeDocument/2006/relationships/slideLayout" Target="../slideLayouts/slideLayout84.xml"/><Relationship Id="rId78" Type="http://schemas.openxmlformats.org/officeDocument/2006/relationships/image" Target="../media/image2.sv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9" Type="http://schemas.openxmlformats.org/officeDocument/2006/relationships/slideLayout" Target="../slideLayouts/slideLayout50.xml"/><Relationship Id="rId34" Type="http://schemas.openxmlformats.org/officeDocument/2006/relationships/slideLayout" Target="../slideLayouts/slideLayout45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76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71" Type="http://schemas.openxmlformats.org/officeDocument/2006/relationships/slideLayout" Target="../slideLayouts/slideLayout82.xml"/><Relationship Id="rId2" Type="http://schemas.openxmlformats.org/officeDocument/2006/relationships/slideLayout" Target="../slideLayouts/slideLayout13.xml"/><Relationship Id="rId29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70415C-D167-3913-5B2D-BA631C0AB6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3E9D33-6FD4-86F3-B798-4602FFEF5F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EBA7FF-ED69-A572-278E-9ACA730252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0D0698-29A7-4C52-9343-EC3C85165FE2}" type="datetimeFigureOut">
              <a:rPr lang="en-US" smtClean="0"/>
              <a:t>6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FAB068-E53E-2F59-6DCB-C135AE721F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3D6FD0-A2F3-4C6C-4BCA-0FD3E3D854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BA4B9F1-1B37-4A63-B179-41149742E4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375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77">
            <a:extLst>
              <a:ext uri="{96DAC541-7B7A-43D3-8B79-37D633B846F1}">
                <asvg:svgBlip xmlns:asvg="http://schemas.microsoft.com/office/drawing/2016/SVG/main" r:embed="rId78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737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0">
          <p15:clr>
            <a:srgbClr val="C35EA4"/>
          </p15:clr>
        </p15:guide>
        <p15:guide id="17" pos="7320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92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88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3.svg"/><Relationship Id="rId5" Type="http://schemas.openxmlformats.org/officeDocument/2006/relationships/image" Target="../media/image48.png"/><Relationship Id="rId4" Type="http://schemas.openxmlformats.org/officeDocument/2006/relationships/image" Target="../media/image5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1.png"/><Relationship Id="rId3" Type="http://schemas.openxmlformats.org/officeDocument/2006/relationships/image" Target="../media/image53.svg"/><Relationship Id="rId7" Type="http://schemas.openxmlformats.org/officeDocument/2006/relationships/image" Target="../media/image57.png"/><Relationship Id="rId12" Type="http://schemas.openxmlformats.org/officeDocument/2006/relationships/image" Target="../media/image60.png"/><Relationship Id="rId17" Type="http://schemas.openxmlformats.org/officeDocument/2006/relationships/image" Target="../media/image52.png"/><Relationship Id="rId2" Type="http://schemas.openxmlformats.org/officeDocument/2006/relationships/image" Target="../media/image48.png"/><Relationship Id="rId16" Type="http://schemas.openxmlformats.org/officeDocument/2006/relationships/image" Target="../media/image6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6.png"/><Relationship Id="rId11" Type="http://schemas.openxmlformats.org/officeDocument/2006/relationships/image" Target="../media/image51.jpeg"/><Relationship Id="rId5" Type="http://schemas.openxmlformats.org/officeDocument/2006/relationships/image" Target="../media/image55.png"/><Relationship Id="rId15" Type="http://schemas.openxmlformats.org/officeDocument/2006/relationships/image" Target="../media/image63.png"/><Relationship Id="rId10" Type="http://schemas.openxmlformats.org/officeDocument/2006/relationships/image" Target="../media/image50.jpeg"/><Relationship Id="rId4" Type="http://schemas.openxmlformats.org/officeDocument/2006/relationships/image" Target="../media/image54.png"/><Relationship Id="rId9" Type="http://schemas.openxmlformats.org/officeDocument/2006/relationships/image" Target="../media/image59.png"/><Relationship Id="rId14" Type="http://schemas.openxmlformats.org/officeDocument/2006/relationships/image" Target="../media/image6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60.png"/><Relationship Id="rId18" Type="http://schemas.openxmlformats.org/officeDocument/2006/relationships/image" Target="../media/image52.png"/><Relationship Id="rId3" Type="http://schemas.openxmlformats.org/officeDocument/2006/relationships/image" Target="../media/image53.svg"/><Relationship Id="rId7" Type="http://schemas.openxmlformats.org/officeDocument/2006/relationships/image" Target="../media/image57.png"/><Relationship Id="rId12" Type="http://schemas.openxmlformats.org/officeDocument/2006/relationships/image" Target="../media/image51.jpeg"/><Relationship Id="rId17" Type="http://schemas.openxmlformats.org/officeDocument/2006/relationships/image" Target="../media/image64.png"/><Relationship Id="rId2" Type="http://schemas.openxmlformats.org/officeDocument/2006/relationships/image" Target="../media/image48.png"/><Relationship Id="rId16" Type="http://schemas.openxmlformats.org/officeDocument/2006/relationships/image" Target="../media/image6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6.png"/><Relationship Id="rId11" Type="http://schemas.openxmlformats.org/officeDocument/2006/relationships/image" Target="../media/image50.jpeg"/><Relationship Id="rId5" Type="http://schemas.openxmlformats.org/officeDocument/2006/relationships/image" Target="../media/image55.png"/><Relationship Id="rId15" Type="http://schemas.openxmlformats.org/officeDocument/2006/relationships/image" Target="../media/image62.png"/><Relationship Id="rId10" Type="http://schemas.openxmlformats.org/officeDocument/2006/relationships/image" Target="../media/image59.png"/><Relationship Id="rId4" Type="http://schemas.openxmlformats.org/officeDocument/2006/relationships/image" Target="../media/image54.png"/><Relationship Id="rId9" Type="http://schemas.openxmlformats.org/officeDocument/2006/relationships/image" Target="../media/image58.png"/><Relationship Id="rId14" Type="http://schemas.openxmlformats.org/officeDocument/2006/relationships/image" Target="../media/image6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07A7FA-BF3B-2D5D-6858-3B1FAC8CAC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" name="Group 66">
            <a:extLst>
              <a:ext uri="{FF2B5EF4-FFF2-40B4-BE49-F238E27FC236}">
                <a16:creationId xmlns:a16="http://schemas.microsoft.com/office/drawing/2014/main" id="{DF0A7F3D-3C6F-A7A9-4CBC-FAAD3A5100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6981742">
            <a:off x="-5667041" y="-2680355"/>
            <a:ext cx="8334992" cy="7408967"/>
            <a:chOff x="-1641318" y="-299489"/>
            <a:chExt cx="8683276" cy="7718554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3E924279-A00E-DB53-EB73-943668747015}"/>
                </a:ext>
              </a:extLst>
            </p:cNvPr>
            <p:cNvGrpSpPr/>
            <p:nvPr/>
          </p:nvGrpSpPr>
          <p:grpSpPr>
            <a:xfrm rot="13963223">
              <a:off x="-1235110" y="-252874"/>
              <a:ext cx="7671937" cy="7671942"/>
              <a:chOff x="-13073550" y="260470"/>
              <a:chExt cx="10868115" cy="10868116"/>
            </a:xfrm>
            <a:solidFill>
              <a:schemeClr val="bg1">
                <a:lumMod val="85000"/>
              </a:schemeClr>
            </a:solidFill>
          </p:grpSpPr>
          <p:grpSp>
            <p:nvGrpSpPr>
              <p:cNvPr id="121" name="Group 120">
                <a:extLst>
                  <a:ext uri="{FF2B5EF4-FFF2-40B4-BE49-F238E27FC236}">
                    <a16:creationId xmlns:a16="http://schemas.microsoft.com/office/drawing/2014/main" id="{F96660BC-4A12-705D-639F-18B909C0607D}"/>
                  </a:ext>
                </a:extLst>
              </p:cNvPr>
              <p:cNvGrpSpPr/>
              <p:nvPr/>
            </p:nvGrpSpPr>
            <p:grpSpPr>
              <a:xfrm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28" name="Graphic 127">
                  <a:extLst>
                    <a:ext uri="{FF2B5EF4-FFF2-40B4-BE49-F238E27FC236}">
                      <a16:creationId xmlns:a16="http://schemas.microsoft.com/office/drawing/2014/main" id="{03584CB3-2B22-6750-2841-6703DD9B57A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29" name="Graphic 128">
                  <a:extLst>
                    <a:ext uri="{FF2B5EF4-FFF2-40B4-BE49-F238E27FC236}">
                      <a16:creationId xmlns:a16="http://schemas.microsoft.com/office/drawing/2014/main" id="{D8E544BB-9B90-E16C-FF27-9FA92E70C05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id="{2BCC95E8-17C2-7A0E-F3B2-A58C0DFCA7C7}"/>
                  </a:ext>
                </a:extLst>
              </p:cNvPr>
              <p:cNvGrpSpPr/>
              <p:nvPr/>
            </p:nvGrpSpPr>
            <p:grpSpPr>
              <a:xfrm rot="18000000"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26" name="Graphic 125">
                  <a:extLst>
                    <a:ext uri="{FF2B5EF4-FFF2-40B4-BE49-F238E27FC236}">
                      <a16:creationId xmlns:a16="http://schemas.microsoft.com/office/drawing/2014/main" id="{1E9B37BB-8DC1-9024-1471-6B91038A545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27" name="Graphic 126">
                  <a:extLst>
                    <a:ext uri="{FF2B5EF4-FFF2-40B4-BE49-F238E27FC236}">
                      <a16:creationId xmlns:a16="http://schemas.microsoft.com/office/drawing/2014/main" id="{3135D81C-22E9-07AB-9B65-6437C9FC0A7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123" name="Group 122">
                <a:extLst>
                  <a:ext uri="{FF2B5EF4-FFF2-40B4-BE49-F238E27FC236}">
                    <a16:creationId xmlns:a16="http://schemas.microsoft.com/office/drawing/2014/main" id="{3ED21391-FD7A-8FD0-ABE6-8AD9AF07833B}"/>
                  </a:ext>
                </a:extLst>
              </p:cNvPr>
              <p:cNvGrpSpPr/>
              <p:nvPr/>
            </p:nvGrpSpPr>
            <p:grpSpPr>
              <a:xfrm rot="3600000">
                <a:off x="-13073550" y="3398291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24" name="Graphic 123">
                  <a:extLst>
                    <a:ext uri="{FF2B5EF4-FFF2-40B4-BE49-F238E27FC236}">
                      <a16:creationId xmlns:a16="http://schemas.microsoft.com/office/drawing/2014/main" id="{AE810973-D26E-7D8D-4C7C-B9F22FA3E59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25" name="Graphic 124">
                  <a:extLst>
                    <a:ext uri="{FF2B5EF4-FFF2-40B4-BE49-F238E27FC236}">
                      <a16:creationId xmlns:a16="http://schemas.microsoft.com/office/drawing/2014/main" id="{CF752E4F-062F-5066-3ECB-983EF6E6CF7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69" name="Graphic 5">
              <a:extLst>
                <a:ext uri="{FF2B5EF4-FFF2-40B4-BE49-F238E27FC236}">
                  <a16:creationId xmlns:a16="http://schemas.microsoft.com/office/drawing/2014/main" id="{1E344DC6-BB61-C322-D490-4B3D9265961E}"/>
                </a:ext>
              </a:extLst>
            </p:cNvPr>
            <p:cNvGrpSpPr/>
            <p:nvPr/>
          </p:nvGrpSpPr>
          <p:grpSpPr>
            <a:xfrm rot="15746055">
              <a:off x="-177888" y="1123433"/>
              <a:ext cx="5330696" cy="5499097"/>
              <a:chOff x="4071312" y="2489702"/>
              <a:chExt cx="3527293" cy="3638722"/>
            </a:xfrm>
            <a:noFill/>
          </p:grpSpPr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A62CC5AD-DC45-FBDD-22AC-EE59FC36F5A6}"/>
                  </a:ext>
                </a:extLst>
              </p:cNvPr>
              <p:cNvSpPr/>
              <p:nvPr/>
            </p:nvSpPr>
            <p:spPr>
              <a:xfrm>
                <a:off x="4071312" y="2489702"/>
                <a:ext cx="3259151" cy="3638722"/>
              </a:xfrm>
              <a:custGeom>
                <a:avLst/>
                <a:gdLst>
                  <a:gd name="connsiteX0" fmla="*/ 3079707 w 3259151"/>
                  <a:gd name="connsiteY0" fmla="*/ 3021953 h 3638722"/>
                  <a:gd name="connsiteX1" fmla="*/ 3132080 w 3259151"/>
                  <a:gd name="connsiteY1" fmla="*/ 1787369 h 3638722"/>
                  <a:gd name="connsiteX2" fmla="*/ 3107243 w 3259151"/>
                  <a:gd name="connsiteY2" fmla="*/ 829383 h 3638722"/>
                  <a:gd name="connsiteX3" fmla="*/ 1658848 w 3259151"/>
                  <a:gd name="connsiteY3" fmla="*/ 4990 h 3638722"/>
                  <a:gd name="connsiteX4" fmla="*/ 849418 w 3259151"/>
                  <a:gd name="connsiteY4" fmla="*/ 1005939 h 3638722"/>
                  <a:gd name="connsiteX5" fmla="*/ 4585 w 3259151"/>
                  <a:gd name="connsiteY5" fmla="*/ 2043526 h 3638722"/>
                  <a:gd name="connsiteX6" fmla="*/ 820725 w 3259151"/>
                  <a:gd name="connsiteY6" fmla="*/ 2918441 h 3638722"/>
                  <a:gd name="connsiteX7" fmla="*/ 2033249 w 3259151"/>
                  <a:gd name="connsiteY7" fmla="*/ 3633846 h 3638722"/>
                  <a:gd name="connsiteX8" fmla="*/ 3079785 w 3259151"/>
                  <a:gd name="connsiteY8" fmla="*/ 3022030 h 3638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59151" h="3638722">
                    <a:moveTo>
                      <a:pt x="3079707" y="3021953"/>
                    </a:moveTo>
                    <a:cubicBezTo>
                      <a:pt x="3412226" y="2666372"/>
                      <a:pt x="3192167" y="2234970"/>
                      <a:pt x="3132080" y="1787369"/>
                    </a:cubicBezTo>
                    <a:cubicBezTo>
                      <a:pt x="3085955" y="1443358"/>
                      <a:pt x="3380525" y="1084923"/>
                      <a:pt x="3107243" y="829383"/>
                    </a:cubicBezTo>
                    <a:cubicBezTo>
                      <a:pt x="2749194" y="494473"/>
                      <a:pt x="2109225" y="-58259"/>
                      <a:pt x="1658848" y="4990"/>
                    </a:cubicBezTo>
                    <a:cubicBezTo>
                      <a:pt x="1318153" y="52812"/>
                      <a:pt x="1102645" y="735127"/>
                      <a:pt x="849418" y="1005939"/>
                    </a:cubicBezTo>
                    <a:cubicBezTo>
                      <a:pt x="515743" y="1362755"/>
                      <a:pt x="-56967" y="1594538"/>
                      <a:pt x="4585" y="2043526"/>
                    </a:cubicBezTo>
                    <a:cubicBezTo>
                      <a:pt x="51559" y="2385918"/>
                      <a:pt x="548678" y="2663981"/>
                      <a:pt x="820725" y="2918441"/>
                    </a:cubicBezTo>
                    <a:cubicBezTo>
                      <a:pt x="1173298" y="3248183"/>
                      <a:pt x="1589043" y="3690075"/>
                      <a:pt x="2033249" y="3633846"/>
                    </a:cubicBezTo>
                    <a:cubicBezTo>
                      <a:pt x="2381349" y="3589726"/>
                      <a:pt x="2821390" y="3298397"/>
                      <a:pt x="3079785" y="302203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1A95F7F3-7AF3-48B6-328D-59F7EFC0A4F2}"/>
                  </a:ext>
                </a:extLst>
              </p:cNvPr>
              <p:cNvSpPr/>
              <p:nvPr/>
            </p:nvSpPr>
            <p:spPr>
              <a:xfrm>
                <a:off x="4109618" y="2534620"/>
                <a:ext cx="3220782" cy="3579817"/>
              </a:xfrm>
              <a:custGeom>
                <a:avLst/>
                <a:gdLst>
                  <a:gd name="connsiteX0" fmla="*/ 791058 w 3220782"/>
                  <a:gd name="connsiteY0" fmla="*/ 2907154 h 3579817"/>
                  <a:gd name="connsiteX1" fmla="*/ 2002194 w 3220782"/>
                  <a:gd name="connsiteY1" fmla="*/ 3574659 h 3579817"/>
                  <a:gd name="connsiteX2" fmla="*/ 3028289 w 3220782"/>
                  <a:gd name="connsiteY2" fmla="*/ 2934613 h 3579817"/>
                  <a:gd name="connsiteX3" fmla="*/ 3129333 w 3220782"/>
                  <a:gd name="connsiteY3" fmla="*/ 1743455 h 3579817"/>
                  <a:gd name="connsiteX4" fmla="*/ 3052277 w 3220782"/>
                  <a:gd name="connsiteY4" fmla="*/ 731167 h 3579817"/>
                  <a:gd name="connsiteX5" fmla="*/ 1620928 w 3220782"/>
                  <a:gd name="connsiteY5" fmla="*/ 5581 h 3579817"/>
                  <a:gd name="connsiteX6" fmla="*/ 765913 w 3220782"/>
                  <a:gd name="connsiteY6" fmla="*/ 939888 h 3579817"/>
                  <a:gd name="connsiteX7" fmla="*/ 5000 w 3220782"/>
                  <a:gd name="connsiteY7" fmla="*/ 1991745 h 3579817"/>
                  <a:gd name="connsiteX8" fmla="*/ 791058 w 3220782"/>
                  <a:gd name="connsiteY8" fmla="*/ 2907231 h 3579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782" h="3579817">
                    <a:moveTo>
                      <a:pt x="791058" y="2907154"/>
                    </a:moveTo>
                    <a:cubicBezTo>
                      <a:pt x="1139775" y="3222549"/>
                      <a:pt x="1564312" y="3630426"/>
                      <a:pt x="2002194" y="3574659"/>
                    </a:cubicBezTo>
                    <a:cubicBezTo>
                      <a:pt x="2362558" y="3528688"/>
                      <a:pt x="2770743" y="3219772"/>
                      <a:pt x="3028289" y="2934613"/>
                    </a:cubicBezTo>
                    <a:cubicBezTo>
                      <a:pt x="3345767" y="2583197"/>
                      <a:pt x="3188417" y="2184113"/>
                      <a:pt x="3129333" y="1743455"/>
                    </a:cubicBezTo>
                    <a:cubicBezTo>
                      <a:pt x="3081433" y="1386485"/>
                      <a:pt x="3334968" y="986244"/>
                      <a:pt x="3052277" y="731167"/>
                    </a:cubicBezTo>
                    <a:cubicBezTo>
                      <a:pt x="2698624" y="412069"/>
                      <a:pt x="2063823" y="-56434"/>
                      <a:pt x="1620928" y="5581"/>
                    </a:cubicBezTo>
                    <a:cubicBezTo>
                      <a:pt x="1267198" y="54946"/>
                      <a:pt x="1018908" y="659665"/>
                      <a:pt x="765913" y="939888"/>
                    </a:cubicBezTo>
                    <a:cubicBezTo>
                      <a:pt x="447664" y="1292461"/>
                      <a:pt x="-55549" y="1549929"/>
                      <a:pt x="5000" y="1991745"/>
                    </a:cubicBezTo>
                    <a:cubicBezTo>
                      <a:pt x="53516" y="2346477"/>
                      <a:pt x="510218" y="2653234"/>
                      <a:pt x="791058" y="290723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AC0CFF81-9D53-FA8E-FBBC-A0A157D11E9F}"/>
                  </a:ext>
                </a:extLst>
              </p:cNvPr>
              <p:cNvSpPr/>
              <p:nvPr/>
            </p:nvSpPr>
            <p:spPr>
              <a:xfrm>
                <a:off x="4147825" y="2579175"/>
                <a:ext cx="3187979" cy="3521387"/>
              </a:xfrm>
              <a:custGeom>
                <a:avLst/>
                <a:gdLst>
                  <a:gd name="connsiteX0" fmla="*/ 761567 w 3187979"/>
                  <a:gd name="connsiteY0" fmla="*/ 2896229 h 3521387"/>
                  <a:gd name="connsiteX1" fmla="*/ 1971315 w 3187979"/>
                  <a:gd name="connsiteY1" fmla="*/ 3515912 h 3521387"/>
                  <a:gd name="connsiteX2" fmla="*/ 2977047 w 3187979"/>
                  <a:gd name="connsiteY2" fmla="*/ 2847635 h 3521387"/>
                  <a:gd name="connsiteX3" fmla="*/ 3126683 w 3187979"/>
                  <a:gd name="connsiteY3" fmla="*/ 1699825 h 3521387"/>
                  <a:gd name="connsiteX4" fmla="*/ 2997409 w 3187979"/>
                  <a:gd name="connsiteY4" fmla="*/ 633236 h 3521387"/>
                  <a:gd name="connsiteX5" fmla="*/ 1583183 w 3187979"/>
                  <a:gd name="connsiteY5" fmla="*/ 6380 h 3521387"/>
                  <a:gd name="connsiteX6" fmla="*/ 682583 w 3187979"/>
                  <a:gd name="connsiteY6" fmla="*/ 874121 h 3521387"/>
                  <a:gd name="connsiteX7" fmla="*/ 5513 w 3187979"/>
                  <a:gd name="connsiteY7" fmla="*/ 1940171 h 3521387"/>
                  <a:gd name="connsiteX8" fmla="*/ 761567 w 3187979"/>
                  <a:gd name="connsiteY8" fmla="*/ 2896229 h 3521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87979" h="3521387">
                    <a:moveTo>
                      <a:pt x="761567" y="2896229"/>
                    </a:moveTo>
                    <a:cubicBezTo>
                      <a:pt x="1106195" y="3197508"/>
                      <a:pt x="1539681" y="3571139"/>
                      <a:pt x="1971315" y="3515912"/>
                    </a:cubicBezTo>
                    <a:cubicBezTo>
                      <a:pt x="2343865" y="3468090"/>
                      <a:pt x="2720426" y="3141742"/>
                      <a:pt x="2977047" y="2847635"/>
                    </a:cubicBezTo>
                    <a:cubicBezTo>
                      <a:pt x="3279715" y="2500770"/>
                      <a:pt x="3184842" y="2133542"/>
                      <a:pt x="3126683" y="1699825"/>
                    </a:cubicBezTo>
                    <a:cubicBezTo>
                      <a:pt x="3077087" y="1329975"/>
                      <a:pt x="3289665" y="887620"/>
                      <a:pt x="2997409" y="633236"/>
                    </a:cubicBezTo>
                    <a:cubicBezTo>
                      <a:pt x="2648539" y="329565"/>
                      <a:pt x="2018520" y="-54246"/>
                      <a:pt x="1583183" y="6380"/>
                    </a:cubicBezTo>
                    <a:cubicBezTo>
                      <a:pt x="1216418" y="57287"/>
                      <a:pt x="935115" y="584257"/>
                      <a:pt x="682583" y="874121"/>
                    </a:cubicBezTo>
                    <a:cubicBezTo>
                      <a:pt x="379529" y="1222066"/>
                      <a:pt x="-53879" y="1505683"/>
                      <a:pt x="5513" y="1940171"/>
                    </a:cubicBezTo>
                    <a:cubicBezTo>
                      <a:pt x="55572" y="2307322"/>
                      <a:pt x="471703" y="2642848"/>
                      <a:pt x="761567" y="28962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B0910DBD-27D4-56BA-CE10-363FBADF7A24}"/>
                  </a:ext>
                </a:extLst>
              </p:cNvPr>
              <p:cNvSpPr/>
              <p:nvPr/>
            </p:nvSpPr>
            <p:spPr>
              <a:xfrm>
                <a:off x="4185926" y="2623532"/>
                <a:ext cx="3162650" cy="3463280"/>
              </a:xfrm>
              <a:custGeom>
                <a:avLst/>
                <a:gdLst>
                  <a:gd name="connsiteX0" fmla="*/ 732182 w 3162650"/>
                  <a:gd name="connsiteY0" fmla="*/ 2885579 h 3463280"/>
                  <a:gd name="connsiteX1" fmla="*/ 1940541 w 3162650"/>
                  <a:gd name="connsiteY1" fmla="*/ 3457440 h 3463280"/>
                  <a:gd name="connsiteX2" fmla="*/ 2925910 w 3162650"/>
                  <a:gd name="connsiteY2" fmla="*/ 2760933 h 3463280"/>
                  <a:gd name="connsiteX3" fmla="*/ 3124217 w 3162650"/>
                  <a:gd name="connsiteY3" fmla="*/ 1656549 h 3463280"/>
                  <a:gd name="connsiteX4" fmla="*/ 2942725 w 3162650"/>
                  <a:gd name="connsiteY4" fmla="*/ 535658 h 3463280"/>
                  <a:gd name="connsiteX5" fmla="*/ 1545622 w 3162650"/>
                  <a:gd name="connsiteY5" fmla="*/ 7609 h 3463280"/>
                  <a:gd name="connsiteX6" fmla="*/ 599436 w 3162650"/>
                  <a:gd name="connsiteY6" fmla="*/ 808708 h 3463280"/>
                  <a:gd name="connsiteX7" fmla="*/ 6210 w 3162650"/>
                  <a:gd name="connsiteY7" fmla="*/ 1888949 h 3463280"/>
                  <a:gd name="connsiteX8" fmla="*/ 732182 w 3162650"/>
                  <a:gd name="connsiteY8" fmla="*/ 2885579 h 3463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62650" h="3463280">
                    <a:moveTo>
                      <a:pt x="732182" y="2885579"/>
                    </a:moveTo>
                    <a:cubicBezTo>
                      <a:pt x="1072413" y="3173052"/>
                      <a:pt x="1515232" y="3512050"/>
                      <a:pt x="1940541" y="3457440"/>
                    </a:cubicBezTo>
                    <a:cubicBezTo>
                      <a:pt x="2325355" y="3407689"/>
                      <a:pt x="2670370" y="3064218"/>
                      <a:pt x="2925910" y="2760933"/>
                    </a:cubicBezTo>
                    <a:cubicBezTo>
                      <a:pt x="3214077" y="2418850"/>
                      <a:pt x="3181450" y="2083246"/>
                      <a:pt x="3124217" y="1656549"/>
                    </a:cubicBezTo>
                    <a:cubicBezTo>
                      <a:pt x="3072847" y="1273817"/>
                      <a:pt x="3244776" y="789270"/>
                      <a:pt x="2942725" y="535658"/>
                    </a:cubicBezTo>
                    <a:cubicBezTo>
                      <a:pt x="2599022" y="247105"/>
                      <a:pt x="1973399" y="-51783"/>
                      <a:pt x="1545622" y="7609"/>
                    </a:cubicBezTo>
                    <a:cubicBezTo>
                      <a:pt x="1165821" y="60059"/>
                      <a:pt x="851352" y="508970"/>
                      <a:pt x="599436" y="808708"/>
                    </a:cubicBezTo>
                    <a:cubicBezTo>
                      <a:pt x="311192" y="1151639"/>
                      <a:pt x="-52025" y="1461712"/>
                      <a:pt x="6210" y="1888949"/>
                    </a:cubicBezTo>
                    <a:cubicBezTo>
                      <a:pt x="57888" y="2268441"/>
                      <a:pt x="433139" y="2632970"/>
                      <a:pt x="732182" y="28855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AD8937A-1C9A-0F6D-389C-A7F1EA177C00}"/>
                  </a:ext>
                </a:extLst>
              </p:cNvPr>
              <p:cNvSpPr/>
              <p:nvPr/>
            </p:nvSpPr>
            <p:spPr>
              <a:xfrm>
                <a:off x="4223622" y="2666959"/>
                <a:ext cx="3145783" cy="3406134"/>
              </a:xfrm>
              <a:custGeom>
                <a:avLst/>
                <a:gdLst>
                  <a:gd name="connsiteX0" fmla="*/ 703202 w 3145783"/>
                  <a:gd name="connsiteY0" fmla="*/ 2875858 h 3406134"/>
                  <a:gd name="connsiteX1" fmla="*/ 1910173 w 3145783"/>
                  <a:gd name="connsiteY1" fmla="*/ 3399820 h 3406134"/>
                  <a:gd name="connsiteX2" fmla="*/ 2875101 w 3145783"/>
                  <a:gd name="connsiteY2" fmla="*/ 2675082 h 3406134"/>
                  <a:gd name="connsiteX3" fmla="*/ 3122003 w 3145783"/>
                  <a:gd name="connsiteY3" fmla="*/ 1614047 h 3406134"/>
                  <a:gd name="connsiteX4" fmla="*/ 2888291 w 3145783"/>
                  <a:gd name="connsiteY4" fmla="*/ 438855 h 3406134"/>
                  <a:gd name="connsiteX5" fmla="*/ 1508312 w 3145783"/>
                  <a:gd name="connsiteY5" fmla="*/ 9612 h 3406134"/>
                  <a:gd name="connsiteX6" fmla="*/ 516541 w 3145783"/>
                  <a:gd name="connsiteY6" fmla="*/ 744146 h 3406134"/>
                  <a:gd name="connsiteX7" fmla="*/ 7234 w 3145783"/>
                  <a:gd name="connsiteY7" fmla="*/ 1838580 h 3406134"/>
                  <a:gd name="connsiteX8" fmla="*/ 703125 w 3145783"/>
                  <a:gd name="connsiteY8" fmla="*/ 2875858 h 340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45783" h="3406134">
                    <a:moveTo>
                      <a:pt x="703202" y="2875858"/>
                    </a:moveTo>
                    <a:cubicBezTo>
                      <a:pt x="1038729" y="3149756"/>
                      <a:pt x="1491188" y="3453967"/>
                      <a:pt x="1910173" y="3399820"/>
                    </a:cubicBezTo>
                    <a:cubicBezTo>
                      <a:pt x="2307174" y="3348218"/>
                      <a:pt x="2620872" y="2987778"/>
                      <a:pt x="2875101" y="2675082"/>
                    </a:cubicBezTo>
                    <a:cubicBezTo>
                      <a:pt x="3149077" y="2338167"/>
                      <a:pt x="3178310" y="2033802"/>
                      <a:pt x="3122003" y="1614047"/>
                    </a:cubicBezTo>
                    <a:cubicBezTo>
                      <a:pt x="3068936" y="1218434"/>
                      <a:pt x="3200369" y="691464"/>
                      <a:pt x="2888291" y="438855"/>
                    </a:cubicBezTo>
                    <a:cubicBezTo>
                      <a:pt x="2549988" y="165034"/>
                      <a:pt x="1928530" y="-48546"/>
                      <a:pt x="1508312" y="9612"/>
                    </a:cubicBezTo>
                    <a:cubicBezTo>
                      <a:pt x="1115476" y="63605"/>
                      <a:pt x="767685" y="434304"/>
                      <a:pt x="516541" y="744146"/>
                    </a:cubicBezTo>
                    <a:cubicBezTo>
                      <a:pt x="242797" y="1081832"/>
                      <a:pt x="-49998" y="1418593"/>
                      <a:pt x="7234" y="1838580"/>
                    </a:cubicBezTo>
                    <a:cubicBezTo>
                      <a:pt x="60456" y="2230413"/>
                      <a:pt x="394749" y="2624098"/>
                      <a:pt x="703125" y="287585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572C721D-F909-2347-FA29-3ADE162C4794}"/>
                  </a:ext>
                </a:extLst>
              </p:cNvPr>
              <p:cNvSpPr/>
              <p:nvPr/>
            </p:nvSpPr>
            <p:spPr>
              <a:xfrm>
                <a:off x="4260986" y="2709255"/>
                <a:ext cx="3135893" cy="3350272"/>
              </a:xfrm>
              <a:custGeom>
                <a:avLst/>
                <a:gdLst>
                  <a:gd name="connsiteX0" fmla="*/ 674554 w 3135893"/>
                  <a:gd name="connsiteY0" fmla="*/ 2867269 h 3350272"/>
                  <a:gd name="connsiteX1" fmla="*/ 1880214 w 3135893"/>
                  <a:gd name="connsiteY1" fmla="*/ 3343408 h 3350272"/>
                  <a:gd name="connsiteX2" fmla="*/ 2824779 w 3135893"/>
                  <a:gd name="connsiteY2" fmla="*/ 2590440 h 3350272"/>
                  <a:gd name="connsiteX3" fmla="*/ 3120352 w 3135893"/>
                  <a:gd name="connsiteY3" fmla="*/ 1572830 h 3350272"/>
                  <a:gd name="connsiteX4" fmla="*/ 2834498 w 3135893"/>
                  <a:gd name="connsiteY4" fmla="*/ 343337 h 3350272"/>
                  <a:gd name="connsiteX5" fmla="*/ 1471565 w 3135893"/>
                  <a:gd name="connsiteY5" fmla="*/ 12824 h 3350272"/>
                  <a:gd name="connsiteX6" fmla="*/ 434209 w 3135893"/>
                  <a:gd name="connsiteY6" fmla="*/ 680715 h 3350272"/>
                  <a:gd name="connsiteX7" fmla="*/ 8746 w 3135893"/>
                  <a:gd name="connsiteY7" fmla="*/ 1789341 h 3350272"/>
                  <a:gd name="connsiteX8" fmla="*/ 674631 w 3135893"/>
                  <a:gd name="connsiteY8" fmla="*/ 2867192 h 3350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893" h="3350272">
                    <a:moveTo>
                      <a:pt x="674554" y="2867269"/>
                    </a:moveTo>
                    <a:cubicBezTo>
                      <a:pt x="1005144" y="3127900"/>
                      <a:pt x="1467477" y="3396938"/>
                      <a:pt x="1880214" y="3343408"/>
                    </a:cubicBezTo>
                    <a:cubicBezTo>
                      <a:pt x="2289402" y="3289956"/>
                      <a:pt x="2572016" y="2912777"/>
                      <a:pt x="2824779" y="2590440"/>
                    </a:cubicBezTo>
                    <a:cubicBezTo>
                      <a:pt x="3084794" y="2258847"/>
                      <a:pt x="3175656" y="1985567"/>
                      <a:pt x="3120352" y="1572830"/>
                    </a:cubicBezTo>
                    <a:cubicBezTo>
                      <a:pt x="3065587" y="1164336"/>
                      <a:pt x="3156758" y="594635"/>
                      <a:pt x="2834498" y="343337"/>
                    </a:cubicBezTo>
                    <a:cubicBezTo>
                      <a:pt x="2512238" y="92039"/>
                      <a:pt x="1884302" y="-44023"/>
                      <a:pt x="1471565" y="12824"/>
                    </a:cubicBezTo>
                    <a:cubicBezTo>
                      <a:pt x="1065694" y="68359"/>
                      <a:pt x="684273" y="360692"/>
                      <a:pt x="434209" y="680715"/>
                    </a:cubicBezTo>
                    <a:cubicBezTo>
                      <a:pt x="174658" y="1012848"/>
                      <a:pt x="-47330" y="1376605"/>
                      <a:pt x="8746" y="1789341"/>
                    </a:cubicBezTo>
                    <a:cubicBezTo>
                      <a:pt x="63510" y="2193593"/>
                      <a:pt x="356691" y="2616588"/>
                      <a:pt x="674631" y="286719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83CBE170-C312-8B12-94BA-A9869C78B8BA}"/>
                  </a:ext>
                </a:extLst>
              </p:cNvPr>
              <p:cNvSpPr/>
              <p:nvPr/>
            </p:nvSpPr>
            <p:spPr>
              <a:xfrm>
                <a:off x="4297185" y="2745782"/>
                <a:ext cx="3130741" cy="3300265"/>
              </a:xfrm>
              <a:custGeom>
                <a:avLst/>
                <a:gdLst>
                  <a:gd name="connsiteX0" fmla="*/ 647071 w 3130741"/>
                  <a:gd name="connsiteY0" fmla="*/ 2864372 h 3300265"/>
                  <a:gd name="connsiteX1" fmla="*/ 1851342 w 3130741"/>
                  <a:gd name="connsiteY1" fmla="*/ 3292689 h 3300265"/>
                  <a:gd name="connsiteX2" fmla="*/ 2775545 w 3130741"/>
                  <a:gd name="connsiteY2" fmla="*/ 2511491 h 3300265"/>
                  <a:gd name="connsiteX3" fmla="*/ 3119711 w 3130741"/>
                  <a:gd name="connsiteY3" fmla="*/ 1537229 h 3300265"/>
                  <a:gd name="connsiteX4" fmla="*/ 2781639 w 3130741"/>
                  <a:gd name="connsiteY4" fmla="*/ 253435 h 3300265"/>
                  <a:gd name="connsiteX5" fmla="*/ 1435829 w 3130741"/>
                  <a:gd name="connsiteY5" fmla="*/ 21729 h 3300265"/>
                  <a:gd name="connsiteX6" fmla="*/ 352887 w 3130741"/>
                  <a:gd name="connsiteY6" fmla="*/ 622977 h 3300265"/>
                  <a:gd name="connsiteX7" fmla="*/ 11267 w 3130741"/>
                  <a:gd name="connsiteY7" fmla="*/ 1745873 h 3300265"/>
                  <a:gd name="connsiteX8" fmla="*/ 647071 w 3130741"/>
                  <a:gd name="connsiteY8" fmla="*/ 2864295 h 3300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0741" h="3300265">
                    <a:moveTo>
                      <a:pt x="647071" y="2864372"/>
                    </a:moveTo>
                    <a:cubicBezTo>
                      <a:pt x="972571" y="3111968"/>
                      <a:pt x="1444853" y="3345679"/>
                      <a:pt x="1851342" y="3292689"/>
                    </a:cubicBezTo>
                    <a:cubicBezTo>
                      <a:pt x="2272795" y="3237385"/>
                      <a:pt x="2524556" y="2843624"/>
                      <a:pt x="2775545" y="2511491"/>
                    </a:cubicBezTo>
                    <a:cubicBezTo>
                      <a:pt x="3021907" y="2185529"/>
                      <a:pt x="3174166" y="1943024"/>
                      <a:pt x="3119711" y="1537229"/>
                    </a:cubicBezTo>
                    <a:cubicBezTo>
                      <a:pt x="3063172" y="1115777"/>
                      <a:pt x="3114388" y="503190"/>
                      <a:pt x="2781639" y="253435"/>
                    </a:cubicBezTo>
                    <a:cubicBezTo>
                      <a:pt x="2455059" y="8308"/>
                      <a:pt x="1841007" y="-33884"/>
                      <a:pt x="1435829" y="21729"/>
                    </a:cubicBezTo>
                    <a:cubicBezTo>
                      <a:pt x="1016845" y="78884"/>
                      <a:pt x="601640" y="292464"/>
                      <a:pt x="352887" y="622977"/>
                    </a:cubicBezTo>
                    <a:cubicBezTo>
                      <a:pt x="107297" y="949325"/>
                      <a:pt x="-43651" y="1340387"/>
                      <a:pt x="11267" y="1745873"/>
                    </a:cubicBezTo>
                    <a:cubicBezTo>
                      <a:pt x="67574" y="2162466"/>
                      <a:pt x="319412" y="2615080"/>
                      <a:pt x="647071" y="286429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9E0EDAAA-83A7-3BE4-7F0D-0BB606D5891C}"/>
                  </a:ext>
                </a:extLst>
              </p:cNvPr>
              <p:cNvSpPr/>
              <p:nvPr/>
            </p:nvSpPr>
            <p:spPr>
              <a:xfrm>
                <a:off x="4331073" y="2769810"/>
                <a:ext cx="3129679" cy="3263042"/>
              </a:xfrm>
              <a:custGeom>
                <a:avLst/>
                <a:gdLst>
                  <a:gd name="connsiteX0" fmla="*/ 621899 w 3129679"/>
                  <a:gd name="connsiteY0" fmla="*/ 2874051 h 3263042"/>
                  <a:gd name="connsiteX1" fmla="*/ 1824782 w 3129679"/>
                  <a:gd name="connsiteY1" fmla="*/ 3254546 h 3263042"/>
                  <a:gd name="connsiteX2" fmla="*/ 2728544 w 3129679"/>
                  <a:gd name="connsiteY2" fmla="*/ 2445116 h 3263042"/>
                  <a:gd name="connsiteX3" fmla="*/ 3121380 w 3129679"/>
                  <a:gd name="connsiteY3" fmla="*/ 1514281 h 3263042"/>
                  <a:gd name="connsiteX4" fmla="*/ 2731090 w 3129679"/>
                  <a:gd name="connsiteY4" fmla="*/ 176262 h 3263042"/>
                  <a:gd name="connsiteX5" fmla="*/ 1402404 w 3129679"/>
                  <a:gd name="connsiteY5" fmla="*/ 43363 h 3263042"/>
                  <a:gd name="connsiteX6" fmla="*/ 273877 w 3129679"/>
                  <a:gd name="connsiteY6" fmla="*/ 578045 h 3263042"/>
                  <a:gd name="connsiteX7" fmla="*/ 16177 w 3129679"/>
                  <a:gd name="connsiteY7" fmla="*/ 1715134 h 3263042"/>
                  <a:gd name="connsiteX8" fmla="*/ 621899 w 3129679"/>
                  <a:gd name="connsiteY8" fmla="*/ 2874205 h 3263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29679" h="3263042">
                    <a:moveTo>
                      <a:pt x="621899" y="2874051"/>
                    </a:moveTo>
                    <a:cubicBezTo>
                      <a:pt x="941999" y="3108842"/>
                      <a:pt x="1424618" y="3306996"/>
                      <a:pt x="1824782" y="3254546"/>
                    </a:cubicBezTo>
                    <a:cubicBezTo>
                      <a:pt x="2258421" y="3197313"/>
                      <a:pt x="2479637" y="2787277"/>
                      <a:pt x="2728544" y="2445116"/>
                    </a:cubicBezTo>
                    <a:cubicBezTo>
                      <a:pt x="2961485" y="2124939"/>
                      <a:pt x="3174833" y="1913056"/>
                      <a:pt x="3121380" y="1514281"/>
                    </a:cubicBezTo>
                    <a:cubicBezTo>
                      <a:pt x="3063145" y="1079947"/>
                      <a:pt x="3074561" y="424089"/>
                      <a:pt x="2731090" y="176262"/>
                    </a:cubicBezTo>
                    <a:cubicBezTo>
                      <a:pt x="2410681" y="-54982"/>
                      <a:pt x="1800022" y="-10939"/>
                      <a:pt x="1402404" y="43363"/>
                    </a:cubicBezTo>
                    <a:cubicBezTo>
                      <a:pt x="970384" y="102060"/>
                      <a:pt x="521009" y="236734"/>
                      <a:pt x="273877" y="578045"/>
                    </a:cubicBezTo>
                    <a:cubicBezTo>
                      <a:pt x="41862" y="898377"/>
                      <a:pt x="-37739" y="1316898"/>
                      <a:pt x="16177" y="1715134"/>
                    </a:cubicBezTo>
                    <a:cubicBezTo>
                      <a:pt x="74026" y="2144068"/>
                      <a:pt x="284289" y="2626532"/>
                      <a:pt x="621899" y="287420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A038C2DE-99F7-D67F-DDC9-D718BD686E18}"/>
                  </a:ext>
                </a:extLst>
              </p:cNvPr>
              <p:cNvSpPr/>
              <p:nvPr/>
            </p:nvSpPr>
            <p:spPr>
              <a:xfrm>
                <a:off x="4358871" y="2771233"/>
                <a:ext cx="3135688" cy="3248662"/>
              </a:xfrm>
              <a:custGeom>
                <a:avLst/>
                <a:gdLst>
                  <a:gd name="connsiteX0" fmla="*/ 602817 w 3135688"/>
                  <a:gd name="connsiteY0" fmla="*/ 2906335 h 3248662"/>
                  <a:gd name="connsiteX1" fmla="*/ 1804311 w 3135688"/>
                  <a:gd name="connsiteY1" fmla="*/ 3238930 h 3248662"/>
                  <a:gd name="connsiteX2" fmla="*/ 2687711 w 3135688"/>
                  <a:gd name="connsiteY2" fmla="*/ 2401271 h 3248662"/>
                  <a:gd name="connsiteX3" fmla="*/ 3129140 w 3135688"/>
                  <a:gd name="connsiteY3" fmla="*/ 1513860 h 3248662"/>
                  <a:gd name="connsiteX4" fmla="*/ 2686631 w 3135688"/>
                  <a:gd name="connsiteY4" fmla="*/ 121540 h 3248662"/>
                  <a:gd name="connsiteX5" fmla="*/ 1375068 w 3135688"/>
                  <a:gd name="connsiteY5" fmla="*/ 87448 h 3248662"/>
                  <a:gd name="connsiteX6" fmla="*/ 200956 w 3135688"/>
                  <a:gd name="connsiteY6" fmla="*/ 555488 h 3248662"/>
                  <a:gd name="connsiteX7" fmla="*/ 27099 w 3135688"/>
                  <a:gd name="connsiteY7" fmla="*/ 1706769 h 3248662"/>
                  <a:gd name="connsiteX8" fmla="*/ 602817 w 3135688"/>
                  <a:gd name="connsiteY8" fmla="*/ 2906412 h 3248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688" h="3248662">
                    <a:moveTo>
                      <a:pt x="602817" y="2906335"/>
                    </a:moveTo>
                    <a:cubicBezTo>
                      <a:pt x="917441" y="3128631"/>
                      <a:pt x="1410472" y="3290840"/>
                      <a:pt x="1804311" y="3238930"/>
                    </a:cubicBezTo>
                    <a:cubicBezTo>
                      <a:pt x="2250214" y="3179847"/>
                      <a:pt x="2441195" y="2753612"/>
                      <a:pt x="2687711" y="2401271"/>
                    </a:cubicBezTo>
                    <a:cubicBezTo>
                      <a:pt x="2907538" y="2087032"/>
                      <a:pt x="3181668" y="1905617"/>
                      <a:pt x="3129140" y="1513860"/>
                    </a:cubicBezTo>
                    <a:cubicBezTo>
                      <a:pt x="3069209" y="1066646"/>
                      <a:pt x="3040978" y="367208"/>
                      <a:pt x="2686631" y="121540"/>
                    </a:cubicBezTo>
                    <a:cubicBezTo>
                      <a:pt x="2372624" y="-96128"/>
                      <a:pt x="1765128" y="34381"/>
                      <a:pt x="1375068" y="87448"/>
                    </a:cubicBezTo>
                    <a:cubicBezTo>
                      <a:pt x="930013" y="147688"/>
                      <a:pt x="446083" y="203301"/>
                      <a:pt x="200956" y="555488"/>
                    </a:cubicBezTo>
                    <a:cubicBezTo>
                      <a:pt x="-17715" y="869649"/>
                      <a:pt x="-25660" y="1315784"/>
                      <a:pt x="27099" y="1706769"/>
                    </a:cubicBezTo>
                    <a:cubicBezTo>
                      <a:pt x="86568" y="2148122"/>
                      <a:pt x="255026" y="2660667"/>
                      <a:pt x="602817" y="290641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AD364D9C-BC50-D2BE-B3F5-0B9996168678}"/>
                  </a:ext>
                </a:extLst>
              </p:cNvPr>
              <p:cNvSpPr/>
              <p:nvPr/>
            </p:nvSpPr>
            <p:spPr>
              <a:xfrm>
                <a:off x="4372952" y="2753381"/>
                <a:ext cx="3156027" cy="3254119"/>
              </a:xfrm>
              <a:custGeom>
                <a:avLst/>
                <a:gdLst>
                  <a:gd name="connsiteX0" fmla="*/ 597452 w 3156027"/>
                  <a:gd name="connsiteY0" fmla="*/ 2957894 h 3254119"/>
                  <a:gd name="connsiteX1" fmla="*/ 1797558 w 3156027"/>
                  <a:gd name="connsiteY1" fmla="*/ 3242667 h 3254119"/>
                  <a:gd name="connsiteX2" fmla="*/ 2660594 w 3156027"/>
                  <a:gd name="connsiteY2" fmla="*/ 2376700 h 3254119"/>
                  <a:gd name="connsiteX3" fmla="*/ 3150695 w 3156027"/>
                  <a:gd name="connsiteY3" fmla="*/ 1532638 h 3254119"/>
                  <a:gd name="connsiteX4" fmla="*/ 2655966 w 3156027"/>
                  <a:gd name="connsiteY4" fmla="*/ 86017 h 3254119"/>
                  <a:gd name="connsiteX5" fmla="*/ 1361450 w 3156027"/>
                  <a:gd name="connsiteY5" fmla="*/ 150654 h 3254119"/>
                  <a:gd name="connsiteX6" fmla="*/ 141752 w 3156027"/>
                  <a:gd name="connsiteY6" fmla="*/ 552129 h 3254119"/>
                  <a:gd name="connsiteX7" fmla="*/ 51738 w 3156027"/>
                  <a:gd name="connsiteY7" fmla="*/ 1717602 h 3254119"/>
                  <a:gd name="connsiteX8" fmla="*/ 597374 w 3156027"/>
                  <a:gd name="connsiteY8" fmla="*/ 2957816 h 3254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56027" h="3254119">
                    <a:moveTo>
                      <a:pt x="597452" y="2957894"/>
                    </a:moveTo>
                    <a:cubicBezTo>
                      <a:pt x="906445" y="3167925"/>
                      <a:pt x="1410044" y="3294037"/>
                      <a:pt x="1797558" y="3242667"/>
                    </a:cubicBezTo>
                    <a:cubicBezTo>
                      <a:pt x="2255648" y="3181732"/>
                      <a:pt x="2416778" y="2739608"/>
                      <a:pt x="2660594" y="2376700"/>
                    </a:cubicBezTo>
                    <a:cubicBezTo>
                      <a:pt x="2867541" y="2068555"/>
                      <a:pt x="3202297" y="1917452"/>
                      <a:pt x="3150695" y="1532638"/>
                    </a:cubicBezTo>
                    <a:cubicBezTo>
                      <a:pt x="3088989" y="1072542"/>
                      <a:pt x="3021574" y="329061"/>
                      <a:pt x="2655966" y="86017"/>
                    </a:cubicBezTo>
                    <a:cubicBezTo>
                      <a:pt x="2348516" y="-118385"/>
                      <a:pt x="1744028" y="98898"/>
                      <a:pt x="1361450" y="150654"/>
                    </a:cubicBezTo>
                    <a:cubicBezTo>
                      <a:pt x="903359" y="212437"/>
                      <a:pt x="384566" y="188680"/>
                      <a:pt x="141752" y="552129"/>
                    </a:cubicBezTo>
                    <a:cubicBezTo>
                      <a:pt x="-63883" y="859965"/>
                      <a:pt x="60" y="1333867"/>
                      <a:pt x="51738" y="1717602"/>
                    </a:cubicBezTo>
                    <a:cubicBezTo>
                      <a:pt x="112750" y="2171296"/>
                      <a:pt x="239248" y="2714386"/>
                      <a:pt x="597374" y="2957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90FAC7D9-C1E4-90BD-1DFD-2FAA6F9DF844}"/>
                  </a:ext>
                </a:extLst>
              </p:cNvPr>
              <p:cNvSpPr/>
              <p:nvPr/>
            </p:nvSpPr>
            <p:spPr>
              <a:xfrm>
                <a:off x="4369454" y="2723578"/>
                <a:ext cx="3194199" cy="3272228"/>
              </a:xfrm>
              <a:custGeom>
                <a:avLst/>
                <a:gdLst>
                  <a:gd name="connsiteX0" fmla="*/ 609666 w 3194199"/>
                  <a:gd name="connsiteY0" fmla="*/ 3021327 h 3272228"/>
                  <a:gd name="connsiteX1" fmla="*/ 1808461 w 3194199"/>
                  <a:gd name="connsiteY1" fmla="*/ 3258278 h 3272228"/>
                  <a:gd name="connsiteX2" fmla="*/ 2651057 w 3194199"/>
                  <a:gd name="connsiteY2" fmla="*/ 2364080 h 3272228"/>
                  <a:gd name="connsiteX3" fmla="*/ 3189751 w 3194199"/>
                  <a:gd name="connsiteY3" fmla="*/ 1563444 h 3272228"/>
                  <a:gd name="connsiteX4" fmla="*/ 2642804 w 3194199"/>
                  <a:gd name="connsiteY4" fmla="*/ 62522 h 3272228"/>
                  <a:gd name="connsiteX5" fmla="*/ 1365411 w 3194199"/>
                  <a:gd name="connsiteY5" fmla="*/ 225965 h 3272228"/>
                  <a:gd name="connsiteX6" fmla="*/ 100128 w 3194199"/>
                  <a:gd name="connsiteY6" fmla="*/ 560798 h 3272228"/>
                  <a:gd name="connsiteX7" fmla="*/ 94034 w 3194199"/>
                  <a:gd name="connsiteY7" fmla="*/ 1740540 h 3272228"/>
                  <a:gd name="connsiteX8" fmla="*/ 609589 w 3194199"/>
                  <a:gd name="connsiteY8" fmla="*/ 3021327 h 3272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94199" h="3272228">
                    <a:moveTo>
                      <a:pt x="609666" y="3021327"/>
                    </a:moveTo>
                    <a:cubicBezTo>
                      <a:pt x="912874" y="3219326"/>
                      <a:pt x="1427194" y="3309031"/>
                      <a:pt x="1808461" y="3258278"/>
                    </a:cubicBezTo>
                    <a:cubicBezTo>
                      <a:pt x="2278815" y="3195492"/>
                      <a:pt x="2410481" y="2737710"/>
                      <a:pt x="2651057" y="2364080"/>
                    </a:cubicBezTo>
                    <a:cubicBezTo>
                      <a:pt x="2845431" y="2062183"/>
                      <a:pt x="3240427" y="1941240"/>
                      <a:pt x="3189751" y="1563444"/>
                    </a:cubicBezTo>
                    <a:cubicBezTo>
                      <a:pt x="3126348" y="1090390"/>
                      <a:pt x="3019828" y="302481"/>
                      <a:pt x="2642804" y="62522"/>
                    </a:cubicBezTo>
                    <a:cubicBezTo>
                      <a:pt x="2342064" y="-128844"/>
                      <a:pt x="1740430" y="175444"/>
                      <a:pt x="1365411" y="225965"/>
                    </a:cubicBezTo>
                    <a:cubicBezTo>
                      <a:pt x="894285" y="289291"/>
                      <a:pt x="340087" y="185934"/>
                      <a:pt x="100128" y="560798"/>
                    </a:cubicBezTo>
                    <a:cubicBezTo>
                      <a:pt x="-92781" y="862155"/>
                      <a:pt x="43435" y="1364056"/>
                      <a:pt x="94034" y="1740540"/>
                    </a:cubicBezTo>
                    <a:cubicBezTo>
                      <a:pt x="156589" y="2206653"/>
                      <a:pt x="240972" y="2780596"/>
                      <a:pt x="609589" y="302132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79BC89E0-615F-A38E-B9AC-C19CE57C8302}"/>
                  </a:ext>
                </a:extLst>
              </p:cNvPr>
              <p:cNvSpPr/>
              <p:nvPr/>
            </p:nvSpPr>
            <p:spPr>
              <a:xfrm>
                <a:off x="4352455" y="2686397"/>
                <a:ext cx="3246150" cy="3299210"/>
              </a:xfrm>
              <a:custGeom>
                <a:avLst/>
                <a:gdLst>
                  <a:gd name="connsiteX0" fmla="*/ 1832787 w 3246150"/>
                  <a:gd name="connsiteY0" fmla="*/ 3281344 h 3299210"/>
                  <a:gd name="connsiteX1" fmla="*/ 2655021 w 3246150"/>
                  <a:gd name="connsiteY1" fmla="*/ 2358915 h 3299210"/>
                  <a:gd name="connsiteX2" fmla="*/ 3242385 w 3246150"/>
                  <a:gd name="connsiteY2" fmla="*/ 1601628 h 3299210"/>
                  <a:gd name="connsiteX3" fmla="*/ 2643296 w 3246150"/>
                  <a:gd name="connsiteY3" fmla="*/ 46404 h 3299210"/>
                  <a:gd name="connsiteX4" fmla="*/ 1383027 w 3246150"/>
                  <a:gd name="connsiteY4" fmla="*/ 308655 h 3299210"/>
                  <a:gd name="connsiteX5" fmla="*/ 72158 w 3246150"/>
                  <a:gd name="connsiteY5" fmla="*/ 576844 h 3299210"/>
                  <a:gd name="connsiteX6" fmla="*/ 149908 w 3246150"/>
                  <a:gd name="connsiteY6" fmla="*/ 1770779 h 3299210"/>
                  <a:gd name="connsiteX7" fmla="*/ 635458 w 3246150"/>
                  <a:gd name="connsiteY7" fmla="*/ 3092214 h 3299210"/>
                  <a:gd name="connsiteX8" fmla="*/ 1832864 w 3246150"/>
                  <a:gd name="connsiteY8" fmla="*/ 3281266 h 3299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6150" h="3299210">
                    <a:moveTo>
                      <a:pt x="1832787" y="3281344"/>
                    </a:moveTo>
                    <a:cubicBezTo>
                      <a:pt x="2315329" y="3216707"/>
                      <a:pt x="2418069" y="2743421"/>
                      <a:pt x="2655021" y="2358915"/>
                    </a:cubicBezTo>
                    <a:cubicBezTo>
                      <a:pt x="2837131" y="2063420"/>
                      <a:pt x="3292059" y="1972558"/>
                      <a:pt x="3242385" y="1601628"/>
                    </a:cubicBezTo>
                    <a:cubicBezTo>
                      <a:pt x="3177285" y="1115693"/>
                      <a:pt x="3031967" y="282661"/>
                      <a:pt x="2643296" y="46404"/>
                    </a:cubicBezTo>
                    <a:cubicBezTo>
                      <a:pt x="2349344" y="-132312"/>
                      <a:pt x="1750487" y="259367"/>
                      <a:pt x="1383027" y="308655"/>
                    </a:cubicBezTo>
                    <a:cubicBezTo>
                      <a:pt x="898866" y="373523"/>
                      <a:pt x="308801" y="190333"/>
                      <a:pt x="72158" y="576844"/>
                    </a:cubicBezTo>
                    <a:cubicBezTo>
                      <a:pt x="-108255" y="871568"/>
                      <a:pt x="100466" y="1401546"/>
                      <a:pt x="149908" y="1770779"/>
                    </a:cubicBezTo>
                    <a:cubicBezTo>
                      <a:pt x="214005" y="2249233"/>
                      <a:pt x="255965" y="2854492"/>
                      <a:pt x="635458" y="3092214"/>
                    </a:cubicBezTo>
                    <a:cubicBezTo>
                      <a:pt x="932804" y="3278490"/>
                      <a:pt x="1457845" y="3331557"/>
                      <a:pt x="1832864" y="328126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70" name="Graphic 5">
              <a:extLst>
                <a:ext uri="{FF2B5EF4-FFF2-40B4-BE49-F238E27FC236}">
                  <a16:creationId xmlns:a16="http://schemas.microsoft.com/office/drawing/2014/main" id="{8BD0A359-AD97-05CA-F8FF-786ACCE5A088}"/>
                </a:ext>
              </a:extLst>
            </p:cNvPr>
            <p:cNvGrpSpPr/>
            <p:nvPr/>
          </p:nvGrpSpPr>
          <p:grpSpPr>
            <a:xfrm rot="180525">
              <a:off x="-597053" y="441139"/>
              <a:ext cx="6472770" cy="6313556"/>
              <a:chOff x="4270587" y="2574268"/>
              <a:chExt cx="3544376" cy="3457192"/>
            </a:xfrm>
            <a:noFill/>
          </p:grpSpPr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DE8C499-028C-6F40-FB80-2EB590FB8704}"/>
                  </a:ext>
                </a:extLst>
              </p:cNvPr>
              <p:cNvSpPr/>
              <p:nvPr/>
            </p:nvSpPr>
            <p:spPr>
              <a:xfrm>
                <a:off x="4270587" y="2606803"/>
                <a:ext cx="3544376" cy="3424657"/>
              </a:xfrm>
              <a:custGeom>
                <a:avLst/>
                <a:gdLst>
                  <a:gd name="connsiteX0" fmla="*/ 3338832 w 3544376"/>
                  <a:gd name="connsiteY0" fmla="*/ 932573 h 3424657"/>
                  <a:gd name="connsiteX1" fmla="*/ 2419102 w 3544376"/>
                  <a:gd name="connsiteY1" fmla="*/ 117205 h 3424657"/>
                  <a:gd name="connsiteX2" fmla="*/ 1318575 w 3544376"/>
                  <a:gd name="connsiteY2" fmla="*/ 80027 h 3424657"/>
                  <a:gd name="connsiteX3" fmla="*/ 8709 w 3544376"/>
                  <a:gd name="connsiteY3" fmla="*/ 1110518 h 3424657"/>
                  <a:gd name="connsiteX4" fmla="*/ 630398 w 3544376"/>
                  <a:gd name="connsiteY4" fmla="*/ 2237733 h 3424657"/>
                  <a:gd name="connsiteX5" fmla="*/ 1272758 w 3544376"/>
                  <a:gd name="connsiteY5" fmla="*/ 3411536 h 3424657"/>
                  <a:gd name="connsiteX6" fmla="*/ 2390872 w 3544376"/>
                  <a:gd name="connsiteY6" fmla="*/ 2985687 h 3424657"/>
                  <a:gd name="connsiteX7" fmla="*/ 3510760 w 3544376"/>
                  <a:gd name="connsiteY7" fmla="*/ 2132601 h 3424657"/>
                  <a:gd name="connsiteX8" fmla="*/ 3338908 w 3544376"/>
                  <a:gd name="connsiteY8" fmla="*/ 932650 h 342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44376" h="3424657">
                    <a:moveTo>
                      <a:pt x="3338832" y="932573"/>
                    </a:moveTo>
                    <a:cubicBezTo>
                      <a:pt x="3134970" y="490449"/>
                      <a:pt x="2856290" y="230435"/>
                      <a:pt x="2419102" y="117205"/>
                    </a:cubicBezTo>
                    <a:cubicBezTo>
                      <a:pt x="2083036" y="30199"/>
                      <a:pt x="1658344" y="-76630"/>
                      <a:pt x="1318575" y="80027"/>
                    </a:cubicBezTo>
                    <a:cubicBezTo>
                      <a:pt x="873365" y="285354"/>
                      <a:pt x="120088" y="669551"/>
                      <a:pt x="8709" y="1110518"/>
                    </a:cubicBezTo>
                    <a:cubicBezTo>
                      <a:pt x="-75520" y="1444039"/>
                      <a:pt x="475130" y="1900972"/>
                      <a:pt x="630398" y="2237733"/>
                    </a:cubicBezTo>
                    <a:cubicBezTo>
                      <a:pt x="834953" y="2681323"/>
                      <a:pt x="833642" y="3299231"/>
                      <a:pt x="1272758" y="3411536"/>
                    </a:cubicBezTo>
                    <a:cubicBezTo>
                      <a:pt x="1607591" y="3497153"/>
                      <a:pt x="2052568" y="3141650"/>
                      <a:pt x="2390872" y="2985687"/>
                    </a:cubicBezTo>
                    <a:cubicBezTo>
                      <a:pt x="2829217" y="2783523"/>
                      <a:pt x="3395293" y="2565161"/>
                      <a:pt x="3510760" y="2132601"/>
                    </a:cubicBezTo>
                    <a:cubicBezTo>
                      <a:pt x="3601236" y="1793527"/>
                      <a:pt x="3497339" y="1276198"/>
                      <a:pt x="3338908" y="93265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01C716EA-613B-F4E5-481D-769AAADE31A5}"/>
                  </a:ext>
                </a:extLst>
              </p:cNvPr>
              <p:cNvSpPr/>
              <p:nvPr/>
            </p:nvSpPr>
            <p:spPr>
              <a:xfrm>
                <a:off x="4311149" y="2610445"/>
                <a:ext cx="3481515" cy="3380560"/>
              </a:xfrm>
              <a:custGeom>
                <a:avLst/>
                <a:gdLst>
                  <a:gd name="connsiteX0" fmla="*/ 2384788 w 3481515"/>
                  <a:gd name="connsiteY0" fmla="*/ 2986674 h 3380560"/>
                  <a:gd name="connsiteX1" fmla="*/ 3435796 w 3481515"/>
                  <a:gd name="connsiteY1" fmla="*/ 2123946 h 3380560"/>
                  <a:gd name="connsiteX2" fmla="*/ 3309068 w 3481515"/>
                  <a:gd name="connsiteY2" fmla="*/ 911268 h 3380560"/>
                  <a:gd name="connsiteX3" fmla="*/ 2359797 w 3481515"/>
                  <a:gd name="connsiteY3" fmla="*/ 156988 h 3380560"/>
                  <a:gd name="connsiteX4" fmla="*/ 1222399 w 3481515"/>
                  <a:gd name="connsiteY4" fmla="*/ 71757 h 3380560"/>
                  <a:gd name="connsiteX5" fmla="*/ 10492 w 3481515"/>
                  <a:gd name="connsiteY5" fmla="*/ 1123691 h 3380560"/>
                  <a:gd name="connsiteX6" fmla="*/ 573097 w 3481515"/>
                  <a:gd name="connsiteY6" fmla="*/ 2302662 h 3380560"/>
                  <a:gd name="connsiteX7" fmla="*/ 1256646 w 3481515"/>
                  <a:gd name="connsiteY7" fmla="*/ 3364546 h 3380560"/>
                  <a:gd name="connsiteX8" fmla="*/ 2384788 w 3481515"/>
                  <a:gd name="connsiteY8" fmla="*/ 2986674 h 3380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1515" h="3380560">
                    <a:moveTo>
                      <a:pt x="2384788" y="2986674"/>
                    </a:moveTo>
                    <a:cubicBezTo>
                      <a:pt x="2808400" y="2782658"/>
                      <a:pt x="3322257" y="2550489"/>
                      <a:pt x="3435796" y="2123946"/>
                    </a:cubicBezTo>
                    <a:cubicBezTo>
                      <a:pt x="3529127" y="1772916"/>
                      <a:pt x="3475983" y="1257439"/>
                      <a:pt x="3309068" y="911268"/>
                    </a:cubicBezTo>
                    <a:cubicBezTo>
                      <a:pt x="3103355" y="484725"/>
                      <a:pt x="2790197" y="268368"/>
                      <a:pt x="2359797" y="156988"/>
                    </a:cubicBezTo>
                    <a:cubicBezTo>
                      <a:pt x="2011157" y="66743"/>
                      <a:pt x="1565254" y="-93770"/>
                      <a:pt x="1222399" y="71757"/>
                    </a:cubicBezTo>
                    <a:cubicBezTo>
                      <a:pt x="793465" y="278935"/>
                      <a:pt x="120175" y="690129"/>
                      <a:pt x="10492" y="1123691"/>
                    </a:cubicBezTo>
                    <a:cubicBezTo>
                      <a:pt x="-77208" y="1469862"/>
                      <a:pt x="408959" y="1962662"/>
                      <a:pt x="573097" y="2302662"/>
                    </a:cubicBezTo>
                    <a:cubicBezTo>
                      <a:pt x="779581" y="2730362"/>
                      <a:pt x="824704" y="3254015"/>
                      <a:pt x="1256646" y="3364546"/>
                    </a:cubicBezTo>
                    <a:cubicBezTo>
                      <a:pt x="1603512" y="3453403"/>
                      <a:pt x="2043630" y="3150966"/>
                      <a:pt x="2384788" y="298667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77C5B6F-2FA2-D41E-A1E2-8C5EB7B61867}"/>
                  </a:ext>
                </a:extLst>
              </p:cNvPr>
              <p:cNvSpPr/>
              <p:nvPr/>
            </p:nvSpPr>
            <p:spPr>
              <a:xfrm>
                <a:off x="4351228" y="2611075"/>
                <a:ext cx="3424905" cy="3340311"/>
              </a:xfrm>
              <a:custGeom>
                <a:avLst/>
                <a:gdLst>
                  <a:gd name="connsiteX0" fmla="*/ 2379187 w 3424905"/>
                  <a:gd name="connsiteY0" fmla="*/ 2990672 h 3340311"/>
                  <a:gd name="connsiteX1" fmla="*/ 3361317 w 3424905"/>
                  <a:gd name="connsiteY1" fmla="*/ 2118303 h 3340311"/>
                  <a:gd name="connsiteX2" fmla="*/ 3279788 w 3424905"/>
                  <a:gd name="connsiteY2" fmla="*/ 892974 h 3340311"/>
                  <a:gd name="connsiteX3" fmla="*/ 2300975 w 3424905"/>
                  <a:gd name="connsiteY3" fmla="*/ 199707 h 3340311"/>
                  <a:gd name="connsiteX4" fmla="*/ 1126708 w 3424905"/>
                  <a:gd name="connsiteY4" fmla="*/ 66422 h 3340311"/>
                  <a:gd name="connsiteX5" fmla="*/ 12759 w 3424905"/>
                  <a:gd name="connsiteY5" fmla="*/ 1139722 h 3340311"/>
                  <a:gd name="connsiteX6" fmla="*/ 516204 w 3424905"/>
                  <a:gd name="connsiteY6" fmla="*/ 2370449 h 3340311"/>
                  <a:gd name="connsiteX7" fmla="*/ 1241019 w 3424905"/>
                  <a:gd name="connsiteY7" fmla="*/ 3320491 h 3340311"/>
                  <a:gd name="connsiteX8" fmla="*/ 2379265 w 3424905"/>
                  <a:gd name="connsiteY8" fmla="*/ 2990594 h 3340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24905" h="3340311">
                    <a:moveTo>
                      <a:pt x="2379187" y="2990672"/>
                    </a:moveTo>
                    <a:cubicBezTo>
                      <a:pt x="2788222" y="2785113"/>
                      <a:pt x="3249628" y="2538829"/>
                      <a:pt x="3361317" y="2118303"/>
                    </a:cubicBezTo>
                    <a:cubicBezTo>
                      <a:pt x="3457501" y="1755239"/>
                      <a:pt x="3455341" y="1241614"/>
                      <a:pt x="3279788" y="892974"/>
                    </a:cubicBezTo>
                    <a:cubicBezTo>
                      <a:pt x="3072686" y="481781"/>
                      <a:pt x="2724587" y="309389"/>
                      <a:pt x="2300975" y="199707"/>
                    </a:cubicBezTo>
                    <a:cubicBezTo>
                      <a:pt x="1939763" y="106145"/>
                      <a:pt x="1472571" y="-108206"/>
                      <a:pt x="1126708" y="66422"/>
                    </a:cubicBezTo>
                    <a:cubicBezTo>
                      <a:pt x="713895" y="274988"/>
                      <a:pt x="120745" y="713641"/>
                      <a:pt x="12759" y="1139722"/>
                    </a:cubicBezTo>
                    <a:cubicBezTo>
                      <a:pt x="-78411" y="1498619"/>
                      <a:pt x="342964" y="2027286"/>
                      <a:pt x="516204" y="2370449"/>
                    </a:cubicBezTo>
                    <a:cubicBezTo>
                      <a:pt x="724076" y="2782414"/>
                      <a:pt x="816250" y="3211657"/>
                      <a:pt x="1241019" y="3320491"/>
                    </a:cubicBezTo>
                    <a:cubicBezTo>
                      <a:pt x="1599917" y="3412587"/>
                      <a:pt x="2035176" y="3163449"/>
                      <a:pt x="2379265" y="299059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6221E698-14B7-1E21-0584-927668B0CD7F}"/>
                  </a:ext>
                </a:extLst>
              </p:cNvPr>
              <p:cNvSpPr/>
              <p:nvPr/>
            </p:nvSpPr>
            <p:spPr>
              <a:xfrm>
                <a:off x="4390546" y="2609845"/>
                <a:ext cx="3375801" cy="3303429"/>
              </a:xfrm>
              <a:custGeom>
                <a:avLst/>
                <a:gdLst>
                  <a:gd name="connsiteX0" fmla="*/ 2374347 w 3375801"/>
                  <a:gd name="connsiteY0" fmla="*/ 2996529 h 3303429"/>
                  <a:gd name="connsiteX1" fmla="*/ 3287597 w 3375801"/>
                  <a:gd name="connsiteY1" fmla="*/ 2114518 h 3303429"/>
                  <a:gd name="connsiteX2" fmla="*/ 3251191 w 3375801"/>
                  <a:gd name="connsiteY2" fmla="*/ 876541 h 3303429"/>
                  <a:gd name="connsiteX3" fmla="*/ 2242836 w 3375801"/>
                  <a:gd name="connsiteY3" fmla="*/ 244285 h 3303429"/>
                  <a:gd name="connsiteX4" fmla="*/ 1031700 w 3375801"/>
                  <a:gd name="connsiteY4" fmla="*/ 62946 h 3303429"/>
                  <a:gd name="connsiteX5" fmla="*/ 15710 w 3375801"/>
                  <a:gd name="connsiteY5" fmla="*/ 1157689 h 3303429"/>
                  <a:gd name="connsiteX6" fmla="*/ 459993 w 3375801"/>
                  <a:gd name="connsiteY6" fmla="*/ 2440249 h 3303429"/>
                  <a:gd name="connsiteX7" fmla="*/ 1226074 w 3375801"/>
                  <a:gd name="connsiteY7" fmla="*/ 3278449 h 3303429"/>
                  <a:gd name="connsiteX8" fmla="*/ 2374347 w 3375801"/>
                  <a:gd name="connsiteY8" fmla="*/ 2996529 h 330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5801" h="3303429">
                    <a:moveTo>
                      <a:pt x="2374347" y="2996529"/>
                    </a:moveTo>
                    <a:cubicBezTo>
                      <a:pt x="2768881" y="2789891"/>
                      <a:pt x="3177760" y="2529029"/>
                      <a:pt x="3287597" y="2114518"/>
                    </a:cubicBezTo>
                    <a:cubicBezTo>
                      <a:pt x="3386712" y="1739423"/>
                      <a:pt x="3435692" y="1227571"/>
                      <a:pt x="3251191" y="876541"/>
                    </a:cubicBezTo>
                    <a:cubicBezTo>
                      <a:pt x="3043087" y="480619"/>
                      <a:pt x="2659584" y="352193"/>
                      <a:pt x="2242836" y="244285"/>
                    </a:cubicBezTo>
                    <a:cubicBezTo>
                      <a:pt x="1869052" y="147483"/>
                      <a:pt x="1380494" y="-121092"/>
                      <a:pt x="1031700" y="62946"/>
                    </a:cubicBezTo>
                    <a:cubicBezTo>
                      <a:pt x="634776" y="272438"/>
                      <a:pt x="121999" y="739090"/>
                      <a:pt x="15710" y="1157689"/>
                    </a:cubicBezTo>
                    <a:cubicBezTo>
                      <a:pt x="-78932" y="1529236"/>
                      <a:pt x="277421" y="2093847"/>
                      <a:pt x="459993" y="2440249"/>
                    </a:cubicBezTo>
                    <a:cubicBezTo>
                      <a:pt x="668869" y="2836556"/>
                      <a:pt x="808402" y="3171312"/>
                      <a:pt x="1226074" y="3278449"/>
                    </a:cubicBezTo>
                    <a:cubicBezTo>
                      <a:pt x="1597005" y="3373785"/>
                      <a:pt x="2027559" y="3178176"/>
                      <a:pt x="2374347" y="29965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E7A3B7CC-66C5-8204-DC34-CEDD135A41B4}"/>
                  </a:ext>
                </a:extLst>
              </p:cNvPr>
              <p:cNvSpPr/>
              <p:nvPr/>
            </p:nvSpPr>
            <p:spPr>
              <a:xfrm>
                <a:off x="4428860" y="2607348"/>
                <a:ext cx="3333638" cy="3269772"/>
              </a:xfrm>
              <a:custGeom>
                <a:avLst/>
                <a:gdLst>
                  <a:gd name="connsiteX0" fmla="*/ 2370512 w 3333638"/>
                  <a:gd name="connsiteY0" fmla="*/ 3003654 h 3269772"/>
                  <a:gd name="connsiteX1" fmla="*/ 3214806 w 3333638"/>
                  <a:gd name="connsiteY1" fmla="*/ 2112002 h 3269772"/>
                  <a:gd name="connsiteX2" fmla="*/ 3223522 w 3333638"/>
                  <a:gd name="connsiteY2" fmla="*/ 861297 h 3269772"/>
                  <a:gd name="connsiteX3" fmla="*/ 2185625 w 3333638"/>
                  <a:gd name="connsiteY3" fmla="*/ 290053 h 3269772"/>
                  <a:gd name="connsiteX4" fmla="*/ 937697 w 3333638"/>
                  <a:gd name="connsiteY4" fmla="*/ 60738 h 3269772"/>
                  <a:gd name="connsiteX5" fmla="*/ 19665 w 3333638"/>
                  <a:gd name="connsiteY5" fmla="*/ 1176924 h 3269772"/>
                  <a:gd name="connsiteX6" fmla="*/ 404865 w 3333638"/>
                  <a:gd name="connsiteY6" fmla="*/ 2511240 h 3269772"/>
                  <a:gd name="connsiteX7" fmla="*/ 1212212 w 3333638"/>
                  <a:gd name="connsiteY7" fmla="*/ 3237597 h 3269772"/>
                  <a:gd name="connsiteX8" fmla="*/ 2370512 w 3333638"/>
                  <a:gd name="connsiteY8" fmla="*/ 3003654 h 3269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638" h="3269772">
                    <a:moveTo>
                      <a:pt x="2370512" y="3003654"/>
                    </a:moveTo>
                    <a:cubicBezTo>
                      <a:pt x="2750699" y="2796245"/>
                      <a:pt x="3106897" y="2520419"/>
                      <a:pt x="3214806" y="2112002"/>
                    </a:cubicBezTo>
                    <a:cubicBezTo>
                      <a:pt x="3316775" y="1724873"/>
                      <a:pt x="3417279" y="1214719"/>
                      <a:pt x="3223522" y="861297"/>
                    </a:cubicBezTo>
                    <a:cubicBezTo>
                      <a:pt x="3014800" y="480494"/>
                      <a:pt x="2595585" y="396265"/>
                      <a:pt x="2185625" y="290053"/>
                    </a:cubicBezTo>
                    <a:cubicBezTo>
                      <a:pt x="1799191" y="189935"/>
                      <a:pt x="1289268" y="-133019"/>
                      <a:pt x="937697" y="60738"/>
                    </a:cubicBezTo>
                    <a:cubicBezTo>
                      <a:pt x="556508" y="270770"/>
                      <a:pt x="124334" y="765730"/>
                      <a:pt x="19665" y="1176924"/>
                    </a:cubicBezTo>
                    <a:cubicBezTo>
                      <a:pt x="-78448" y="1561121"/>
                      <a:pt x="212651" y="2161829"/>
                      <a:pt x="404865" y="2511240"/>
                    </a:cubicBezTo>
                    <a:cubicBezTo>
                      <a:pt x="614357" y="2892120"/>
                      <a:pt x="801635" y="3132157"/>
                      <a:pt x="1212212" y="3237597"/>
                    </a:cubicBezTo>
                    <a:cubicBezTo>
                      <a:pt x="1595175" y="3336095"/>
                      <a:pt x="2021102" y="3194326"/>
                      <a:pt x="2370512" y="30036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8F35072C-1371-463B-FE40-B9FA8AD60F1F}"/>
                  </a:ext>
                </a:extLst>
              </p:cNvPr>
              <p:cNvSpPr/>
              <p:nvPr/>
            </p:nvSpPr>
            <p:spPr>
              <a:xfrm>
                <a:off x="4465597" y="2604029"/>
                <a:ext cx="3297610" cy="3240257"/>
              </a:xfrm>
              <a:custGeom>
                <a:avLst/>
                <a:gdLst>
                  <a:gd name="connsiteX0" fmla="*/ 2368253 w 3297610"/>
                  <a:gd name="connsiteY0" fmla="*/ 3011601 h 3240257"/>
                  <a:gd name="connsiteX1" fmla="*/ 3143667 w 3297610"/>
                  <a:gd name="connsiteY1" fmla="*/ 2110307 h 3240257"/>
                  <a:gd name="connsiteX2" fmla="*/ 3197583 w 3297610"/>
                  <a:gd name="connsiteY2" fmla="*/ 846953 h 3240257"/>
                  <a:gd name="connsiteX3" fmla="*/ 2130145 w 3297610"/>
                  <a:gd name="connsiteY3" fmla="*/ 336721 h 3240257"/>
                  <a:gd name="connsiteX4" fmla="*/ 845347 w 3297610"/>
                  <a:gd name="connsiteY4" fmla="*/ 59352 h 3240257"/>
                  <a:gd name="connsiteX5" fmla="*/ 25197 w 3297610"/>
                  <a:gd name="connsiteY5" fmla="*/ 1196981 h 3240257"/>
                  <a:gd name="connsiteX6" fmla="*/ 351236 w 3297610"/>
                  <a:gd name="connsiteY6" fmla="*/ 2583130 h 3240257"/>
                  <a:gd name="connsiteX7" fmla="*/ 1199772 w 3297610"/>
                  <a:gd name="connsiteY7" fmla="*/ 3197645 h 3240257"/>
                  <a:gd name="connsiteX8" fmla="*/ 2368176 w 3297610"/>
                  <a:gd name="connsiteY8" fmla="*/ 3011756 h 3240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7610" h="3240257">
                    <a:moveTo>
                      <a:pt x="2368253" y="3011601"/>
                    </a:moveTo>
                    <a:cubicBezTo>
                      <a:pt x="2734325" y="2803729"/>
                      <a:pt x="3037610" y="2512708"/>
                      <a:pt x="3143667" y="2110307"/>
                    </a:cubicBezTo>
                    <a:cubicBezTo>
                      <a:pt x="3248491" y="1711146"/>
                      <a:pt x="3400750" y="1202611"/>
                      <a:pt x="3197583" y="846953"/>
                    </a:cubicBezTo>
                    <a:cubicBezTo>
                      <a:pt x="2988554" y="481113"/>
                      <a:pt x="2533317" y="441159"/>
                      <a:pt x="2130145" y="336721"/>
                    </a:cubicBezTo>
                    <a:cubicBezTo>
                      <a:pt x="1731138" y="233364"/>
                      <a:pt x="1199617" y="-144355"/>
                      <a:pt x="845347" y="59352"/>
                    </a:cubicBezTo>
                    <a:cubicBezTo>
                      <a:pt x="479739" y="269539"/>
                      <a:pt x="128246" y="793269"/>
                      <a:pt x="25197" y="1196981"/>
                    </a:cubicBezTo>
                    <a:cubicBezTo>
                      <a:pt x="-76464" y="1593828"/>
                      <a:pt x="149149" y="2230788"/>
                      <a:pt x="351236" y="2583130"/>
                    </a:cubicBezTo>
                    <a:cubicBezTo>
                      <a:pt x="560960" y="2948739"/>
                      <a:pt x="796368" y="3093902"/>
                      <a:pt x="1199772" y="3197645"/>
                    </a:cubicBezTo>
                    <a:cubicBezTo>
                      <a:pt x="1594768" y="3299383"/>
                      <a:pt x="2016143" y="3211683"/>
                      <a:pt x="2368176" y="301175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23677A8A-32C4-1091-FAA1-1ADFD3F28632}"/>
                  </a:ext>
                </a:extLst>
              </p:cNvPr>
              <p:cNvSpPr/>
              <p:nvPr/>
            </p:nvSpPr>
            <p:spPr>
              <a:xfrm>
                <a:off x="4499869" y="2600116"/>
                <a:ext cx="3267148" cy="3216006"/>
              </a:xfrm>
              <a:custGeom>
                <a:avLst/>
                <a:gdLst>
                  <a:gd name="connsiteX0" fmla="*/ 2368459 w 3267148"/>
                  <a:gd name="connsiteY0" fmla="*/ 3020220 h 3216006"/>
                  <a:gd name="connsiteX1" fmla="*/ 3074994 w 3267148"/>
                  <a:gd name="connsiteY1" fmla="*/ 2109207 h 3216006"/>
                  <a:gd name="connsiteX2" fmla="*/ 3174032 w 3267148"/>
                  <a:gd name="connsiteY2" fmla="*/ 833203 h 3216006"/>
                  <a:gd name="connsiteX3" fmla="*/ 2077052 w 3267148"/>
                  <a:gd name="connsiteY3" fmla="*/ 384060 h 3216006"/>
                  <a:gd name="connsiteX4" fmla="*/ 755385 w 3267148"/>
                  <a:gd name="connsiteY4" fmla="*/ 58637 h 3216006"/>
                  <a:gd name="connsiteX5" fmla="*/ 33193 w 3267148"/>
                  <a:gd name="connsiteY5" fmla="*/ 1217631 h 3216006"/>
                  <a:gd name="connsiteX6" fmla="*/ 300072 w 3267148"/>
                  <a:gd name="connsiteY6" fmla="*/ 2655537 h 3216006"/>
                  <a:gd name="connsiteX7" fmla="*/ 1189873 w 3267148"/>
                  <a:gd name="connsiteY7" fmla="*/ 3158209 h 3216006"/>
                  <a:gd name="connsiteX8" fmla="*/ 2368305 w 3267148"/>
                  <a:gd name="connsiteY8" fmla="*/ 3020297 h 3216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7148" h="3216006">
                    <a:moveTo>
                      <a:pt x="2368459" y="3020220"/>
                    </a:moveTo>
                    <a:cubicBezTo>
                      <a:pt x="2720493" y="2812193"/>
                      <a:pt x="2970787" y="2505668"/>
                      <a:pt x="3074994" y="2109207"/>
                    </a:cubicBezTo>
                    <a:cubicBezTo>
                      <a:pt x="3182748" y="1698013"/>
                      <a:pt x="3386995" y="1190866"/>
                      <a:pt x="3174032" y="833203"/>
                    </a:cubicBezTo>
                    <a:cubicBezTo>
                      <a:pt x="2965002" y="482095"/>
                      <a:pt x="2473360" y="486646"/>
                      <a:pt x="2077052" y="384060"/>
                    </a:cubicBezTo>
                    <a:cubicBezTo>
                      <a:pt x="1665473" y="277462"/>
                      <a:pt x="1112201" y="-155406"/>
                      <a:pt x="755385" y="58637"/>
                    </a:cubicBezTo>
                    <a:cubicBezTo>
                      <a:pt x="405203" y="268669"/>
                      <a:pt x="134545" y="821401"/>
                      <a:pt x="33193" y="1217631"/>
                    </a:cubicBezTo>
                    <a:cubicBezTo>
                      <a:pt x="-71939" y="1627205"/>
                      <a:pt x="87803" y="2300495"/>
                      <a:pt x="300072" y="2655537"/>
                    </a:cubicBezTo>
                    <a:cubicBezTo>
                      <a:pt x="509718" y="3006104"/>
                      <a:pt x="793566" y="3056163"/>
                      <a:pt x="1189873" y="3158209"/>
                    </a:cubicBezTo>
                    <a:cubicBezTo>
                      <a:pt x="1596979" y="3263187"/>
                      <a:pt x="2013881" y="3229711"/>
                      <a:pt x="2368305" y="302029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A401E077-2D1A-71A9-52EB-DE6EE02612DB}"/>
                  </a:ext>
                </a:extLst>
              </p:cNvPr>
              <p:cNvSpPr/>
              <p:nvPr/>
            </p:nvSpPr>
            <p:spPr>
              <a:xfrm>
                <a:off x="4530202" y="2595585"/>
                <a:ext cx="3242767" cy="3198539"/>
              </a:xfrm>
              <a:custGeom>
                <a:avLst/>
                <a:gdLst>
                  <a:gd name="connsiteX0" fmla="*/ 2372604 w 3242767"/>
                  <a:gd name="connsiteY0" fmla="*/ 3029379 h 3198539"/>
                  <a:gd name="connsiteX1" fmla="*/ 3010259 w 3242767"/>
                  <a:gd name="connsiteY1" fmla="*/ 2108724 h 3198539"/>
                  <a:gd name="connsiteX2" fmla="*/ 3154497 w 3242767"/>
                  <a:gd name="connsiteY2" fmla="*/ 819993 h 3198539"/>
                  <a:gd name="connsiteX3" fmla="*/ 2027976 w 3242767"/>
                  <a:gd name="connsiteY3" fmla="*/ 431862 h 3198539"/>
                  <a:gd name="connsiteX4" fmla="*/ 669516 w 3242767"/>
                  <a:gd name="connsiteY4" fmla="*/ 58386 h 3198539"/>
                  <a:gd name="connsiteX5" fmla="*/ 45282 w 3242767"/>
                  <a:gd name="connsiteY5" fmla="*/ 1238823 h 3198539"/>
                  <a:gd name="connsiteX6" fmla="*/ 253078 w 3242767"/>
                  <a:gd name="connsiteY6" fmla="*/ 2728484 h 3198539"/>
                  <a:gd name="connsiteX7" fmla="*/ 1184145 w 3242767"/>
                  <a:gd name="connsiteY7" fmla="*/ 3119315 h 3198539"/>
                  <a:gd name="connsiteX8" fmla="*/ 2372681 w 3242767"/>
                  <a:gd name="connsiteY8" fmla="*/ 3029379 h 319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2767" h="3198539">
                    <a:moveTo>
                      <a:pt x="2372604" y="3029379"/>
                    </a:moveTo>
                    <a:cubicBezTo>
                      <a:pt x="2710831" y="2821429"/>
                      <a:pt x="2907904" y="2499092"/>
                      <a:pt x="3010259" y="2108724"/>
                    </a:cubicBezTo>
                    <a:cubicBezTo>
                      <a:pt x="3120867" y="1685498"/>
                      <a:pt x="3377488" y="1179585"/>
                      <a:pt x="3154497" y="819993"/>
                    </a:cubicBezTo>
                    <a:cubicBezTo>
                      <a:pt x="2945776" y="483464"/>
                      <a:pt x="2417495" y="532752"/>
                      <a:pt x="2027976" y="431862"/>
                    </a:cubicBezTo>
                    <a:cubicBezTo>
                      <a:pt x="1603746" y="321948"/>
                      <a:pt x="1028569" y="-166224"/>
                      <a:pt x="669516" y="58386"/>
                    </a:cubicBezTo>
                    <a:cubicBezTo>
                      <a:pt x="334530" y="267878"/>
                      <a:pt x="144938" y="850075"/>
                      <a:pt x="45282" y="1238823"/>
                    </a:cubicBezTo>
                    <a:cubicBezTo>
                      <a:pt x="-63320" y="1661047"/>
                      <a:pt x="30241" y="2370898"/>
                      <a:pt x="253078" y="2728484"/>
                    </a:cubicBezTo>
                    <a:cubicBezTo>
                      <a:pt x="462261" y="3064165"/>
                      <a:pt x="795011" y="3018966"/>
                      <a:pt x="1184145" y="3119315"/>
                    </a:cubicBezTo>
                    <a:cubicBezTo>
                      <a:pt x="1603283" y="3227532"/>
                      <a:pt x="2015943" y="3248666"/>
                      <a:pt x="2372681" y="30293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A59FE96F-E5C3-1D3E-96C7-15223A858467}"/>
                  </a:ext>
                </a:extLst>
              </p:cNvPr>
              <p:cNvSpPr/>
              <p:nvPr/>
            </p:nvSpPr>
            <p:spPr>
              <a:xfrm>
                <a:off x="4553971" y="2590726"/>
                <a:ext cx="3226504" cy="3187950"/>
              </a:xfrm>
              <a:custGeom>
                <a:avLst/>
                <a:gdLst>
                  <a:gd name="connsiteX0" fmla="*/ 2383391 w 3226504"/>
                  <a:gd name="connsiteY0" fmla="*/ 3038865 h 3187950"/>
                  <a:gd name="connsiteX1" fmla="*/ 2952166 w 3226504"/>
                  <a:gd name="connsiteY1" fmla="*/ 2108570 h 3187950"/>
                  <a:gd name="connsiteX2" fmla="*/ 3141527 w 3226504"/>
                  <a:gd name="connsiteY2" fmla="*/ 807189 h 3187950"/>
                  <a:gd name="connsiteX3" fmla="*/ 1985463 w 3226504"/>
                  <a:gd name="connsiteY3" fmla="*/ 480070 h 3187950"/>
                  <a:gd name="connsiteX4" fmla="*/ 590135 w 3226504"/>
                  <a:gd name="connsiteY4" fmla="*/ 58540 h 3187950"/>
                  <a:gd name="connsiteX5" fmla="*/ 63859 w 3226504"/>
                  <a:gd name="connsiteY5" fmla="*/ 1260420 h 3187950"/>
                  <a:gd name="connsiteX6" fmla="*/ 212494 w 3226504"/>
                  <a:gd name="connsiteY6" fmla="*/ 2801914 h 3187950"/>
                  <a:gd name="connsiteX7" fmla="*/ 1184827 w 3226504"/>
                  <a:gd name="connsiteY7" fmla="*/ 3080825 h 3187950"/>
                  <a:gd name="connsiteX8" fmla="*/ 2383391 w 3226504"/>
                  <a:gd name="connsiteY8" fmla="*/ 3038865 h 3187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6504" h="3187950">
                    <a:moveTo>
                      <a:pt x="2383391" y="3038865"/>
                    </a:moveTo>
                    <a:cubicBezTo>
                      <a:pt x="2707964" y="2831302"/>
                      <a:pt x="2851740" y="2492921"/>
                      <a:pt x="2952166" y="2108570"/>
                    </a:cubicBezTo>
                    <a:cubicBezTo>
                      <a:pt x="3065629" y="1673310"/>
                      <a:pt x="3374930" y="1168401"/>
                      <a:pt x="3141527" y="807189"/>
                    </a:cubicBezTo>
                    <a:cubicBezTo>
                      <a:pt x="2933423" y="485083"/>
                      <a:pt x="2368118" y="579185"/>
                      <a:pt x="1985463" y="480070"/>
                    </a:cubicBezTo>
                    <a:cubicBezTo>
                      <a:pt x="1548662" y="366916"/>
                      <a:pt x="951347" y="-177023"/>
                      <a:pt x="590135" y="58540"/>
                    </a:cubicBezTo>
                    <a:cubicBezTo>
                      <a:pt x="270112" y="267261"/>
                      <a:pt x="161818" y="879077"/>
                      <a:pt x="63859" y="1260420"/>
                    </a:cubicBezTo>
                    <a:cubicBezTo>
                      <a:pt x="-48214" y="1695293"/>
                      <a:pt x="-21218" y="2442014"/>
                      <a:pt x="212494" y="2801914"/>
                    </a:cubicBezTo>
                    <a:cubicBezTo>
                      <a:pt x="420983" y="3122940"/>
                      <a:pt x="802790" y="2982250"/>
                      <a:pt x="1184827" y="3080825"/>
                    </a:cubicBezTo>
                    <a:cubicBezTo>
                      <a:pt x="1615998" y="3192205"/>
                      <a:pt x="2024647" y="3268258"/>
                      <a:pt x="2383391" y="303886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7F57092E-3C32-68DF-8CB8-7C115E7D23A4}"/>
                  </a:ext>
                </a:extLst>
              </p:cNvPr>
              <p:cNvSpPr/>
              <p:nvPr/>
            </p:nvSpPr>
            <p:spPr>
              <a:xfrm>
                <a:off x="4568996" y="2585529"/>
                <a:ext cx="3220062" cy="3183237"/>
              </a:xfrm>
              <a:custGeom>
                <a:avLst/>
                <a:gdLst>
                  <a:gd name="connsiteX0" fmla="*/ 2402845 w 3220062"/>
                  <a:gd name="connsiteY0" fmla="*/ 3048690 h 3183237"/>
                  <a:gd name="connsiteX1" fmla="*/ 2902741 w 3220062"/>
                  <a:gd name="connsiteY1" fmla="*/ 2108752 h 3183237"/>
                  <a:gd name="connsiteX2" fmla="*/ 3137301 w 3220062"/>
                  <a:gd name="connsiteY2" fmla="*/ 794722 h 3183237"/>
                  <a:gd name="connsiteX3" fmla="*/ 1951696 w 3220062"/>
                  <a:gd name="connsiteY3" fmla="*/ 528615 h 3183237"/>
                  <a:gd name="connsiteX4" fmla="*/ 519498 w 3220062"/>
                  <a:gd name="connsiteY4" fmla="*/ 59031 h 3183237"/>
                  <a:gd name="connsiteX5" fmla="*/ 91104 w 3220062"/>
                  <a:gd name="connsiteY5" fmla="*/ 1282277 h 3183237"/>
                  <a:gd name="connsiteX6" fmla="*/ 180577 w 3220062"/>
                  <a:gd name="connsiteY6" fmla="*/ 2875527 h 3183237"/>
                  <a:gd name="connsiteX7" fmla="*/ 1194100 w 3220062"/>
                  <a:gd name="connsiteY7" fmla="*/ 3042597 h 3183237"/>
                  <a:gd name="connsiteX8" fmla="*/ 2402690 w 3220062"/>
                  <a:gd name="connsiteY8" fmla="*/ 3048690 h 3183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062" h="3183237">
                    <a:moveTo>
                      <a:pt x="2402845" y="3048690"/>
                    </a:moveTo>
                    <a:cubicBezTo>
                      <a:pt x="2713920" y="2841743"/>
                      <a:pt x="2804166" y="2487088"/>
                      <a:pt x="2902741" y="2108752"/>
                    </a:cubicBezTo>
                    <a:cubicBezTo>
                      <a:pt x="3019057" y="1661538"/>
                      <a:pt x="3381426" y="1157322"/>
                      <a:pt x="3137301" y="794722"/>
                    </a:cubicBezTo>
                    <a:cubicBezTo>
                      <a:pt x="2930046" y="486809"/>
                      <a:pt x="2327563" y="626033"/>
                      <a:pt x="1951696" y="528615"/>
                    </a:cubicBezTo>
                    <a:cubicBezTo>
                      <a:pt x="1502322" y="412221"/>
                      <a:pt x="882484" y="-187870"/>
                      <a:pt x="519498" y="59031"/>
                    </a:cubicBezTo>
                    <a:cubicBezTo>
                      <a:pt x="214284" y="266672"/>
                      <a:pt x="187442" y="908415"/>
                      <a:pt x="91104" y="1282277"/>
                    </a:cubicBezTo>
                    <a:cubicBezTo>
                      <a:pt x="-24441" y="1729877"/>
                      <a:pt x="-64396" y="2513621"/>
                      <a:pt x="180577" y="2875527"/>
                    </a:cubicBezTo>
                    <a:cubicBezTo>
                      <a:pt x="388064" y="3182052"/>
                      <a:pt x="819235" y="2945718"/>
                      <a:pt x="1194100" y="3042597"/>
                    </a:cubicBezTo>
                    <a:cubicBezTo>
                      <a:pt x="1637304" y="3157215"/>
                      <a:pt x="2042173" y="3288495"/>
                      <a:pt x="2402690" y="304869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B0ADEACF-5205-85F8-6F78-9284D5E753E6}"/>
                  </a:ext>
                </a:extLst>
              </p:cNvPr>
              <p:cNvSpPr/>
              <p:nvPr/>
            </p:nvSpPr>
            <p:spPr>
              <a:xfrm>
                <a:off x="4575239" y="2579941"/>
                <a:ext cx="3223194" cy="3183120"/>
              </a:xfrm>
              <a:custGeom>
                <a:avLst/>
                <a:gdLst>
                  <a:gd name="connsiteX0" fmla="*/ 2431079 w 3223194"/>
                  <a:gd name="connsiteY0" fmla="*/ 3058906 h 3183120"/>
                  <a:gd name="connsiteX1" fmla="*/ 2862096 w 3223194"/>
                  <a:gd name="connsiteY1" fmla="*/ 2109327 h 3183120"/>
                  <a:gd name="connsiteX2" fmla="*/ 3141779 w 3223194"/>
                  <a:gd name="connsiteY2" fmla="*/ 782570 h 3183120"/>
                  <a:gd name="connsiteX3" fmla="*/ 1926632 w 3223194"/>
                  <a:gd name="connsiteY3" fmla="*/ 577475 h 3183120"/>
                  <a:gd name="connsiteX4" fmla="*/ 457565 w 3223194"/>
                  <a:gd name="connsiteY4" fmla="*/ 59838 h 3183120"/>
                  <a:gd name="connsiteX5" fmla="*/ 127129 w 3223194"/>
                  <a:gd name="connsiteY5" fmla="*/ 1304526 h 3183120"/>
                  <a:gd name="connsiteX6" fmla="*/ 157519 w 3223194"/>
                  <a:gd name="connsiteY6" fmla="*/ 2949610 h 3183120"/>
                  <a:gd name="connsiteX7" fmla="*/ 1212307 w 3223194"/>
                  <a:gd name="connsiteY7" fmla="*/ 3004836 h 3183120"/>
                  <a:gd name="connsiteX8" fmla="*/ 2431002 w 3223194"/>
                  <a:gd name="connsiteY8" fmla="*/ 3058906 h 318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3194" h="3183120">
                    <a:moveTo>
                      <a:pt x="2431079" y="3058906"/>
                    </a:moveTo>
                    <a:cubicBezTo>
                      <a:pt x="2728888" y="2852731"/>
                      <a:pt x="2765372" y="2481646"/>
                      <a:pt x="2862096" y="2109327"/>
                    </a:cubicBezTo>
                    <a:cubicBezTo>
                      <a:pt x="2981343" y="1650080"/>
                      <a:pt x="3397011" y="1146327"/>
                      <a:pt x="3141779" y="782570"/>
                    </a:cubicBezTo>
                    <a:cubicBezTo>
                      <a:pt x="2935526" y="488695"/>
                      <a:pt x="2295712" y="673119"/>
                      <a:pt x="1926632" y="577475"/>
                    </a:cubicBezTo>
                    <a:cubicBezTo>
                      <a:pt x="1464608" y="457765"/>
                      <a:pt x="822016" y="-198865"/>
                      <a:pt x="457565" y="59838"/>
                    </a:cubicBezTo>
                    <a:cubicBezTo>
                      <a:pt x="166852" y="266168"/>
                      <a:pt x="221848" y="938146"/>
                      <a:pt x="127129" y="1304526"/>
                    </a:cubicBezTo>
                    <a:cubicBezTo>
                      <a:pt x="8113" y="1764776"/>
                      <a:pt x="-99178" y="2585930"/>
                      <a:pt x="157519" y="2949610"/>
                    </a:cubicBezTo>
                    <a:cubicBezTo>
                      <a:pt x="363849" y="3241942"/>
                      <a:pt x="844539" y="2909655"/>
                      <a:pt x="1212307" y="3004836"/>
                    </a:cubicBezTo>
                    <a:cubicBezTo>
                      <a:pt x="1667544" y="3122695"/>
                      <a:pt x="2068942" y="3309510"/>
                      <a:pt x="2431002" y="305890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4937A28C-EE7F-EE67-D7FE-14EC8569EFE2}"/>
                  </a:ext>
                </a:extLst>
              </p:cNvPr>
              <p:cNvSpPr/>
              <p:nvPr/>
            </p:nvSpPr>
            <p:spPr>
              <a:xfrm>
                <a:off x="4574616" y="2574268"/>
                <a:ext cx="3233910" cy="3186151"/>
              </a:xfrm>
              <a:custGeom>
                <a:avLst/>
                <a:gdLst>
                  <a:gd name="connsiteX0" fmla="*/ 2828318 w 3233910"/>
                  <a:gd name="connsiteY0" fmla="*/ 2109987 h 3186151"/>
                  <a:gd name="connsiteX1" fmla="*/ 3153201 w 3233910"/>
                  <a:gd name="connsiteY1" fmla="*/ 770580 h 3186151"/>
                  <a:gd name="connsiteX2" fmla="*/ 1908512 w 3233910"/>
                  <a:gd name="connsiteY2" fmla="*/ 626573 h 3186151"/>
                  <a:gd name="connsiteX3" fmla="*/ 402652 w 3233910"/>
                  <a:gd name="connsiteY3" fmla="*/ 60883 h 3186151"/>
                  <a:gd name="connsiteX4" fmla="*/ 170175 w 3233910"/>
                  <a:gd name="connsiteY4" fmla="*/ 1327014 h 3186151"/>
                  <a:gd name="connsiteX5" fmla="*/ 141404 w 3233910"/>
                  <a:gd name="connsiteY5" fmla="*/ 3023854 h 3186151"/>
                  <a:gd name="connsiteX6" fmla="*/ 1237458 w 3233910"/>
                  <a:gd name="connsiteY6" fmla="*/ 2967238 h 3186151"/>
                  <a:gd name="connsiteX7" fmla="*/ 2466180 w 3233910"/>
                  <a:gd name="connsiteY7" fmla="*/ 3069285 h 3186151"/>
                  <a:gd name="connsiteX8" fmla="*/ 2828318 w 3233910"/>
                  <a:gd name="connsiteY8" fmla="*/ 2110064 h 3186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3910" h="3186151">
                    <a:moveTo>
                      <a:pt x="2828318" y="2109987"/>
                    </a:moveTo>
                    <a:cubicBezTo>
                      <a:pt x="2950419" y="1638707"/>
                      <a:pt x="3419925" y="1135031"/>
                      <a:pt x="3153201" y="770580"/>
                    </a:cubicBezTo>
                    <a:cubicBezTo>
                      <a:pt x="2948182" y="490434"/>
                      <a:pt x="2270727" y="720366"/>
                      <a:pt x="1908512" y="626573"/>
                    </a:cubicBezTo>
                    <a:cubicBezTo>
                      <a:pt x="1433915" y="503624"/>
                      <a:pt x="768029" y="-210007"/>
                      <a:pt x="402652" y="60883"/>
                    </a:cubicBezTo>
                    <a:cubicBezTo>
                      <a:pt x="126286" y="265747"/>
                      <a:pt x="263197" y="968039"/>
                      <a:pt x="170175" y="1327014"/>
                    </a:cubicBezTo>
                    <a:cubicBezTo>
                      <a:pt x="47611" y="1799914"/>
                      <a:pt x="-127326" y="2658939"/>
                      <a:pt x="141404" y="3023854"/>
                    </a:cubicBezTo>
                    <a:cubicBezTo>
                      <a:pt x="346345" y="3302147"/>
                      <a:pt x="876786" y="2873831"/>
                      <a:pt x="1237458" y="2967238"/>
                    </a:cubicBezTo>
                    <a:cubicBezTo>
                      <a:pt x="1704727" y="3088336"/>
                      <a:pt x="2102963" y="3331072"/>
                      <a:pt x="2466180" y="3069285"/>
                    </a:cubicBezTo>
                    <a:cubicBezTo>
                      <a:pt x="2750877" y="2864112"/>
                      <a:pt x="2733445" y="2476289"/>
                      <a:pt x="2828318" y="21100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71" name="Graphic 5">
              <a:extLst>
                <a:ext uri="{FF2B5EF4-FFF2-40B4-BE49-F238E27FC236}">
                  <a16:creationId xmlns:a16="http://schemas.microsoft.com/office/drawing/2014/main" id="{B25386CE-133D-BEC3-4833-63125DF08021}"/>
                </a:ext>
              </a:extLst>
            </p:cNvPr>
            <p:cNvGrpSpPr/>
            <p:nvPr/>
          </p:nvGrpSpPr>
          <p:grpSpPr>
            <a:xfrm rot="20743245">
              <a:off x="-1641318" y="712755"/>
              <a:ext cx="8683276" cy="5650143"/>
              <a:chOff x="3224705" y="2448010"/>
              <a:chExt cx="5745675" cy="3738674"/>
            </a:xfrm>
            <a:noFill/>
          </p:grpSpPr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C57BB85B-6F9D-B51B-88B2-F95E2CB24E2B}"/>
                  </a:ext>
                </a:extLst>
              </p:cNvPr>
              <p:cNvSpPr/>
              <p:nvPr/>
            </p:nvSpPr>
            <p:spPr>
              <a:xfrm>
                <a:off x="3224705" y="2973429"/>
                <a:ext cx="4086746" cy="2988613"/>
              </a:xfrm>
              <a:custGeom>
                <a:avLst/>
                <a:gdLst>
                  <a:gd name="connsiteX0" fmla="*/ 3021857 w 4086746"/>
                  <a:gd name="connsiteY0" fmla="*/ 21082 h 2988613"/>
                  <a:gd name="connsiteX1" fmla="*/ 1949714 w 4086746"/>
                  <a:gd name="connsiteY1" fmla="*/ 140561 h 2988613"/>
                  <a:gd name="connsiteX2" fmla="*/ 17620 w 4086746"/>
                  <a:gd name="connsiteY2" fmla="*/ 326759 h 2988613"/>
                  <a:gd name="connsiteX3" fmla="*/ 1162808 w 4086746"/>
                  <a:gd name="connsiteY3" fmla="*/ 2051134 h 2988613"/>
                  <a:gd name="connsiteX4" fmla="*/ 2164991 w 4086746"/>
                  <a:gd name="connsiteY4" fmla="*/ 2546943 h 2988613"/>
                  <a:gd name="connsiteX5" fmla="*/ 3449172 w 4086746"/>
                  <a:gd name="connsiteY5" fmla="*/ 2922733 h 2988613"/>
                  <a:gd name="connsiteX6" fmla="*/ 3803596 w 4086746"/>
                  <a:gd name="connsiteY6" fmla="*/ 1748620 h 2988613"/>
                  <a:gd name="connsiteX7" fmla="*/ 3997970 w 4086746"/>
                  <a:gd name="connsiteY7" fmla="*/ 855117 h 2988613"/>
                  <a:gd name="connsiteX8" fmla="*/ 3021857 w 4086746"/>
                  <a:gd name="connsiteY8" fmla="*/ 21160 h 2988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6746" h="2988613">
                    <a:moveTo>
                      <a:pt x="3021857" y="21082"/>
                    </a:moveTo>
                    <a:cubicBezTo>
                      <a:pt x="2524275" y="34658"/>
                      <a:pt x="2338926" y="-88523"/>
                      <a:pt x="1949714" y="140561"/>
                    </a:cubicBezTo>
                    <a:cubicBezTo>
                      <a:pt x="1650594" y="316654"/>
                      <a:pt x="147126" y="-24349"/>
                      <a:pt x="17620" y="326759"/>
                    </a:cubicBezTo>
                    <a:cubicBezTo>
                      <a:pt x="-151995" y="786777"/>
                      <a:pt x="953624" y="1647191"/>
                      <a:pt x="1162808" y="2051134"/>
                    </a:cubicBezTo>
                    <a:cubicBezTo>
                      <a:pt x="1489850" y="2682542"/>
                      <a:pt x="1817123" y="2418671"/>
                      <a:pt x="2164991" y="2546943"/>
                    </a:cubicBezTo>
                    <a:cubicBezTo>
                      <a:pt x="2623313" y="2715940"/>
                      <a:pt x="3059267" y="3153822"/>
                      <a:pt x="3449172" y="2922733"/>
                    </a:cubicBezTo>
                    <a:cubicBezTo>
                      <a:pt x="3746441" y="2746562"/>
                      <a:pt x="3674708" y="2098108"/>
                      <a:pt x="3803596" y="1748620"/>
                    </a:cubicBezTo>
                    <a:cubicBezTo>
                      <a:pt x="3970588" y="1295698"/>
                      <a:pt x="4222272" y="1242631"/>
                      <a:pt x="3997970" y="855117"/>
                    </a:cubicBezTo>
                    <a:cubicBezTo>
                      <a:pt x="3822185" y="551446"/>
                      <a:pt x="3400038" y="10824"/>
                      <a:pt x="3021857" y="211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7FA4AD44-CE80-82B8-4E07-5077FB6C0366}"/>
                  </a:ext>
                </a:extLst>
              </p:cNvPr>
              <p:cNvSpPr/>
              <p:nvPr/>
            </p:nvSpPr>
            <p:spPr>
              <a:xfrm>
                <a:off x="3285345" y="2945042"/>
                <a:ext cx="4163768" cy="2979360"/>
              </a:xfrm>
              <a:custGeom>
                <a:avLst/>
                <a:gdLst>
                  <a:gd name="connsiteX0" fmla="*/ 3793170 w 4163768"/>
                  <a:gd name="connsiteY0" fmla="*/ 1782639 h 2979360"/>
                  <a:gd name="connsiteX1" fmla="*/ 4094681 w 4163768"/>
                  <a:gd name="connsiteY1" fmla="*/ 868155 h 2979360"/>
                  <a:gd name="connsiteX2" fmla="*/ 2987366 w 4163768"/>
                  <a:gd name="connsiteY2" fmla="*/ 28 h 2979360"/>
                  <a:gd name="connsiteX3" fmla="*/ 1885912 w 4163768"/>
                  <a:gd name="connsiteY3" fmla="*/ 197641 h 2979360"/>
                  <a:gd name="connsiteX4" fmla="*/ 15678 w 4163768"/>
                  <a:gd name="connsiteY4" fmla="*/ 437446 h 2979360"/>
                  <a:gd name="connsiteX5" fmla="*/ 1132404 w 4163768"/>
                  <a:gd name="connsiteY5" fmla="*/ 2066409 h 2979360"/>
                  <a:gd name="connsiteX6" fmla="*/ 2140990 w 4163768"/>
                  <a:gd name="connsiteY6" fmla="*/ 2635648 h 2979360"/>
                  <a:gd name="connsiteX7" fmla="*/ 3375266 w 4163768"/>
                  <a:gd name="connsiteY7" fmla="*/ 2903143 h 2979360"/>
                  <a:gd name="connsiteX8" fmla="*/ 3793247 w 4163768"/>
                  <a:gd name="connsiteY8" fmla="*/ 1782639 h 2979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63768" h="2979360">
                    <a:moveTo>
                      <a:pt x="3793170" y="1782639"/>
                    </a:moveTo>
                    <a:cubicBezTo>
                      <a:pt x="3948438" y="1338818"/>
                      <a:pt x="4315975" y="1250115"/>
                      <a:pt x="4094681" y="868155"/>
                    </a:cubicBezTo>
                    <a:cubicBezTo>
                      <a:pt x="3912417" y="553917"/>
                      <a:pt x="3371717" y="-4523"/>
                      <a:pt x="2987366" y="28"/>
                    </a:cubicBezTo>
                    <a:cubicBezTo>
                      <a:pt x="2503822" y="5735"/>
                      <a:pt x="2269030" y="-27894"/>
                      <a:pt x="1885912" y="197641"/>
                    </a:cubicBezTo>
                    <a:cubicBezTo>
                      <a:pt x="1575531" y="380291"/>
                      <a:pt x="141019" y="77932"/>
                      <a:pt x="15678" y="437446"/>
                    </a:cubicBezTo>
                    <a:cubicBezTo>
                      <a:pt x="-141132" y="887207"/>
                      <a:pt x="925072" y="1670179"/>
                      <a:pt x="1132404" y="2066409"/>
                    </a:cubicBezTo>
                    <a:cubicBezTo>
                      <a:pt x="1452196" y="2678688"/>
                      <a:pt x="1784560" y="2511310"/>
                      <a:pt x="2140990" y="2635648"/>
                    </a:cubicBezTo>
                    <a:cubicBezTo>
                      <a:pt x="2589439" y="2792072"/>
                      <a:pt x="2991608" y="3130376"/>
                      <a:pt x="3375266" y="2903143"/>
                    </a:cubicBezTo>
                    <a:cubicBezTo>
                      <a:pt x="3683333" y="2720725"/>
                      <a:pt x="3668215" y="2140071"/>
                      <a:pt x="3793247" y="178263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15FF5343-026B-053C-497E-56AA05043B63}"/>
                  </a:ext>
                </a:extLst>
              </p:cNvPr>
              <p:cNvSpPr/>
              <p:nvPr/>
            </p:nvSpPr>
            <p:spPr>
              <a:xfrm>
                <a:off x="3345777" y="2895587"/>
                <a:ext cx="4247432" cy="2996098"/>
              </a:xfrm>
              <a:custGeom>
                <a:avLst/>
                <a:gdLst>
                  <a:gd name="connsiteX0" fmla="*/ 3783028 w 4247432"/>
                  <a:gd name="connsiteY0" fmla="*/ 1837724 h 2996098"/>
                  <a:gd name="connsiteX1" fmla="*/ 4191599 w 4247432"/>
                  <a:gd name="connsiteY1" fmla="*/ 902338 h 2996098"/>
                  <a:gd name="connsiteX2" fmla="*/ 2953081 w 4247432"/>
                  <a:gd name="connsiteY2" fmla="*/ 41 h 2996098"/>
                  <a:gd name="connsiteX3" fmla="*/ 1822318 w 4247432"/>
                  <a:gd name="connsiteY3" fmla="*/ 275790 h 2996098"/>
                  <a:gd name="connsiteX4" fmla="*/ 13867 w 4247432"/>
                  <a:gd name="connsiteY4" fmla="*/ 569202 h 2996098"/>
                  <a:gd name="connsiteX5" fmla="*/ 1102053 w 4247432"/>
                  <a:gd name="connsiteY5" fmla="*/ 2102675 h 2996098"/>
                  <a:gd name="connsiteX6" fmla="*/ 2117041 w 4247432"/>
                  <a:gd name="connsiteY6" fmla="*/ 2745420 h 2996098"/>
                  <a:gd name="connsiteX7" fmla="*/ 3301335 w 4247432"/>
                  <a:gd name="connsiteY7" fmla="*/ 2904699 h 2996098"/>
                  <a:gd name="connsiteX8" fmla="*/ 3782951 w 4247432"/>
                  <a:gd name="connsiteY8" fmla="*/ 1837724 h 299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47432" h="2996098">
                    <a:moveTo>
                      <a:pt x="3783028" y="1837724"/>
                    </a:moveTo>
                    <a:cubicBezTo>
                      <a:pt x="3926880" y="1403159"/>
                      <a:pt x="4410039" y="1278667"/>
                      <a:pt x="4191599" y="902338"/>
                    </a:cubicBezTo>
                    <a:cubicBezTo>
                      <a:pt x="4002856" y="577532"/>
                      <a:pt x="3343681" y="1506"/>
                      <a:pt x="2953081" y="41"/>
                    </a:cubicBezTo>
                    <a:cubicBezTo>
                      <a:pt x="2483575" y="-1733"/>
                      <a:pt x="2199342" y="53802"/>
                      <a:pt x="1822318" y="275790"/>
                    </a:cubicBezTo>
                    <a:cubicBezTo>
                      <a:pt x="1500752" y="465073"/>
                      <a:pt x="134888" y="201125"/>
                      <a:pt x="13867" y="569202"/>
                    </a:cubicBezTo>
                    <a:cubicBezTo>
                      <a:pt x="-130603" y="1008626"/>
                      <a:pt x="896726" y="1714158"/>
                      <a:pt x="1102053" y="2102675"/>
                    </a:cubicBezTo>
                    <a:cubicBezTo>
                      <a:pt x="1414672" y="2695824"/>
                      <a:pt x="1751896" y="2625171"/>
                      <a:pt x="2117041" y="2745420"/>
                    </a:cubicBezTo>
                    <a:cubicBezTo>
                      <a:pt x="2555309" y="2889658"/>
                      <a:pt x="2924002" y="3128075"/>
                      <a:pt x="3301335" y="2904699"/>
                    </a:cubicBezTo>
                    <a:cubicBezTo>
                      <a:pt x="3620201" y="2716033"/>
                      <a:pt x="3661930" y="2203256"/>
                      <a:pt x="3782951" y="183772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1835EFDB-6CA5-D2EF-E463-C6879F6A28A8}"/>
                  </a:ext>
                </a:extLst>
              </p:cNvPr>
              <p:cNvSpPr/>
              <p:nvPr/>
            </p:nvSpPr>
            <p:spPr>
              <a:xfrm>
                <a:off x="3406170" y="2845727"/>
                <a:ext cx="4334890" cy="3021757"/>
              </a:xfrm>
              <a:custGeom>
                <a:avLst/>
                <a:gdLst>
                  <a:gd name="connsiteX0" fmla="*/ 3772848 w 4334890"/>
                  <a:gd name="connsiteY0" fmla="*/ 1893214 h 3021757"/>
                  <a:gd name="connsiteX1" fmla="*/ 4288557 w 4334890"/>
                  <a:gd name="connsiteY1" fmla="*/ 936924 h 3021757"/>
                  <a:gd name="connsiteX2" fmla="*/ 2918837 w 4334890"/>
                  <a:gd name="connsiteY2" fmla="*/ 381 h 3021757"/>
                  <a:gd name="connsiteX3" fmla="*/ 1758762 w 4334890"/>
                  <a:gd name="connsiteY3" fmla="*/ 354188 h 3021757"/>
                  <a:gd name="connsiteX4" fmla="*/ 12172 w 4334890"/>
                  <a:gd name="connsiteY4" fmla="*/ 701207 h 3021757"/>
                  <a:gd name="connsiteX5" fmla="*/ 1071897 w 4334890"/>
                  <a:gd name="connsiteY5" fmla="*/ 2139267 h 3021757"/>
                  <a:gd name="connsiteX6" fmla="*/ 2093286 w 4334890"/>
                  <a:gd name="connsiteY6" fmla="*/ 2855443 h 3021757"/>
                  <a:gd name="connsiteX7" fmla="*/ 3227676 w 4334890"/>
                  <a:gd name="connsiteY7" fmla="*/ 2906427 h 3021757"/>
                  <a:gd name="connsiteX8" fmla="*/ 3772926 w 4334890"/>
                  <a:gd name="connsiteY8" fmla="*/ 1893060 h 3021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34890" h="3021757">
                    <a:moveTo>
                      <a:pt x="3772848" y="1893214"/>
                    </a:moveTo>
                    <a:cubicBezTo>
                      <a:pt x="3905671" y="1468137"/>
                      <a:pt x="4503989" y="1307701"/>
                      <a:pt x="4288557" y="936924"/>
                    </a:cubicBezTo>
                    <a:cubicBezTo>
                      <a:pt x="4093411" y="601629"/>
                      <a:pt x="3315684" y="8094"/>
                      <a:pt x="2918837" y="381"/>
                    </a:cubicBezTo>
                    <a:cubicBezTo>
                      <a:pt x="2463446" y="-8412"/>
                      <a:pt x="2129770" y="135826"/>
                      <a:pt x="1758762" y="354188"/>
                    </a:cubicBezTo>
                    <a:cubicBezTo>
                      <a:pt x="1425935" y="550027"/>
                      <a:pt x="128642" y="324415"/>
                      <a:pt x="12172" y="701207"/>
                    </a:cubicBezTo>
                    <a:cubicBezTo>
                      <a:pt x="-120342" y="1129987"/>
                      <a:pt x="868421" y="1758386"/>
                      <a:pt x="1071897" y="2139267"/>
                    </a:cubicBezTo>
                    <a:cubicBezTo>
                      <a:pt x="1377265" y="2713288"/>
                      <a:pt x="1719270" y="2739667"/>
                      <a:pt x="2093286" y="2855443"/>
                    </a:cubicBezTo>
                    <a:cubicBezTo>
                      <a:pt x="2521218" y="2987957"/>
                      <a:pt x="2856591" y="3126024"/>
                      <a:pt x="3227676" y="2906427"/>
                    </a:cubicBezTo>
                    <a:cubicBezTo>
                      <a:pt x="3557340" y="2711514"/>
                      <a:pt x="3656147" y="2266690"/>
                      <a:pt x="3772926" y="18930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D65DE81-8455-60B7-E266-FCF82994D70D}"/>
                  </a:ext>
                </a:extLst>
              </p:cNvPr>
              <p:cNvSpPr/>
              <p:nvPr/>
            </p:nvSpPr>
            <p:spPr>
              <a:xfrm>
                <a:off x="3466359" y="2795931"/>
                <a:ext cx="4425026" cy="3063471"/>
              </a:xfrm>
              <a:custGeom>
                <a:avLst/>
                <a:gdLst>
                  <a:gd name="connsiteX0" fmla="*/ 3762949 w 4425026"/>
                  <a:gd name="connsiteY0" fmla="*/ 1948641 h 3063471"/>
                  <a:gd name="connsiteX1" fmla="*/ 4385718 w 4425026"/>
                  <a:gd name="connsiteY1" fmla="*/ 971448 h 3063471"/>
                  <a:gd name="connsiteX2" fmla="*/ 2884795 w 4425026"/>
                  <a:gd name="connsiteY2" fmla="*/ 735 h 3063471"/>
                  <a:gd name="connsiteX3" fmla="*/ 1695410 w 4425026"/>
                  <a:gd name="connsiteY3" fmla="*/ 432677 h 3063471"/>
                  <a:gd name="connsiteX4" fmla="*/ 10603 w 4425026"/>
                  <a:gd name="connsiteY4" fmla="*/ 833304 h 3063471"/>
                  <a:gd name="connsiteX5" fmla="*/ 1041789 w 4425026"/>
                  <a:gd name="connsiteY5" fmla="*/ 2175951 h 3063471"/>
                  <a:gd name="connsiteX6" fmla="*/ 2069581 w 4425026"/>
                  <a:gd name="connsiteY6" fmla="*/ 2965634 h 3063471"/>
                  <a:gd name="connsiteX7" fmla="*/ 3154065 w 4425026"/>
                  <a:gd name="connsiteY7" fmla="*/ 2908401 h 3063471"/>
                  <a:gd name="connsiteX8" fmla="*/ 3762949 w 4425026"/>
                  <a:gd name="connsiteY8" fmla="*/ 1948564 h 3063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25026" h="3063471">
                    <a:moveTo>
                      <a:pt x="3762949" y="1948641"/>
                    </a:moveTo>
                    <a:cubicBezTo>
                      <a:pt x="3885128" y="1533127"/>
                      <a:pt x="4598295" y="1336594"/>
                      <a:pt x="4385718" y="971448"/>
                    </a:cubicBezTo>
                    <a:cubicBezTo>
                      <a:pt x="4184094" y="625586"/>
                      <a:pt x="3287967" y="14927"/>
                      <a:pt x="2884795" y="735"/>
                    </a:cubicBezTo>
                    <a:cubicBezTo>
                      <a:pt x="2443596" y="-14769"/>
                      <a:pt x="2060325" y="217863"/>
                      <a:pt x="1695410" y="432677"/>
                    </a:cubicBezTo>
                    <a:cubicBezTo>
                      <a:pt x="1351399" y="635150"/>
                      <a:pt x="122214" y="447718"/>
                      <a:pt x="10603" y="833304"/>
                    </a:cubicBezTo>
                    <a:cubicBezTo>
                      <a:pt x="-110418" y="1251362"/>
                      <a:pt x="840318" y="1802706"/>
                      <a:pt x="1041789" y="2175951"/>
                    </a:cubicBezTo>
                    <a:cubicBezTo>
                      <a:pt x="1339983" y="2730842"/>
                      <a:pt x="1686617" y="2854485"/>
                      <a:pt x="2069581" y="2965634"/>
                    </a:cubicBezTo>
                    <a:cubicBezTo>
                      <a:pt x="2487022" y="3086809"/>
                      <a:pt x="2789228" y="3124141"/>
                      <a:pt x="3154065" y="2908401"/>
                    </a:cubicBezTo>
                    <a:cubicBezTo>
                      <a:pt x="3494528" y="2707240"/>
                      <a:pt x="3650644" y="2330524"/>
                      <a:pt x="3762949" y="19485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B23999FD-8B52-FEDD-F227-66E2CFD28430}"/>
                  </a:ext>
                </a:extLst>
              </p:cNvPr>
              <p:cNvSpPr/>
              <p:nvPr/>
            </p:nvSpPr>
            <p:spPr>
              <a:xfrm>
                <a:off x="3526436" y="2746166"/>
                <a:ext cx="4516838" cy="3129085"/>
              </a:xfrm>
              <a:custGeom>
                <a:avLst/>
                <a:gdLst>
                  <a:gd name="connsiteX0" fmla="*/ 3753086 w 4516838"/>
                  <a:gd name="connsiteY0" fmla="*/ 2004037 h 3129085"/>
                  <a:gd name="connsiteX1" fmla="*/ 4482992 w 4516838"/>
                  <a:gd name="connsiteY1" fmla="*/ 1005942 h 3129085"/>
                  <a:gd name="connsiteX2" fmla="*/ 2850866 w 4516838"/>
                  <a:gd name="connsiteY2" fmla="*/ 1059 h 3129085"/>
                  <a:gd name="connsiteX3" fmla="*/ 1632171 w 4516838"/>
                  <a:gd name="connsiteY3" fmla="*/ 511136 h 3129085"/>
                  <a:gd name="connsiteX4" fmla="*/ 9147 w 4516838"/>
                  <a:gd name="connsiteY4" fmla="*/ 965447 h 3129085"/>
                  <a:gd name="connsiteX5" fmla="*/ 1011871 w 4516838"/>
                  <a:gd name="connsiteY5" fmla="*/ 2212681 h 3129085"/>
                  <a:gd name="connsiteX6" fmla="*/ 2046065 w 4516838"/>
                  <a:gd name="connsiteY6" fmla="*/ 3075871 h 3129085"/>
                  <a:gd name="connsiteX7" fmla="*/ 3080644 w 4516838"/>
                  <a:gd name="connsiteY7" fmla="*/ 2910345 h 3129085"/>
                  <a:gd name="connsiteX8" fmla="*/ 3753163 w 4516838"/>
                  <a:gd name="connsiteY8" fmla="*/ 2004114 h 3129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16838" h="3129085">
                    <a:moveTo>
                      <a:pt x="3753086" y="2004037"/>
                    </a:moveTo>
                    <a:cubicBezTo>
                      <a:pt x="3864928" y="1598166"/>
                      <a:pt x="4692561" y="1365534"/>
                      <a:pt x="4482992" y="1005942"/>
                    </a:cubicBezTo>
                    <a:cubicBezTo>
                      <a:pt x="4274888" y="649589"/>
                      <a:pt x="3260286" y="21962"/>
                      <a:pt x="2850866" y="1059"/>
                    </a:cubicBezTo>
                    <a:cubicBezTo>
                      <a:pt x="2423783" y="-20770"/>
                      <a:pt x="1990992" y="299870"/>
                      <a:pt x="1632171" y="511136"/>
                    </a:cubicBezTo>
                    <a:cubicBezTo>
                      <a:pt x="1276976" y="720166"/>
                      <a:pt x="115667" y="570837"/>
                      <a:pt x="9147" y="965447"/>
                    </a:cubicBezTo>
                    <a:cubicBezTo>
                      <a:pt x="-100767" y="1372553"/>
                      <a:pt x="812252" y="1847149"/>
                      <a:pt x="1011871" y="2212681"/>
                    </a:cubicBezTo>
                    <a:cubicBezTo>
                      <a:pt x="1302892" y="2748444"/>
                      <a:pt x="1654000" y="2969583"/>
                      <a:pt x="2046065" y="3075871"/>
                    </a:cubicBezTo>
                    <a:cubicBezTo>
                      <a:pt x="2452939" y="3186094"/>
                      <a:pt x="2721978" y="3122305"/>
                      <a:pt x="3080644" y="2910345"/>
                    </a:cubicBezTo>
                    <a:cubicBezTo>
                      <a:pt x="3431906" y="2702935"/>
                      <a:pt x="3645563" y="2394405"/>
                      <a:pt x="3753163" y="20041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0921516E-A6F7-82E6-6147-2E3647AAB137}"/>
                  </a:ext>
                </a:extLst>
              </p:cNvPr>
              <p:cNvSpPr/>
              <p:nvPr/>
            </p:nvSpPr>
            <p:spPr>
              <a:xfrm>
                <a:off x="3586413" y="2696421"/>
                <a:ext cx="4609879" cy="3215724"/>
              </a:xfrm>
              <a:custGeom>
                <a:avLst/>
                <a:gdLst>
                  <a:gd name="connsiteX0" fmla="*/ 3743322 w 4609879"/>
                  <a:gd name="connsiteY0" fmla="*/ 2059413 h 3215724"/>
                  <a:gd name="connsiteX1" fmla="*/ 4580365 w 4609879"/>
                  <a:gd name="connsiteY1" fmla="*/ 1040414 h 3215724"/>
                  <a:gd name="connsiteX2" fmla="*/ 2817037 w 4609879"/>
                  <a:gd name="connsiteY2" fmla="*/ 1361 h 3215724"/>
                  <a:gd name="connsiteX3" fmla="*/ 1568955 w 4609879"/>
                  <a:gd name="connsiteY3" fmla="*/ 589575 h 3215724"/>
                  <a:gd name="connsiteX4" fmla="*/ 7791 w 4609879"/>
                  <a:gd name="connsiteY4" fmla="*/ 1097493 h 3215724"/>
                  <a:gd name="connsiteX5" fmla="*/ 981976 w 4609879"/>
                  <a:gd name="connsiteY5" fmla="*/ 2249313 h 3215724"/>
                  <a:gd name="connsiteX6" fmla="*/ 2022571 w 4609879"/>
                  <a:gd name="connsiteY6" fmla="*/ 3185934 h 3215724"/>
                  <a:gd name="connsiteX7" fmla="*/ 3007169 w 4609879"/>
                  <a:gd name="connsiteY7" fmla="*/ 2912190 h 3215724"/>
                  <a:gd name="connsiteX8" fmla="*/ 3743322 w 4609879"/>
                  <a:gd name="connsiteY8" fmla="*/ 2059567 h 3215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09879" h="3215724">
                    <a:moveTo>
                      <a:pt x="3743322" y="2059413"/>
                    </a:moveTo>
                    <a:cubicBezTo>
                      <a:pt x="3845138" y="1663337"/>
                      <a:pt x="4786926" y="1394376"/>
                      <a:pt x="4580365" y="1040414"/>
                    </a:cubicBezTo>
                    <a:cubicBezTo>
                      <a:pt x="4365783" y="673495"/>
                      <a:pt x="3232782" y="29284"/>
                      <a:pt x="2817037" y="1361"/>
                    </a:cubicBezTo>
                    <a:cubicBezTo>
                      <a:pt x="2401292" y="-26560"/>
                      <a:pt x="1921836" y="381934"/>
                      <a:pt x="1568955" y="589575"/>
                    </a:cubicBezTo>
                    <a:cubicBezTo>
                      <a:pt x="1202498" y="805237"/>
                      <a:pt x="108757" y="693858"/>
                      <a:pt x="7791" y="1097493"/>
                    </a:cubicBezTo>
                    <a:cubicBezTo>
                      <a:pt x="-91324" y="1493568"/>
                      <a:pt x="784362" y="1891418"/>
                      <a:pt x="981976" y="2249313"/>
                    </a:cubicBezTo>
                    <a:cubicBezTo>
                      <a:pt x="1265746" y="2765947"/>
                      <a:pt x="1621328" y="3084968"/>
                      <a:pt x="2022571" y="3185934"/>
                    </a:cubicBezTo>
                    <a:cubicBezTo>
                      <a:pt x="2418724" y="3285589"/>
                      <a:pt x="2654827" y="3120217"/>
                      <a:pt x="3007169" y="2912190"/>
                    </a:cubicBezTo>
                    <a:cubicBezTo>
                      <a:pt x="3369229" y="2698533"/>
                      <a:pt x="3640813" y="2458265"/>
                      <a:pt x="3743322" y="205956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BF408323-199D-9A74-D369-72445AB2002D}"/>
                  </a:ext>
                </a:extLst>
              </p:cNvPr>
              <p:cNvSpPr/>
              <p:nvPr/>
            </p:nvSpPr>
            <p:spPr>
              <a:xfrm>
                <a:off x="3646345" y="2646648"/>
                <a:ext cx="4703818" cy="3313713"/>
              </a:xfrm>
              <a:custGeom>
                <a:avLst/>
                <a:gdLst>
                  <a:gd name="connsiteX0" fmla="*/ 3733681 w 4703818"/>
                  <a:gd name="connsiteY0" fmla="*/ 2114893 h 3313713"/>
                  <a:gd name="connsiteX1" fmla="*/ 4677784 w 4703818"/>
                  <a:gd name="connsiteY1" fmla="*/ 1074915 h 3313713"/>
                  <a:gd name="connsiteX2" fmla="*/ 2783330 w 4703818"/>
                  <a:gd name="connsiteY2" fmla="*/ 1615 h 3313713"/>
                  <a:gd name="connsiteX3" fmla="*/ 1505937 w 4703818"/>
                  <a:gd name="connsiteY3" fmla="*/ 667886 h 3313713"/>
                  <a:gd name="connsiteX4" fmla="*/ 6557 w 4703818"/>
                  <a:gd name="connsiteY4" fmla="*/ 1229411 h 3313713"/>
                  <a:gd name="connsiteX5" fmla="*/ 952280 w 4703818"/>
                  <a:gd name="connsiteY5" fmla="*/ 2285819 h 3313713"/>
                  <a:gd name="connsiteX6" fmla="*/ 1999200 w 4703818"/>
                  <a:gd name="connsiteY6" fmla="*/ 3295947 h 3313713"/>
                  <a:gd name="connsiteX7" fmla="*/ 2933893 w 4703818"/>
                  <a:gd name="connsiteY7" fmla="*/ 2913910 h 3313713"/>
                  <a:gd name="connsiteX8" fmla="*/ 3733681 w 4703818"/>
                  <a:gd name="connsiteY8" fmla="*/ 2114816 h 3313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03818" h="3313713">
                    <a:moveTo>
                      <a:pt x="3733681" y="2114893"/>
                    </a:moveTo>
                    <a:cubicBezTo>
                      <a:pt x="3825777" y="1728690"/>
                      <a:pt x="4881491" y="1423323"/>
                      <a:pt x="4677784" y="1074915"/>
                    </a:cubicBezTo>
                    <a:cubicBezTo>
                      <a:pt x="4456722" y="697428"/>
                      <a:pt x="3205245" y="37019"/>
                      <a:pt x="2783330" y="1615"/>
                    </a:cubicBezTo>
                    <a:cubicBezTo>
                      <a:pt x="2384478" y="-31860"/>
                      <a:pt x="1852725" y="463871"/>
                      <a:pt x="1505937" y="667886"/>
                    </a:cubicBezTo>
                    <a:cubicBezTo>
                      <a:pt x="1128296" y="890105"/>
                      <a:pt x="101738" y="816675"/>
                      <a:pt x="6557" y="1229411"/>
                    </a:cubicBezTo>
                    <a:cubicBezTo>
                      <a:pt x="-82223" y="1614457"/>
                      <a:pt x="756517" y="1935560"/>
                      <a:pt x="952280" y="2285819"/>
                    </a:cubicBezTo>
                    <a:cubicBezTo>
                      <a:pt x="1228877" y="2783324"/>
                      <a:pt x="1588778" y="3200611"/>
                      <a:pt x="1999200" y="3295947"/>
                    </a:cubicBezTo>
                    <a:cubicBezTo>
                      <a:pt x="2384478" y="3385421"/>
                      <a:pt x="2587799" y="3118157"/>
                      <a:pt x="2933893" y="2913910"/>
                    </a:cubicBezTo>
                    <a:cubicBezTo>
                      <a:pt x="3306752" y="2694082"/>
                      <a:pt x="3636494" y="2522076"/>
                      <a:pt x="3733681" y="2114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7717404-558A-CBCB-0EE3-C79AF45FD4C3}"/>
                  </a:ext>
                </a:extLst>
              </p:cNvPr>
              <p:cNvSpPr/>
              <p:nvPr/>
            </p:nvSpPr>
            <p:spPr>
              <a:xfrm>
                <a:off x="3706188" y="2596973"/>
                <a:ext cx="4798420" cy="3416920"/>
              </a:xfrm>
              <a:custGeom>
                <a:avLst/>
                <a:gdLst>
                  <a:gd name="connsiteX0" fmla="*/ 3724051 w 4798420"/>
                  <a:gd name="connsiteY0" fmla="*/ 2170199 h 3416920"/>
                  <a:gd name="connsiteX1" fmla="*/ 4775292 w 4798420"/>
                  <a:gd name="connsiteY1" fmla="*/ 1109318 h 3416920"/>
                  <a:gd name="connsiteX2" fmla="*/ 2749635 w 4798420"/>
                  <a:gd name="connsiteY2" fmla="*/ 1848 h 3416920"/>
                  <a:gd name="connsiteX3" fmla="*/ 1442932 w 4798420"/>
                  <a:gd name="connsiteY3" fmla="*/ 746255 h 3416920"/>
                  <a:gd name="connsiteX4" fmla="*/ 5412 w 4798420"/>
                  <a:gd name="connsiteY4" fmla="*/ 1361387 h 3416920"/>
                  <a:gd name="connsiteX5" fmla="*/ 922596 w 4798420"/>
                  <a:gd name="connsiteY5" fmla="*/ 2322304 h 3416920"/>
                  <a:gd name="connsiteX6" fmla="*/ 1975918 w 4798420"/>
                  <a:gd name="connsiteY6" fmla="*/ 3405863 h 3416920"/>
                  <a:gd name="connsiteX7" fmla="*/ 2860706 w 4798420"/>
                  <a:gd name="connsiteY7" fmla="*/ 2915608 h 3416920"/>
                  <a:gd name="connsiteX8" fmla="*/ 3724129 w 4798420"/>
                  <a:gd name="connsiteY8" fmla="*/ 2170122 h 3416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98420" h="3416920">
                    <a:moveTo>
                      <a:pt x="3724051" y="2170199"/>
                    </a:moveTo>
                    <a:cubicBezTo>
                      <a:pt x="3806815" y="1793946"/>
                      <a:pt x="4975991" y="1452172"/>
                      <a:pt x="4775292" y="1109318"/>
                    </a:cubicBezTo>
                    <a:cubicBezTo>
                      <a:pt x="4547751" y="721341"/>
                      <a:pt x="3177798" y="45042"/>
                      <a:pt x="2749635" y="1848"/>
                    </a:cubicBezTo>
                    <a:cubicBezTo>
                      <a:pt x="2364821" y="-36950"/>
                      <a:pt x="1783627" y="545787"/>
                      <a:pt x="1442932" y="746255"/>
                    </a:cubicBezTo>
                    <a:cubicBezTo>
                      <a:pt x="1054030" y="975107"/>
                      <a:pt x="94192" y="939472"/>
                      <a:pt x="5412" y="1361387"/>
                    </a:cubicBezTo>
                    <a:cubicBezTo>
                      <a:pt x="-73263" y="1735248"/>
                      <a:pt x="728761" y="1979759"/>
                      <a:pt x="922596" y="2322304"/>
                    </a:cubicBezTo>
                    <a:cubicBezTo>
                      <a:pt x="1191943" y="2800681"/>
                      <a:pt x="1556163" y="3316697"/>
                      <a:pt x="1975918" y="3405863"/>
                    </a:cubicBezTo>
                    <a:cubicBezTo>
                      <a:pt x="2350320" y="3485463"/>
                      <a:pt x="2520860" y="3115999"/>
                      <a:pt x="2860706" y="2915608"/>
                    </a:cubicBezTo>
                    <a:cubicBezTo>
                      <a:pt x="3244364" y="2689532"/>
                      <a:pt x="3632649" y="2585944"/>
                      <a:pt x="3724129" y="217012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368CEEDB-9AAD-AC1C-E2BF-2926A90373F2}"/>
                  </a:ext>
                </a:extLst>
              </p:cNvPr>
              <p:cNvSpPr/>
              <p:nvPr/>
            </p:nvSpPr>
            <p:spPr>
              <a:xfrm>
                <a:off x="3765757" y="2547325"/>
                <a:ext cx="4893698" cy="3522930"/>
              </a:xfrm>
              <a:custGeom>
                <a:avLst/>
                <a:gdLst>
                  <a:gd name="connsiteX0" fmla="*/ 3714695 w 4893698"/>
                  <a:gd name="connsiteY0" fmla="*/ 2225478 h 3522930"/>
                  <a:gd name="connsiteX1" fmla="*/ 4872995 w 4893698"/>
                  <a:gd name="connsiteY1" fmla="*/ 1143693 h 3522930"/>
                  <a:gd name="connsiteX2" fmla="*/ 2716137 w 4893698"/>
                  <a:gd name="connsiteY2" fmla="*/ 2054 h 3522930"/>
                  <a:gd name="connsiteX3" fmla="*/ 1380123 w 4893698"/>
                  <a:gd name="connsiteY3" fmla="*/ 824596 h 3522930"/>
                  <a:gd name="connsiteX4" fmla="*/ 4386 w 4893698"/>
                  <a:gd name="connsiteY4" fmla="*/ 1493335 h 3522930"/>
                  <a:gd name="connsiteX5" fmla="*/ 893031 w 4893698"/>
                  <a:gd name="connsiteY5" fmla="*/ 2358840 h 3522930"/>
                  <a:gd name="connsiteX6" fmla="*/ 1952756 w 4893698"/>
                  <a:gd name="connsiteY6" fmla="*/ 3515905 h 3522930"/>
                  <a:gd name="connsiteX7" fmla="*/ 2787562 w 4893698"/>
                  <a:gd name="connsiteY7" fmla="*/ 2917357 h 3522930"/>
                  <a:gd name="connsiteX8" fmla="*/ 3714541 w 4893698"/>
                  <a:gd name="connsiteY8" fmla="*/ 2225478 h 3522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93698" h="3522930">
                    <a:moveTo>
                      <a:pt x="3714695" y="2225478"/>
                    </a:moveTo>
                    <a:cubicBezTo>
                      <a:pt x="3788357" y="1859175"/>
                      <a:pt x="5070764" y="1480917"/>
                      <a:pt x="4872995" y="1143693"/>
                    </a:cubicBezTo>
                    <a:cubicBezTo>
                      <a:pt x="4639053" y="745149"/>
                      <a:pt x="3150470" y="53347"/>
                      <a:pt x="2716137" y="2054"/>
                    </a:cubicBezTo>
                    <a:cubicBezTo>
                      <a:pt x="2345360" y="-41757"/>
                      <a:pt x="1714801" y="627676"/>
                      <a:pt x="1380123" y="824596"/>
                    </a:cubicBezTo>
                    <a:cubicBezTo>
                      <a:pt x="980036" y="1060081"/>
                      <a:pt x="86455" y="1062164"/>
                      <a:pt x="4386" y="1493335"/>
                    </a:cubicBezTo>
                    <a:cubicBezTo>
                      <a:pt x="-64647" y="1856012"/>
                      <a:pt x="701202" y="2023930"/>
                      <a:pt x="893031" y="2358840"/>
                    </a:cubicBezTo>
                    <a:cubicBezTo>
                      <a:pt x="1155205" y="2818087"/>
                      <a:pt x="1523590" y="3433219"/>
                      <a:pt x="1952756" y="3515905"/>
                    </a:cubicBezTo>
                    <a:cubicBezTo>
                      <a:pt x="2316282" y="3585942"/>
                      <a:pt x="2454040" y="3113968"/>
                      <a:pt x="2787562" y="2917357"/>
                    </a:cubicBezTo>
                    <a:cubicBezTo>
                      <a:pt x="3182018" y="2685033"/>
                      <a:pt x="3629232" y="2649938"/>
                      <a:pt x="3714541" y="22254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CD6AECBE-A917-D7EA-0B3F-9C91E95B7A94}"/>
                  </a:ext>
                </a:extLst>
              </p:cNvPr>
              <p:cNvSpPr/>
              <p:nvPr/>
            </p:nvSpPr>
            <p:spPr>
              <a:xfrm>
                <a:off x="3825389" y="2497697"/>
                <a:ext cx="4989429" cy="3630406"/>
              </a:xfrm>
              <a:custGeom>
                <a:avLst/>
                <a:gdLst>
                  <a:gd name="connsiteX0" fmla="*/ 3705354 w 4989429"/>
                  <a:gd name="connsiteY0" fmla="*/ 2280737 h 3630406"/>
                  <a:gd name="connsiteX1" fmla="*/ 4970792 w 4989429"/>
                  <a:gd name="connsiteY1" fmla="*/ 1178049 h 3630406"/>
                  <a:gd name="connsiteX2" fmla="*/ 2682730 w 4989429"/>
                  <a:gd name="connsiteY2" fmla="*/ 2241 h 3630406"/>
                  <a:gd name="connsiteX3" fmla="*/ 1317406 w 4989429"/>
                  <a:gd name="connsiteY3" fmla="*/ 902918 h 3630406"/>
                  <a:gd name="connsiteX4" fmla="*/ 3453 w 4989429"/>
                  <a:gd name="connsiteY4" fmla="*/ 1625341 h 3630406"/>
                  <a:gd name="connsiteX5" fmla="*/ 863635 w 4989429"/>
                  <a:gd name="connsiteY5" fmla="*/ 2395433 h 3630406"/>
                  <a:gd name="connsiteX6" fmla="*/ 1929762 w 4989429"/>
                  <a:gd name="connsiteY6" fmla="*/ 3625929 h 3630406"/>
                  <a:gd name="connsiteX7" fmla="*/ 2714663 w 4989429"/>
                  <a:gd name="connsiteY7" fmla="*/ 2919163 h 3630406"/>
                  <a:gd name="connsiteX8" fmla="*/ 3705277 w 4989429"/>
                  <a:gd name="connsiteY8" fmla="*/ 2280814 h 3630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89429" h="3630406">
                    <a:moveTo>
                      <a:pt x="3705354" y="2280737"/>
                    </a:moveTo>
                    <a:cubicBezTo>
                      <a:pt x="3770145" y="1924384"/>
                      <a:pt x="5165629" y="1509720"/>
                      <a:pt x="4970792" y="1178049"/>
                    </a:cubicBezTo>
                    <a:cubicBezTo>
                      <a:pt x="4730370" y="769015"/>
                      <a:pt x="3123080" y="62173"/>
                      <a:pt x="2682730" y="2241"/>
                    </a:cubicBezTo>
                    <a:cubicBezTo>
                      <a:pt x="2325838" y="-46353"/>
                      <a:pt x="1645991" y="709546"/>
                      <a:pt x="1317406" y="902918"/>
                    </a:cubicBezTo>
                    <a:cubicBezTo>
                      <a:pt x="906058" y="1144960"/>
                      <a:pt x="78271" y="1184760"/>
                      <a:pt x="3453" y="1625341"/>
                    </a:cubicBezTo>
                    <a:cubicBezTo>
                      <a:pt x="-56171" y="1976757"/>
                      <a:pt x="673658" y="2068236"/>
                      <a:pt x="863635" y="2395433"/>
                    </a:cubicBezTo>
                    <a:cubicBezTo>
                      <a:pt x="1118636" y="2835628"/>
                      <a:pt x="1491186" y="3550339"/>
                      <a:pt x="1929762" y="3625929"/>
                    </a:cubicBezTo>
                    <a:cubicBezTo>
                      <a:pt x="2282335" y="3686709"/>
                      <a:pt x="2387313" y="3111917"/>
                      <a:pt x="2714663" y="2919163"/>
                    </a:cubicBezTo>
                    <a:cubicBezTo>
                      <a:pt x="3119918" y="2680592"/>
                      <a:pt x="3626525" y="2714067"/>
                      <a:pt x="3705277" y="22808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1BA4873-B349-ABDF-4B36-05892313EADA}"/>
                  </a:ext>
                </a:extLst>
              </p:cNvPr>
              <p:cNvSpPr/>
              <p:nvPr/>
            </p:nvSpPr>
            <p:spPr>
              <a:xfrm>
                <a:off x="3884910" y="2448010"/>
                <a:ext cx="5085470" cy="3738674"/>
              </a:xfrm>
              <a:custGeom>
                <a:avLst/>
                <a:gdLst>
                  <a:gd name="connsiteX0" fmla="*/ 5068621 w 5085470"/>
                  <a:gd name="connsiteY0" fmla="*/ 1212464 h 3738674"/>
                  <a:gd name="connsiteX1" fmla="*/ 2649357 w 5085470"/>
                  <a:gd name="connsiteY1" fmla="*/ 2408 h 3738674"/>
                  <a:gd name="connsiteX2" fmla="*/ 1254723 w 5085470"/>
                  <a:gd name="connsiteY2" fmla="*/ 981143 h 3738674"/>
                  <a:gd name="connsiteX3" fmla="*/ 2629 w 5085470"/>
                  <a:gd name="connsiteY3" fmla="*/ 1757174 h 3738674"/>
                  <a:gd name="connsiteX4" fmla="*/ 834273 w 5085470"/>
                  <a:gd name="connsiteY4" fmla="*/ 2431853 h 3738674"/>
                  <a:gd name="connsiteX5" fmla="*/ 1906801 w 5085470"/>
                  <a:gd name="connsiteY5" fmla="*/ 3735856 h 3738674"/>
                  <a:gd name="connsiteX6" fmla="*/ 2641798 w 5085470"/>
                  <a:gd name="connsiteY6" fmla="*/ 2920796 h 3738674"/>
                  <a:gd name="connsiteX7" fmla="*/ 3696046 w 5085470"/>
                  <a:gd name="connsiteY7" fmla="*/ 2336054 h 3738674"/>
                  <a:gd name="connsiteX8" fmla="*/ 5068621 w 5085470"/>
                  <a:gd name="connsiteY8" fmla="*/ 1212464 h 373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5470" h="3738674">
                    <a:moveTo>
                      <a:pt x="5068621" y="1212464"/>
                    </a:moveTo>
                    <a:cubicBezTo>
                      <a:pt x="4821720" y="792863"/>
                      <a:pt x="3095646" y="71519"/>
                      <a:pt x="2649357" y="2408"/>
                    </a:cubicBezTo>
                    <a:cubicBezTo>
                      <a:pt x="2306348" y="-50736"/>
                      <a:pt x="1577214" y="791397"/>
                      <a:pt x="1254723" y="981143"/>
                    </a:cubicBezTo>
                    <a:cubicBezTo>
                      <a:pt x="832190" y="1229819"/>
                      <a:pt x="69503" y="1307260"/>
                      <a:pt x="2629" y="1757174"/>
                    </a:cubicBezTo>
                    <a:cubicBezTo>
                      <a:pt x="-47970" y="2097406"/>
                      <a:pt x="646301" y="2112292"/>
                      <a:pt x="834273" y="2431853"/>
                    </a:cubicBezTo>
                    <a:cubicBezTo>
                      <a:pt x="1082023" y="2852919"/>
                      <a:pt x="1458738" y="3667825"/>
                      <a:pt x="1906801" y="3735856"/>
                    </a:cubicBezTo>
                    <a:cubicBezTo>
                      <a:pt x="2248499" y="3787689"/>
                      <a:pt x="2320695" y="3109771"/>
                      <a:pt x="2641798" y="2920796"/>
                    </a:cubicBezTo>
                    <a:cubicBezTo>
                      <a:pt x="3057851" y="2675977"/>
                      <a:pt x="3624313" y="2778024"/>
                      <a:pt x="3696046" y="2336054"/>
                    </a:cubicBezTo>
                    <a:cubicBezTo>
                      <a:pt x="3752276" y="1989652"/>
                      <a:pt x="5260450" y="1538503"/>
                      <a:pt x="5068621" y="12124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72" name="Graphic 5">
              <a:extLst>
                <a:ext uri="{FF2B5EF4-FFF2-40B4-BE49-F238E27FC236}">
                  <a16:creationId xmlns:a16="http://schemas.microsoft.com/office/drawing/2014/main" id="{A4B04FEE-CE26-AD27-11AD-1E99F475AD67}"/>
                </a:ext>
              </a:extLst>
            </p:cNvPr>
            <p:cNvGrpSpPr/>
            <p:nvPr/>
          </p:nvGrpSpPr>
          <p:grpSpPr>
            <a:xfrm rot="753948">
              <a:off x="-682780" y="-299489"/>
              <a:ext cx="5854605" cy="7484643"/>
              <a:chOff x="4061078" y="1549502"/>
              <a:chExt cx="3873961" cy="4952549"/>
            </a:xfrm>
            <a:noFill/>
          </p:grpSpPr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DE5016EA-3A4B-D5C7-DE31-A9BA5A6CDCCF}"/>
                  </a:ext>
                </a:extLst>
              </p:cNvPr>
              <p:cNvSpPr/>
              <p:nvPr/>
            </p:nvSpPr>
            <p:spPr>
              <a:xfrm>
                <a:off x="4475868" y="1549502"/>
                <a:ext cx="3007008" cy="4952549"/>
              </a:xfrm>
              <a:custGeom>
                <a:avLst/>
                <a:gdLst>
                  <a:gd name="connsiteX0" fmla="*/ 2976817 w 3007008"/>
                  <a:gd name="connsiteY0" fmla="*/ 2669180 h 4952549"/>
                  <a:gd name="connsiteX1" fmla="*/ 2432801 w 3007008"/>
                  <a:gd name="connsiteY1" fmla="*/ 1308330 h 4952549"/>
                  <a:gd name="connsiteX2" fmla="*/ 1795840 w 3007008"/>
                  <a:gd name="connsiteY2" fmla="*/ 7 h 4952549"/>
                  <a:gd name="connsiteX3" fmla="*/ 437072 w 3007008"/>
                  <a:gd name="connsiteY3" fmla="*/ 1607682 h 4952549"/>
                  <a:gd name="connsiteX4" fmla="*/ 310112 w 3007008"/>
                  <a:gd name="connsiteY4" fmla="*/ 2718545 h 4952549"/>
                  <a:gd name="connsiteX5" fmla="*/ 413007 w 3007008"/>
                  <a:gd name="connsiteY5" fmla="*/ 3875302 h 4952549"/>
                  <a:gd name="connsiteX6" fmla="*/ 1776248 w 3007008"/>
                  <a:gd name="connsiteY6" fmla="*/ 4952536 h 4952549"/>
                  <a:gd name="connsiteX7" fmla="*/ 2522815 w 3007008"/>
                  <a:gd name="connsiteY7" fmla="*/ 3870057 h 4952549"/>
                  <a:gd name="connsiteX8" fmla="*/ 2976817 w 3007008"/>
                  <a:gd name="connsiteY8" fmla="*/ 2669180 h 4952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07008" h="4952549">
                    <a:moveTo>
                      <a:pt x="2976817" y="2669180"/>
                    </a:moveTo>
                    <a:cubicBezTo>
                      <a:pt x="2795478" y="2205613"/>
                      <a:pt x="2780206" y="1596883"/>
                      <a:pt x="2432801" y="1308330"/>
                    </a:cubicBezTo>
                    <a:cubicBezTo>
                      <a:pt x="2165768" y="1086497"/>
                      <a:pt x="2170087" y="2861"/>
                      <a:pt x="1795840" y="7"/>
                    </a:cubicBezTo>
                    <a:cubicBezTo>
                      <a:pt x="1305585" y="-3772"/>
                      <a:pt x="857599" y="1434442"/>
                      <a:pt x="437072" y="1607682"/>
                    </a:cubicBezTo>
                    <a:cubicBezTo>
                      <a:pt x="-439463" y="1968739"/>
                      <a:pt x="265838" y="2328563"/>
                      <a:pt x="310112" y="2718545"/>
                    </a:cubicBezTo>
                    <a:cubicBezTo>
                      <a:pt x="365185" y="3203940"/>
                      <a:pt x="63519" y="3586749"/>
                      <a:pt x="413007" y="3875302"/>
                    </a:cubicBezTo>
                    <a:cubicBezTo>
                      <a:pt x="679500" y="4095361"/>
                      <a:pt x="1403775" y="4949682"/>
                      <a:pt x="1776248" y="4952536"/>
                    </a:cubicBezTo>
                    <a:cubicBezTo>
                      <a:pt x="2258944" y="4956238"/>
                      <a:pt x="2234184" y="4212294"/>
                      <a:pt x="2522815" y="3870057"/>
                    </a:cubicBezTo>
                    <a:cubicBezTo>
                      <a:pt x="2749045" y="3601790"/>
                      <a:pt x="3114576" y="3021444"/>
                      <a:pt x="2976817" y="266918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0F1BE4D1-7603-2304-96BD-3F946287610B}"/>
                  </a:ext>
                </a:extLst>
              </p:cNvPr>
              <p:cNvSpPr/>
              <p:nvPr/>
            </p:nvSpPr>
            <p:spPr>
              <a:xfrm>
                <a:off x="4482456" y="1627788"/>
                <a:ext cx="3018571" cy="4778052"/>
              </a:xfrm>
              <a:custGeom>
                <a:avLst/>
                <a:gdLst>
                  <a:gd name="connsiteX0" fmla="*/ 1752691 w 3018571"/>
                  <a:gd name="connsiteY0" fmla="*/ 4776677 h 4778052"/>
                  <a:gd name="connsiteX1" fmla="*/ 2591277 w 3018571"/>
                  <a:gd name="connsiteY1" fmla="*/ 3811826 h 4778052"/>
                  <a:gd name="connsiteX2" fmla="*/ 2984730 w 3018571"/>
                  <a:gd name="connsiteY2" fmla="*/ 2584107 h 4778052"/>
                  <a:gd name="connsiteX3" fmla="*/ 2466168 w 3018571"/>
                  <a:gd name="connsiteY3" fmla="*/ 1202817 h 4778052"/>
                  <a:gd name="connsiteX4" fmla="*/ 1720373 w 3018571"/>
                  <a:gd name="connsiteY4" fmla="*/ 11 h 4778052"/>
                  <a:gd name="connsiteX5" fmla="*/ 440974 w 3018571"/>
                  <a:gd name="connsiteY5" fmla="*/ 1547522 h 4778052"/>
                  <a:gd name="connsiteX6" fmla="*/ 238116 w 3018571"/>
                  <a:gd name="connsiteY6" fmla="*/ 2690858 h 4778052"/>
                  <a:gd name="connsiteX7" fmla="*/ 359985 w 3018571"/>
                  <a:gd name="connsiteY7" fmla="*/ 3853863 h 4778052"/>
                  <a:gd name="connsiteX8" fmla="*/ 1752691 w 3018571"/>
                  <a:gd name="connsiteY8" fmla="*/ 4776754 h 4778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18571" h="4778052">
                    <a:moveTo>
                      <a:pt x="1752691" y="4776677"/>
                    </a:moveTo>
                    <a:cubicBezTo>
                      <a:pt x="2216181" y="4812235"/>
                      <a:pt x="2306966" y="4149435"/>
                      <a:pt x="2591277" y="3811826"/>
                    </a:cubicBezTo>
                    <a:cubicBezTo>
                      <a:pt x="2825220" y="3533917"/>
                      <a:pt x="3119172" y="2944162"/>
                      <a:pt x="2984730" y="2584107"/>
                    </a:cubicBezTo>
                    <a:cubicBezTo>
                      <a:pt x="2815579" y="2131107"/>
                      <a:pt x="2808174" y="1486896"/>
                      <a:pt x="2466168" y="1202817"/>
                    </a:cubicBezTo>
                    <a:cubicBezTo>
                      <a:pt x="2189185" y="972730"/>
                      <a:pt x="2101099" y="-3845"/>
                      <a:pt x="1720373" y="11"/>
                    </a:cubicBezTo>
                    <a:cubicBezTo>
                      <a:pt x="1244079" y="4794"/>
                      <a:pt x="830648" y="1354614"/>
                      <a:pt x="440974" y="1547522"/>
                    </a:cubicBezTo>
                    <a:cubicBezTo>
                      <a:pt x="-382030" y="1955091"/>
                      <a:pt x="190216" y="2298408"/>
                      <a:pt x="238116" y="2690858"/>
                    </a:cubicBezTo>
                    <a:cubicBezTo>
                      <a:pt x="294422" y="3162909"/>
                      <a:pt x="16205" y="3569861"/>
                      <a:pt x="359985" y="3853863"/>
                    </a:cubicBezTo>
                    <a:cubicBezTo>
                      <a:pt x="635965" y="4081944"/>
                      <a:pt x="1362169" y="4746827"/>
                      <a:pt x="1752691" y="47767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EA625969-D20D-6A43-9514-744617626B5C}"/>
                  </a:ext>
                </a:extLst>
              </p:cNvPr>
              <p:cNvSpPr/>
              <p:nvPr/>
            </p:nvSpPr>
            <p:spPr>
              <a:xfrm>
                <a:off x="4484173" y="1705758"/>
                <a:ext cx="3036493" cy="4605873"/>
              </a:xfrm>
              <a:custGeom>
                <a:avLst/>
                <a:gdLst>
                  <a:gd name="connsiteX0" fmla="*/ 1734082 w 3036493"/>
                  <a:gd name="connsiteY0" fmla="*/ 4601058 h 4605873"/>
                  <a:gd name="connsiteX1" fmla="*/ 2664764 w 3036493"/>
                  <a:gd name="connsiteY1" fmla="*/ 3753833 h 4605873"/>
                  <a:gd name="connsiteX2" fmla="*/ 2997591 w 3036493"/>
                  <a:gd name="connsiteY2" fmla="*/ 2499272 h 4605873"/>
                  <a:gd name="connsiteX3" fmla="*/ 2504559 w 3036493"/>
                  <a:gd name="connsiteY3" fmla="*/ 1097465 h 4605873"/>
                  <a:gd name="connsiteX4" fmla="*/ 1649930 w 3036493"/>
                  <a:gd name="connsiteY4" fmla="*/ 100 h 4605873"/>
                  <a:gd name="connsiteX5" fmla="*/ 449901 w 3036493"/>
                  <a:gd name="connsiteY5" fmla="*/ 1487524 h 4605873"/>
                  <a:gd name="connsiteX6" fmla="*/ 171221 w 3036493"/>
                  <a:gd name="connsiteY6" fmla="*/ 2663410 h 4605873"/>
                  <a:gd name="connsiteX7" fmla="*/ 311988 w 3036493"/>
                  <a:gd name="connsiteY7" fmla="*/ 3832586 h 4605873"/>
                  <a:gd name="connsiteX8" fmla="*/ 1734159 w 3036493"/>
                  <a:gd name="connsiteY8" fmla="*/ 4601135 h 46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36493" h="4605873">
                    <a:moveTo>
                      <a:pt x="1734082" y="4601058"/>
                    </a:moveTo>
                    <a:cubicBezTo>
                      <a:pt x="2177440" y="4664460"/>
                      <a:pt x="2384618" y="4086814"/>
                      <a:pt x="2664764" y="3753833"/>
                    </a:cubicBezTo>
                    <a:cubicBezTo>
                      <a:pt x="2906420" y="3466283"/>
                      <a:pt x="3128562" y="2867271"/>
                      <a:pt x="2997591" y="2499272"/>
                    </a:cubicBezTo>
                    <a:cubicBezTo>
                      <a:pt x="2840240" y="2056917"/>
                      <a:pt x="2841089" y="1377070"/>
                      <a:pt x="2504559" y="1097465"/>
                    </a:cubicBezTo>
                    <a:cubicBezTo>
                      <a:pt x="2217549" y="859048"/>
                      <a:pt x="2037290" y="-10699"/>
                      <a:pt x="1649930" y="100"/>
                    </a:cubicBezTo>
                    <a:cubicBezTo>
                      <a:pt x="1187597" y="12981"/>
                      <a:pt x="808491" y="1275410"/>
                      <a:pt x="449901" y="1487524"/>
                    </a:cubicBezTo>
                    <a:cubicBezTo>
                      <a:pt x="-320113" y="1942838"/>
                      <a:pt x="120622" y="2268337"/>
                      <a:pt x="171221" y="2663410"/>
                    </a:cubicBezTo>
                    <a:cubicBezTo>
                      <a:pt x="229996" y="3121963"/>
                      <a:pt x="-26007" y="3553212"/>
                      <a:pt x="311988" y="3832586"/>
                    </a:cubicBezTo>
                    <a:cubicBezTo>
                      <a:pt x="597533" y="4068688"/>
                      <a:pt x="1324122" y="4542514"/>
                      <a:pt x="1734159" y="460113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4A437E8-57E4-CADA-48A3-82FAAA75566D}"/>
                  </a:ext>
                </a:extLst>
              </p:cNvPr>
              <p:cNvSpPr/>
              <p:nvPr/>
            </p:nvSpPr>
            <p:spPr>
              <a:xfrm>
                <a:off x="4477865" y="1783678"/>
                <a:ext cx="3064583" cy="4435839"/>
              </a:xfrm>
              <a:custGeom>
                <a:avLst/>
                <a:gdLst>
                  <a:gd name="connsiteX0" fmla="*/ 1723421 w 3064583"/>
                  <a:gd name="connsiteY0" fmla="*/ 4425487 h 4435839"/>
                  <a:gd name="connsiteX1" fmla="*/ 2746122 w 3064583"/>
                  <a:gd name="connsiteY1" fmla="*/ 3695890 h 4435839"/>
                  <a:gd name="connsiteX2" fmla="*/ 3018400 w 3064583"/>
                  <a:gd name="connsiteY2" fmla="*/ 2414487 h 4435839"/>
                  <a:gd name="connsiteX3" fmla="*/ 2550822 w 3064583"/>
                  <a:gd name="connsiteY3" fmla="*/ 992240 h 4435839"/>
                  <a:gd name="connsiteX4" fmla="*/ 1587359 w 3064583"/>
                  <a:gd name="connsiteY4" fmla="*/ 315 h 4435839"/>
                  <a:gd name="connsiteX5" fmla="*/ 466700 w 3064583"/>
                  <a:gd name="connsiteY5" fmla="*/ 1427576 h 4435839"/>
                  <a:gd name="connsiteX6" fmla="*/ 112198 w 3064583"/>
                  <a:gd name="connsiteY6" fmla="*/ 2635935 h 4435839"/>
                  <a:gd name="connsiteX7" fmla="*/ 271940 w 3064583"/>
                  <a:gd name="connsiteY7" fmla="*/ 3811281 h 4435839"/>
                  <a:gd name="connsiteX8" fmla="*/ 1723498 w 3064583"/>
                  <a:gd name="connsiteY8" fmla="*/ 4425487 h 4435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64583" h="4435839">
                    <a:moveTo>
                      <a:pt x="1723421" y="4425487"/>
                    </a:moveTo>
                    <a:cubicBezTo>
                      <a:pt x="2146185" y="4513187"/>
                      <a:pt x="2470296" y="4024167"/>
                      <a:pt x="2746122" y="3695890"/>
                    </a:cubicBezTo>
                    <a:cubicBezTo>
                      <a:pt x="2995492" y="3398699"/>
                      <a:pt x="3145592" y="2790508"/>
                      <a:pt x="3018400" y="2414487"/>
                    </a:cubicBezTo>
                    <a:cubicBezTo>
                      <a:pt x="2872465" y="1983084"/>
                      <a:pt x="2881952" y="1267371"/>
                      <a:pt x="2550822" y="992240"/>
                    </a:cubicBezTo>
                    <a:cubicBezTo>
                      <a:pt x="2253785" y="745493"/>
                      <a:pt x="1981275" y="-17734"/>
                      <a:pt x="1587359" y="315"/>
                    </a:cubicBezTo>
                    <a:cubicBezTo>
                      <a:pt x="1138987" y="20832"/>
                      <a:pt x="794205" y="1197181"/>
                      <a:pt x="466700" y="1427576"/>
                    </a:cubicBezTo>
                    <a:cubicBezTo>
                      <a:pt x="-250479" y="1932100"/>
                      <a:pt x="58205" y="2238316"/>
                      <a:pt x="112198" y="2635935"/>
                    </a:cubicBezTo>
                    <a:cubicBezTo>
                      <a:pt x="172593" y="3081144"/>
                      <a:pt x="-60347" y="3536534"/>
                      <a:pt x="271940" y="3811281"/>
                    </a:cubicBezTo>
                    <a:cubicBezTo>
                      <a:pt x="566972" y="4055483"/>
                      <a:pt x="1293253" y="4336245"/>
                      <a:pt x="1723498" y="442548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A6CBC511-2623-D740-A2F1-F2825573CB7C}"/>
                  </a:ext>
                </a:extLst>
              </p:cNvPr>
              <p:cNvSpPr/>
              <p:nvPr/>
            </p:nvSpPr>
            <p:spPr>
              <a:xfrm>
                <a:off x="4460130" y="1861400"/>
                <a:ext cx="3107969" cy="4268490"/>
              </a:xfrm>
              <a:custGeom>
                <a:avLst/>
                <a:gdLst>
                  <a:gd name="connsiteX0" fmla="*/ 1724263 w 3107969"/>
                  <a:gd name="connsiteY0" fmla="*/ 4250116 h 4268490"/>
                  <a:gd name="connsiteX1" fmla="*/ 2838983 w 3107969"/>
                  <a:gd name="connsiteY1" fmla="*/ 3638145 h 4268490"/>
                  <a:gd name="connsiteX2" fmla="*/ 3050712 w 3107969"/>
                  <a:gd name="connsiteY2" fmla="*/ 2329900 h 4268490"/>
                  <a:gd name="connsiteX3" fmla="*/ 2608666 w 3107969"/>
                  <a:gd name="connsiteY3" fmla="*/ 887212 h 4268490"/>
                  <a:gd name="connsiteX4" fmla="*/ 1536291 w 3107969"/>
                  <a:gd name="connsiteY4" fmla="*/ 728 h 4268490"/>
                  <a:gd name="connsiteX5" fmla="*/ 495001 w 3107969"/>
                  <a:gd name="connsiteY5" fmla="*/ 1367826 h 4268490"/>
                  <a:gd name="connsiteX6" fmla="*/ 64601 w 3107969"/>
                  <a:gd name="connsiteY6" fmla="*/ 2608657 h 4268490"/>
                  <a:gd name="connsiteX7" fmla="*/ 243317 w 3107969"/>
                  <a:gd name="connsiteY7" fmla="*/ 3790251 h 4268490"/>
                  <a:gd name="connsiteX8" fmla="*/ 1724340 w 3107969"/>
                  <a:gd name="connsiteY8" fmla="*/ 4250116 h 4268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07969" h="4268490">
                    <a:moveTo>
                      <a:pt x="1724263" y="4250116"/>
                    </a:moveTo>
                    <a:cubicBezTo>
                      <a:pt x="2126510" y="4359027"/>
                      <a:pt x="2567400" y="3961794"/>
                      <a:pt x="2838983" y="3638145"/>
                    </a:cubicBezTo>
                    <a:cubicBezTo>
                      <a:pt x="3096066" y="3331235"/>
                      <a:pt x="3173893" y="2714020"/>
                      <a:pt x="3050712" y="2329900"/>
                    </a:cubicBezTo>
                    <a:cubicBezTo>
                      <a:pt x="2915808" y="1909528"/>
                      <a:pt x="2934396" y="1157793"/>
                      <a:pt x="2608666" y="887212"/>
                    </a:cubicBezTo>
                    <a:cubicBezTo>
                      <a:pt x="2301601" y="632135"/>
                      <a:pt x="1936918" y="-24880"/>
                      <a:pt x="1536291" y="728"/>
                    </a:cubicBezTo>
                    <a:cubicBezTo>
                      <a:pt x="1101957" y="28496"/>
                      <a:pt x="791576" y="1119844"/>
                      <a:pt x="495001" y="1367826"/>
                    </a:cubicBezTo>
                    <a:cubicBezTo>
                      <a:pt x="-169265" y="1923180"/>
                      <a:pt x="7215" y="2208570"/>
                      <a:pt x="64601" y="2608657"/>
                    </a:cubicBezTo>
                    <a:cubicBezTo>
                      <a:pt x="126539" y="3040445"/>
                      <a:pt x="-83262" y="3520055"/>
                      <a:pt x="243317" y="3790251"/>
                    </a:cubicBezTo>
                    <a:cubicBezTo>
                      <a:pt x="547914" y="4042475"/>
                      <a:pt x="1273500" y="4128092"/>
                      <a:pt x="1724340" y="42501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426E0B6B-3DFA-1A80-F8A6-80F7FB341873}"/>
                  </a:ext>
                </a:extLst>
              </p:cNvPr>
              <p:cNvSpPr/>
              <p:nvPr/>
            </p:nvSpPr>
            <p:spPr>
              <a:xfrm>
                <a:off x="4426209" y="1938811"/>
                <a:ext cx="3173562" cy="4104897"/>
              </a:xfrm>
              <a:custGeom>
                <a:avLst/>
                <a:gdLst>
                  <a:gd name="connsiteX0" fmla="*/ 1741215 w 3173562"/>
                  <a:gd name="connsiteY0" fmla="*/ 4075055 h 4104897"/>
                  <a:gd name="connsiteX1" fmla="*/ 2947955 w 3173562"/>
                  <a:gd name="connsiteY1" fmla="*/ 3580712 h 4104897"/>
                  <a:gd name="connsiteX2" fmla="*/ 3099057 w 3173562"/>
                  <a:gd name="connsiteY2" fmla="*/ 2245625 h 4104897"/>
                  <a:gd name="connsiteX3" fmla="*/ 2682464 w 3173562"/>
                  <a:gd name="connsiteY3" fmla="*/ 782497 h 4104897"/>
                  <a:gd name="connsiteX4" fmla="*/ 1501255 w 3173562"/>
                  <a:gd name="connsiteY4" fmla="*/ 1452 h 4104897"/>
                  <a:gd name="connsiteX5" fmla="*/ 539335 w 3173562"/>
                  <a:gd name="connsiteY5" fmla="*/ 1308387 h 4104897"/>
                  <a:gd name="connsiteX6" fmla="*/ 33114 w 3173562"/>
                  <a:gd name="connsiteY6" fmla="*/ 2581691 h 4104897"/>
                  <a:gd name="connsiteX7" fmla="*/ 230727 w 3173562"/>
                  <a:gd name="connsiteY7" fmla="*/ 3769455 h 4104897"/>
                  <a:gd name="connsiteX8" fmla="*/ 1741215 w 3173562"/>
                  <a:gd name="connsiteY8" fmla="*/ 4074978 h 4104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73562" h="4104897">
                    <a:moveTo>
                      <a:pt x="1741215" y="4075055"/>
                    </a:moveTo>
                    <a:cubicBezTo>
                      <a:pt x="2123407" y="4202555"/>
                      <a:pt x="2680613" y="3899655"/>
                      <a:pt x="2947955" y="3580712"/>
                    </a:cubicBezTo>
                    <a:cubicBezTo>
                      <a:pt x="3212750" y="3264160"/>
                      <a:pt x="3218073" y="2637921"/>
                      <a:pt x="3099057" y="2245625"/>
                    </a:cubicBezTo>
                    <a:cubicBezTo>
                      <a:pt x="2974874" y="1836359"/>
                      <a:pt x="3002796" y="1048604"/>
                      <a:pt x="2682464" y="782497"/>
                    </a:cubicBezTo>
                    <a:cubicBezTo>
                      <a:pt x="2365449" y="519089"/>
                      <a:pt x="1908516" y="-31946"/>
                      <a:pt x="1501255" y="1452"/>
                    </a:cubicBezTo>
                    <a:cubicBezTo>
                      <a:pt x="1080960" y="36008"/>
                      <a:pt x="805288" y="1043668"/>
                      <a:pt x="539335" y="1308387"/>
                    </a:cubicBezTo>
                    <a:cubicBezTo>
                      <a:pt x="-71324" y="1916191"/>
                      <a:pt x="-27821" y="2179059"/>
                      <a:pt x="33114" y="2581691"/>
                    </a:cubicBezTo>
                    <a:cubicBezTo>
                      <a:pt x="96440" y="3000135"/>
                      <a:pt x="-90144" y="3503888"/>
                      <a:pt x="230727" y="3769455"/>
                    </a:cubicBezTo>
                    <a:cubicBezTo>
                      <a:pt x="544811" y="4029701"/>
                      <a:pt x="1270089" y="3917782"/>
                      <a:pt x="1741215" y="40749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82C7C503-920D-6753-9FF3-4DE1E8F09C99}"/>
                  </a:ext>
                </a:extLst>
              </p:cNvPr>
              <p:cNvSpPr/>
              <p:nvPr/>
            </p:nvSpPr>
            <p:spPr>
              <a:xfrm>
                <a:off x="4376099" y="2015664"/>
                <a:ext cx="3263713" cy="3947335"/>
              </a:xfrm>
              <a:custGeom>
                <a:avLst/>
                <a:gdLst>
                  <a:gd name="connsiteX0" fmla="*/ 1774433 w 3263713"/>
                  <a:gd name="connsiteY0" fmla="*/ 3900552 h 3947335"/>
                  <a:gd name="connsiteX1" fmla="*/ 3073192 w 3263713"/>
                  <a:gd name="connsiteY1" fmla="*/ 3523836 h 3947335"/>
                  <a:gd name="connsiteX2" fmla="*/ 3163745 w 3263713"/>
                  <a:gd name="connsiteY2" fmla="*/ 2161907 h 3947335"/>
                  <a:gd name="connsiteX3" fmla="*/ 2772683 w 3263713"/>
                  <a:gd name="connsiteY3" fmla="*/ 678262 h 3947335"/>
                  <a:gd name="connsiteX4" fmla="*/ 1482563 w 3263713"/>
                  <a:gd name="connsiteY4" fmla="*/ 2735 h 3947335"/>
                  <a:gd name="connsiteX5" fmla="*/ 600012 w 3263713"/>
                  <a:gd name="connsiteY5" fmla="*/ 1249583 h 3947335"/>
                  <a:gd name="connsiteX6" fmla="*/ 17970 w 3263713"/>
                  <a:gd name="connsiteY6" fmla="*/ 2555437 h 3947335"/>
                  <a:gd name="connsiteX7" fmla="*/ 234558 w 3263713"/>
                  <a:gd name="connsiteY7" fmla="*/ 3749449 h 3947335"/>
                  <a:gd name="connsiteX8" fmla="*/ 1774433 w 3263713"/>
                  <a:gd name="connsiteY8" fmla="*/ 3900629 h 394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3713" h="3947335">
                    <a:moveTo>
                      <a:pt x="1774433" y="3900552"/>
                    </a:moveTo>
                    <a:cubicBezTo>
                      <a:pt x="2137188" y="4044635"/>
                      <a:pt x="2810169" y="3838151"/>
                      <a:pt x="3073192" y="3523836"/>
                    </a:cubicBezTo>
                    <a:cubicBezTo>
                      <a:pt x="3345701" y="3197643"/>
                      <a:pt x="3278210" y="2562533"/>
                      <a:pt x="3163745" y="2161907"/>
                    </a:cubicBezTo>
                    <a:cubicBezTo>
                      <a:pt x="3049975" y="1763902"/>
                      <a:pt x="3087538" y="939895"/>
                      <a:pt x="2772683" y="678262"/>
                    </a:cubicBezTo>
                    <a:cubicBezTo>
                      <a:pt x="2445641" y="406524"/>
                      <a:pt x="1896534" y="-38994"/>
                      <a:pt x="1482563" y="2735"/>
                    </a:cubicBezTo>
                    <a:cubicBezTo>
                      <a:pt x="1068593" y="44463"/>
                      <a:pt x="835884" y="968666"/>
                      <a:pt x="600012" y="1249583"/>
                    </a:cubicBezTo>
                    <a:cubicBezTo>
                      <a:pt x="44118" y="1911380"/>
                      <a:pt x="-46590" y="2150260"/>
                      <a:pt x="17970" y="2555437"/>
                    </a:cubicBezTo>
                    <a:cubicBezTo>
                      <a:pt x="82530" y="2960460"/>
                      <a:pt x="-80606" y="3488355"/>
                      <a:pt x="234558" y="3749449"/>
                    </a:cubicBezTo>
                    <a:cubicBezTo>
                      <a:pt x="558206" y="4017716"/>
                      <a:pt x="1283870" y="3705792"/>
                      <a:pt x="1774433" y="39006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1E4C7ED8-8A76-E1ED-C031-A420B3133FA2}"/>
                  </a:ext>
                </a:extLst>
              </p:cNvPr>
              <p:cNvSpPr/>
              <p:nvPr/>
            </p:nvSpPr>
            <p:spPr>
              <a:xfrm>
                <a:off x="4316854" y="2091550"/>
                <a:ext cx="3371549" cy="3814147"/>
              </a:xfrm>
              <a:custGeom>
                <a:avLst/>
                <a:gdLst>
                  <a:gd name="connsiteX0" fmla="*/ 1816709 w 3371549"/>
                  <a:gd name="connsiteY0" fmla="*/ 3727016 h 3814147"/>
                  <a:gd name="connsiteX1" fmla="*/ 3207564 w 3371549"/>
                  <a:gd name="connsiteY1" fmla="*/ 3467928 h 3814147"/>
                  <a:gd name="connsiteX2" fmla="*/ 3237568 w 3371549"/>
                  <a:gd name="connsiteY2" fmla="*/ 2079156 h 3814147"/>
                  <a:gd name="connsiteX3" fmla="*/ 2871960 w 3371549"/>
                  <a:gd name="connsiteY3" fmla="*/ 575071 h 3814147"/>
                  <a:gd name="connsiteX4" fmla="*/ 1473006 w 3371549"/>
                  <a:gd name="connsiteY4" fmla="*/ 4984 h 3814147"/>
                  <a:gd name="connsiteX5" fmla="*/ 669824 w 3371549"/>
                  <a:gd name="connsiteY5" fmla="*/ 1191668 h 3814147"/>
                  <a:gd name="connsiteX6" fmla="*/ 11883 w 3371549"/>
                  <a:gd name="connsiteY6" fmla="*/ 2529996 h 3814147"/>
                  <a:gd name="connsiteX7" fmla="*/ 247369 w 3371549"/>
                  <a:gd name="connsiteY7" fmla="*/ 3730178 h 3814147"/>
                  <a:gd name="connsiteX8" fmla="*/ 1816709 w 3371549"/>
                  <a:gd name="connsiteY8" fmla="*/ 3727016 h 3814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1549" h="3814147">
                    <a:moveTo>
                      <a:pt x="1816709" y="3727016"/>
                    </a:moveTo>
                    <a:cubicBezTo>
                      <a:pt x="2160874" y="3886063"/>
                      <a:pt x="2948707" y="3777615"/>
                      <a:pt x="3207564" y="3467928"/>
                    </a:cubicBezTo>
                    <a:cubicBezTo>
                      <a:pt x="3487786" y="3132092"/>
                      <a:pt x="3347173" y="2488190"/>
                      <a:pt x="3237568" y="2079156"/>
                    </a:cubicBezTo>
                    <a:cubicBezTo>
                      <a:pt x="3133902" y="1692567"/>
                      <a:pt x="3181416" y="832231"/>
                      <a:pt x="2871960" y="575071"/>
                    </a:cubicBezTo>
                    <a:cubicBezTo>
                      <a:pt x="2534890" y="295002"/>
                      <a:pt x="1893533" y="-45307"/>
                      <a:pt x="1473006" y="4984"/>
                    </a:cubicBezTo>
                    <a:cubicBezTo>
                      <a:pt x="1080710" y="51880"/>
                      <a:pt x="876308" y="895248"/>
                      <a:pt x="669824" y="1191668"/>
                    </a:cubicBezTo>
                    <a:cubicBezTo>
                      <a:pt x="170313" y="1908693"/>
                      <a:pt x="-56379" y="2122427"/>
                      <a:pt x="11883" y="2529996"/>
                    </a:cubicBezTo>
                    <a:cubicBezTo>
                      <a:pt x="80145" y="2937564"/>
                      <a:pt x="-62010" y="3473713"/>
                      <a:pt x="247369" y="3730178"/>
                    </a:cubicBezTo>
                    <a:cubicBezTo>
                      <a:pt x="580505" y="4006544"/>
                      <a:pt x="1307942" y="3491916"/>
                      <a:pt x="1816709" y="37270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67957455-2028-B3C8-4C6F-0F51AA6DAD98}"/>
                  </a:ext>
                </a:extLst>
              </p:cNvPr>
              <p:cNvSpPr/>
              <p:nvPr/>
            </p:nvSpPr>
            <p:spPr>
              <a:xfrm>
                <a:off x="4254170" y="2165535"/>
                <a:ext cx="3489733" cy="3780696"/>
              </a:xfrm>
              <a:custGeom>
                <a:avLst/>
                <a:gdLst>
                  <a:gd name="connsiteX0" fmla="*/ 1862424 w 3489733"/>
                  <a:gd name="connsiteY0" fmla="*/ 3555381 h 3780696"/>
                  <a:gd name="connsiteX1" fmla="*/ 3345298 w 3489733"/>
                  <a:gd name="connsiteY1" fmla="*/ 3413920 h 3780696"/>
                  <a:gd name="connsiteX2" fmla="*/ 3314677 w 3489733"/>
                  <a:gd name="connsiteY2" fmla="*/ 1998383 h 3780696"/>
                  <a:gd name="connsiteX3" fmla="*/ 2974599 w 3489733"/>
                  <a:gd name="connsiteY3" fmla="*/ 473858 h 3780696"/>
                  <a:gd name="connsiteX4" fmla="*/ 1466734 w 3489733"/>
                  <a:gd name="connsiteY4" fmla="*/ 9211 h 3780696"/>
                  <a:gd name="connsiteX5" fmla="*/ 742922 w 3489733"/>
                  <a:gd name="connsiteY5" fmla="*/ 1135733 h 3780696"/>
                  <a:gd name="connsiteX6" fmla="*/ 9159 w 3489733"/>
                  <a:gd name="connsiteY6" fmla="*/ 2506532 h 3780696"/>
                  <a:gd name="connsiteX7" fmla="*/ 263620 w 3489733"/>
                  <a:gd name="connsiteY7" fmla="*/ 3712886 h 3780696"/>
                  <a:gd name="connsiteX8" fmla="*/ 1862424 w 3489733"/>
                  <a:gd name="connsiteY8" fmla="*/ 3555381 h 3780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9733" h="3780696">
                    <a:moveTo>
                      <a:pt x="1862424" y="3555381"/>
                    </a:moveTo>
                    <a:cubicBezTo>
                      <a:pt x="2188927" y="3728158"/>
                      <a:pt x="3090761" y="3718902"/>
                      <a:pt x="3345298" y="3413920"/>
                    </a:cubicBezTo>
                    <a:cubicBezTo>
                      <a:pt x="3633311" y="3068443"/>
                      <a:pt x="3419114" y="2415825"/>
                      <a:pt x="3314677" y="1998383"/>
                    </a:cubicBezTo>
                    <a:cubicBezTo>
                      <a:pt x="3220807" y="1623210"/>
                      <a:pt x="3278656" y="726467"/>
                      <a:pt x="2974599" y="473858"/>
                    </a:cubicBezTo>
                    <a:cubicBezTo>
                      <a:pt x="2627580" y="185459"/>
                      <a:pt x="1893894" y="-50104"/>
                      <a:pt x="1466734" y="9211"/>
                    </a:cubicBezTo>
                    <a:cubicBezTo>
                      <a:pt x="1088321" y="61816"/>
                      <a:pt x="920789" y="824040"/>
                      <a:pt x="742922" y="1135733"/>
                    </a:cubicBezTo>
                    <a:cubicBezTo>
                      <a:pt x="301800" y="1908755"/>
                      <a:pt x="-63037" y="2096496"/>
                      <a:pt x="9159" y="2506532"/>
                    </a:cubicBezTo>
                    <a:cubicBezTo>
                      <a:pt x="75802" y="2884945"/>
                      <a:pt x="-40051" y="3461048"/>
                      <a:pt x="263620" y="3712886"/>
                    </a:cubicBezTo>
                    <a:cubicBezTo>
                      <a:pt x="606320" y="3997273"/>
                      <a:pt x="1337228" y="3277473"/>
                      <a:pt x="1862424" y="355538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5B039908-D135-38B3-53F0-0FEAF353CD85}"/>
                  </a:ext>
                </a:extLst>
              </p:cNvPr>
              <p:cNvSpPr/>
              <p:nvPr/>
            </p:nvSpPr>
            <p:spPr>
              <a:xfrm>
                <a:off x="4190357" y="2234963"/>
                <a:ext cx="3614123" cy="3758010"/>
              </a:xfrm>
              <a:custGeom>
                <a:avLst/>
                <a:gdLst>
                  <a:gd name="connsiteX0" fmla="*/ 1909345 w 3614123"/>
                  <a:gd name="connsiteY0" fmla="*/ 3388303 h 3758010"/>
                  <a:gd name="connsiteX1" fmla="*/ 3484238 w 3614123"/>
                  <a:gd name="connsiteY1" fmla="*/ 3364469 h 3758010"/>
                  <a:gd name="connsiteX2" fmla="*/ 3393067 w 3614123"/>
                  <a:gd name="connsiteY2" fmla="*/ 1922090 h 3758010"/>
                  <a:gd name="connsiteX3" fmla="*/ 3078443 w 3614123"/>
                  <a:gd name="connsiteY3" fmla="*/ 377125 h 3758010"/>
                  <a:gd name="connsiteX4" fmla="*/ 1461744 w 3614123"/>
                  <a:gd name="connsiteY4" fmla="*/ 17919 h 3758010"/>
                  <a:gd name="connsiteX5" fmla="*/ 817301 w 3614123"/>
                  <a:gd name="connsiteY5" fmla="*/ 1084276 h 3758010"/>
                  <a:gd name="connsiteX6" fmla="*/ 7718 w 3614123"/>
                  <a:gd name="connsiteY6" fmla="*/ 2487549 h 3758010"/>
                  <a:gd name="connsiteX7" fmla="*/ 281153 w 3614123"/>
                  <a:gd name="connsiteY7" fmla="*/ 3700150 h 3758010"/>
                  <a:gd name="connsiteX8" fmla="*/ 1909345 w 3614123"/>
                  <a:gd name="connsiteY8" fmla="*/ 3388303 h 3758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14123" h="3758010">
                    <a:moveTo>
                      <a:pt x="1909345" y="3388303"/>
                    </a:moveTo>
                    <a:cubicBezTo>
                      <a:pt x="2219418" y="3574116"/>
                      <a:pt x="3233943" y="3664824"/>
                      <a:pt x="3484238" y="3364469"/>
                    </a:cubicBezTo>
                    <a:cubicBezTo>
                      <a:pt x="3779964" y="3009351"/>
                      <a:pt x="3491874" y="2348094"/>
                      <a:pt x="3393067" y="1922090"/>
                    </a:cubicBezTo>
                    <a:cubicBezTo>
                      <a:pt x="3308684" y="1558333"/>
                      <a:pt x="3377101" y="625260"/>
                      <a:pt x="3078443" y="377125"/>
                    </a:cubicBezTo>
                    <a:cubicBezTo>
                      <a:pt x="2721397" y="80473"/>
                      <a:pt x="1895307" y="-50884"/>
                      <a:pt x="1461744" y="17919"/>
                    </a:cubicBezTo>
                    <a:cubicBezTo>
                      <a:pt x="1097138" y="75845"/>
                      <a:pt x="967324" y="757388"/>
                      <a:pt x="817301" y="1084276"/>
                    </a:cubicBezTo>
                    <a:cubicBezTo>
                      <a:pt x="436652" y="1913683"/>
                      <a:pt x="-68566" y="2075121"/>
                      <a:pt x="7718" y="2487549"/>
                    </a:cubicBezTo>
                    <a:cubicBezTo>
                      <a:pt x="75286" y="2852695"/>
                      <a:pt x="-16810" y="3452863"/>
                      <a:pt x="281153" y="3700150"/>
                    </a:cubicBezTo>
                    <a:cubicBezTo>
                      <a:pt x="633340" y="3992560"/>
                      <a:pt x="1370034" y="3065041"/>
                      <a:pt x="1909345" y="3388303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40257B4E-81CD-4ED6-2F30-872E81179CB8}"/>
                  </a:ext>
                </a:extLst>
              </p:cNvPr>
              <p:cNvSpPr/>
              <p:nvPr/>
            </p:nvSpPr>
            <p:spPr>
              <a:xfrm>
                <a:off x="4125770" y="2293347"/>
                <a:ext cx="3742715" cy="3749606"/>
              </a:xfrm>
              <a:custGeom>
                <a:avLst/>
                <a:gdLst>
                  <a:gd name="connsiteX0" fmla="*/ 1956963 w 3742715"/>
                  <a:gd name="connsiteY0" fmla="*/ 3232269 h 3749606"/>
                  <a:gd name="connsiteX1" fmla="*/ 3623876 w 3742715"/>
                  <a:gd name="connsiteY1" fmla="*/ 3326063 h 3749606"/>
                  <a:gd name="connsiteX2" fmla="*/ 3472155 w 3742715"/>
                  <a:gd name="connsiteY2" fmla="*/ 1856842 h 3749606"/>
                  <a:gd name="connsiteX3" fmla="*/ 3183063 w 3742715"/>
                  <a:gd name="connsiteY3" fmla="*/ 291359 h 3749606"/>
                  <a:gd name="connsiteX4" fmla="*/ 1457529 w 3742715"/>
                  <a:gd name="connsiteY4" fmla="*/ 37593 h 3749606"/>
                  <a:gd name="connsiteX5" fmla="*/ 892456 w 3742715"/>
                  <a:gd name="connsiteY5" fmla="*/ 1043864 h 3749606"/>
                  <a:gd name="connsiteX6" fmla="*/ 6974 w 3742715"/>
                  <a:gd name="connsiteY6" fmla="*/ 2479687 h 3749606"/>
                  <a:gd name="connsiteX7" fmla="*/ 299306 w 3742715"/>
                  <a:gd name="connsiteY7" fmla="*/ 3698459 h 3749606"/>
                  <a:gd name="connsiteX8" fmla="*/ 1956963 w 3742715"/>
                  <a:gd name="connsiteY8" fmla="*/ 3232269 h 3749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42715" h="3749606">
                    <a:moveTo>
                      <a:pt x="1956963" y="3232269"/>
                    </a:moveTo>
                    <a:cubicBezTo>
                      <a:pt x="2251687" y="3430655"/>
                      <a:pt x="3377822" y="3621712"/>
                      <a:pt x="3623876" y="3326063"/>
                    </a:cubicBezTo>
                    <a:cubicBezTo>
                      <a:pt x="3927315" y="2961226"/>
                      <a:pt x="3564869" y="2291484"/>
                      <a:pt x="3472155" y="1856842"/>
                    </a:cubicBezTo>
                    <a:cubicBezTo>
                      <a:pt x="3397028" y="1504577"/>
                      <a:pt x="3476244" y="535021"/>
                      <a:pt x="3183063" y="291359"/>
                    </a:cubicBezTo>
                    <a:cubicBezTo>
                      <a:pt x="2815989" y="-13623"/>
                      <a:pt x="1897339" y="-41237"/>
                      <a:pt x="1457529" y="37593"/>
                    </a:cubicBezTo>
                    <a:cubicBezTo>
                      <a:pt x="1106653" y="100533"/>
                      <a:pt x="1015405" y="701550"/>
                      <a:pt x="892456" y="1043864"/>
                    </a:cubicBezTo>
                    <a:cubicBezTo>
                      <a:pt x="574361" y="1929346"/>
                      <a:pt x="-74247" y="2064945"/>
                      <a:pt x="6974" y="2479687"/>
                    </a:cubicBezTo>
                    <a:cubicBezTo>
                      <a:pt x="74696" y="2831643"/>
                      <a:pt x="7128" y="3455800"/>
                      <a:pt x="299306" y="3698459"/>
                    </a:cubicBezTo>
                    <a:cubicBezTo>
                      <a:pt x="661058" y="3998967"/>
                      <a:pt x="1405928" y="2861262"/>
                      <a:pt x="1956963" y="323226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9B4F3D64-FB34-1736-5C5A-67C32041E1D5}"/>
                  </a:ext>
                </a:extLst>
              </p:cNvPr>
              <p:cNvSpPr/>
              <p:nvPr/>
            </p:nvSpPr>
            <p:spPr>
              <a:xfrm>
                <a:off x="4061078" y="2330966"/>
                <a:ext cx="3873961" cy="3763840"/>
              </a:xfrm>
              <a:custGeom>
                <a:avLst/>
                <a:gdLst>
                  <a:gd name="connsiteX0" fmla="*/ 3763695 w 3873961"/>
                  <a:gd name="connsiteY0" fmla="*/ 3308421 h 3763840"/>
                  <a:gd name="connsiteX1" fmla="*/ 3551425 w 3873961"/>
                  <a:gd name="connsiteY1" fmla="*/ 1812358 h 3763840"/>
                  <a:gd name="connsiteX2" fmla="*/ 3287786 w 3873961"/>
                  <a:gd name="connsiteY2" fmla="*/ 226435 h 3763840"/>
                  <a:gd name="connsiteX3" fmla="*/ 1453342 w 3873961"/>
                  <a:gd name="connsiteY3" fmla="*/ 78186 h 3763840"/>
                  <a:gd name="connsiteX4" fmla="*/ 967638 w 3873961"/>
                  <a:gd name="connsiteY4" fmla="*/ 1024294 h 3763840"/>
                  <a:gd name="connsiteX5" fmla="*/ 6334 w 3873961"/>
                  <a:gd name="connsiteY5" fmla="*/ 2492590 h 3763840"/>
                  <a:gd name="connsiteX6" fmla="*/ 317642 w 3873961"/>
                  <a:gd name="connsiteY6" fmla="*/ 3717532 h 3763840"/>
                  <a:gd name="connsiteX7" fmla="*/ 2004763 w 3873961"/>
                  <a:gd name="connsiteY7" fmla="*/ 3096923 h 3763840"/>
                  <a:gd name="connsiteX8" fmla="*/ 3763772 w 3873961"/>
                  <a:gd name="connsiteY8" fmla="*/ 3308421 h 3763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73961" h="3763840">
                    <a:moveTo>
                      <a:pt x="3763695" y="3308421"/>
                    </a:moveTo>
                    <a:cubicBezTo>
                      <a:pt x="4074847" y="2933942"/>
                      <a:pt x="3637583" y="2255716"/>
                      <a:pt x="3551425" y="1812358"/>
                    </a:cubicBezTo>
                    <a:cubicBezTo>
                      <a:pt x="3485169" y="1471586"/>
                      <a:pt x="3575568" y="465623"/>
                      <a:pt x="3287786" y="226435"/>
                    </a:cubicBezTo>
                    <a:cubicBezTo>
                      <a:pt x="2910685" y="-86878"/>
                      <a:pt x="1899323" y="-11288"/>
                      <a:pt x="1453342" y="78186"/>
                    </a:cubicBezTo>
                    <a:cubicBezTo>
                      <a:pt x="1116041" y="145831"/>
                      <a:pt x="1064131" y="666245"/>
                      <a:pt x="967638" y="1024294"/>
                    </a:cubicBezTo>
                    <a:cubicBezTo>
                      <a:pt x="714026" y="1965311"/>
                      <a:pt x="-78589" y="2075380"/>
                      <a:pt x="6334" y="2492590"/>
                    </a:cubicBezTo>
                    <a:cubicBezTo>
                      <a:pt x="75291" y="2831202"/>
                      <a:pt x="31094" y="3479501"/>
                      <a:pt x="317642" y="3717532"/>
                    </a:cubicBezTo>
                    <a:cubicBezTo>
                      <a:pt x="688958" y="4026062"/>
                      <a:pt x="1444780" y="2676242"/>
                      <a:pt x="2004763" y="3096923"/>
                    </a:cubicBezTo>
                    <a:cubicBezTo>
                      <a:pt x="2285294" y="3307727"/>
                      <a:pt x="3521961" y="3599365"/>
                      <a:pt x="3763772" y="330842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C4C66B35-7656-5E0D-DDDC-5D4993B6A4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6981742">
            <a:off x="9225518" y="3111272"/>
            <a:ext cx="8334992" cy="7408967"/>
            <a:chOff x="-1641318" y="-299489"/>
            <a:chExt cx="8683276" cy="7718554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9755EEE6-4A33-4FAA-9B30-05E1EDF3C6C5}"/>
                </a:ext>
              </a:extLst>
            </p:cNvPr>
            <p:cNvGrpSpPr/>
            <p:nvPr/>
          </p:nvGrpSpPr>
          <p:grpSpPr>
            <a:xfrm rot="13963223">
              <a:off x="-1235110" y="-252874"/>
              <a:ext cx="7671937" cy="7671942"/>
              <a:chOff x="-13073550" y="260470"/>
              <a:chExt cx="10868115" cy="10868116"/>
            </a:xfrm>
            <a:solidFill>
              <a:schemeClr val="bg1">
                <a:lumMod val="85000"/>
              </a:schemeClr>
            </a:solidFill>
          </p:grpSpPr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C4DAA395-F9CC-A26C-E0E1-6DDCFF138541}"/>
                  </a:ext>
                </a:extLst>
              </p:cNvPr>
              <p:cNvGrpSpPr/>
              <p:nvPr/>
            </p:nvGrpSpPr>
            <p:grpSpPr>
              <a:xfrm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64" name="Graphic 63">
                  <a:extLst>
                    <a:ext uri="{FF2B5EF4-FFF2-40B4-BE49-F238E27FC236}">
                      <a16:creationId xmlns:a16="http://schemas.microsoft.com/office/drawing/2014/main" id="{695B7A03-1F6D-BD36-E2BF-B010B6E98B6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65" name="Graphic 64">
                  <a:extLst>
                    <a:ext uri="{FF2B5EF4-FFF2-40B4-BE49-F238E27FC236}">
                      <a16:creationId xmlns:a16="http://schemas.microsoft.com/office/drawing/2014/main" id="{E83CB87A-FCD0-1E51-9611-AF9FCC5E6D6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DA8E96DA-D47E-BAE5-E981-F7C9BBE36F68}"/>
                  </a:ext>
                </a:extLst>
              </p:cNvPr>
              <p:cNvGrpSpPr/>
              <p:nvPr/>
            </p:nvGrpSpPr>
            <p:grpSpPr>
              <a:xfrm rot="18000000"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62" name="Graphic 61">
                  <a:extLst>
                    <a:ext uri="{FF2B5EF4-FFF2-40B4-BE49-F238E27FC236}">
                      <a16:creationId xmlns:a16="http://schemas.microsoft.com/office/drawing/2014/main" id="{BA78E3FC-00D2-D18F-CFA0-A99B889445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63" name="Graphic 62">
                  <a:extLst>
                    <a:ext uri="{FF2B5EF4-FFF2-40B4-BE49-F238E27FC236}">
                      <a16:creationId xmlns:a16="http://schemas.microsoft.com/office/drawing/2014/main" id="{06F2B144-A1CA-F9CD-3B6D-7789A79EB4C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BF8A0C00-70A5-95DA-A42C-7F06FFCFB329}"/>
                  </a:ext>
                </a:extLst>
              </p:cNvPr>
              <p:cNvGrpSpPr/>
              <p:nvPr/>
            </p:nvGrpSpPr>
            <p:grpSpPr>
              <a:xfrm rot="3600000">
                <a:off x="-13073550" y="3398291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60" name="Graphic 59">
                  <a:extLst>
                    <a:ext uri="{FF2B5EF4-FFF2-40B4-BE49-F238E27FC236}">
                      <a16:creationId xmlns:a16="http://schemas.microsoft.com/office/drawing/2014/main" id="{427A3289-CC99-AF5B-FC3B-07502AFACB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61" name="Graphic 60">
                  <a:extLst>
                    <a:ext uri="{FF2B5EF4-FFF2-40B4-BE49-F238E27FC236}">
                      <a16:creationId xmlns:a16="http://schemas.microsoft.com/office/drawing/2014/main" id="{74A14A99-89B1-0130-C3ED-679D6DE9E25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5" name="Graphic 5">
              <a:extLst>
                <a:ext uri="{FF2B5EF4-FFF2-40B4-BE49-F238E27FC236}">
                  <a16:creationId xmlns:a16="http://schemas.microsoft.com/office/drawing/2014/main" id="{09E8ED3F-DBFE-2124-FF8D-07039E4A0E5F}"/>
                </a:ext>
              </a:extLst>
            </p:cNvPr>
            <p:cNvGrpSpPr/>
            <p:nvPr/>
          </p:nvGrpSpPr>
          <p:grpSpPr>
            <a:xfrm rot="15746055">
              <a:off x="-177888" y="1123433"/>
              <a:ext cx="5330696" cy="5499097"/>
              <a:chOff x="4071312" y="2489702"/>
              <a:chExt cx="3527293" cy="3638722"/>
            </a:xfrm>
            <a:noFill/>
          </p:grpSpPr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5F89FD46-1508-DD20-F441-C0C02785B91F}"/>
                  </a:ext>
                </a:extLst>
              </p:cNvPr>
              <p:cNvSpPr/>
              <p:nvPr/>
            </p:nvSpPr>
            <p:spPr>
              <a:xfrm>
                <a:off x="4071312" y="2489702"/>
                <a:ext cx="3259151" cy="3638722"/>
              </a:xfrm>
              <a:custGeom>
                <a:avLst/>
                <a:gdLst>
                  <a:gd name="connsiteX0" fmla="*/ 3079707 w 3259151"/>
                  <a:gd name="connsiteY0" fmla="*/ 3021953 h 3638722"/>
                  <a:gd name="connsiteX1" fmla="*/ 3132080 w 3259151"/>
                  <a:gd name="connsiteY1" fmla="*/ 1787369 h 3638722"/>
                  <a:gd name="connsiteX2" fmla="*/ 3107243 w 3259151"/>
                  <a:gd name="connsiteY2" fmla="*/ 829383 h 3638722"/>
                  <a:gd name="connsiteX3" fmla="*/ 1658848 w 3259151"/>
                  <a:gd name="connsiteY3" fmla="*/ 4990 h 3638722"/>
                  <a:gd name="connsiteX4" fmla="*/ 849418 w 3259151"/>
                  <a:gd name="connsiteY4" fmla="*/ 1005939 h 3638722"/>
                  <a:gd name="connsiteX5" fmla="*/ 4585 w 3259151"/>
                  <a:gd name="connsiteY5" fmla="*/ 2043526 h 3638722"/>
                  <a:gd name="connsiteX6" fmla="*/ 820725 w 3259151"/>
                  <a:gd name="connsiteY6" fmla="*/ 2918441 h 3638722"/>
                  <a:gd name="connsiteX7" fmla="*/ 2033249 w 3259151"/>
                  <a:gd name="connsiteY7" fmla="*/ 3633846 h 3638722"/>
                  <a:gd name="connsiteX8" fmla="*/ 3079785 w 3259151"/>
                  <a:gd name="connsiteY8" fmla="*/ 3022030 h 3638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59151" h="3638722">
                    <a:moveTo>
                      <a:pt x="3079707" y="3021953"/>
                    </a:moveTo>
                    <a:cubicBezTo>
                      <a:pt x="3412226" y="2666372"/>
                      <a:pt x="3192167" y="2234970"/>
                      <a:pt x="3132080" y="1787369"/>
                    </a:cubicBezTo>
                    <a:cubicBezTo>
                      <a:pt x="3085955" y="1443358"/>
                      <a:pt x="3380525" y="1084923"/>
                      <a:pt x="3107243" y="829383"/>
                    </a:cubicBezTo>
                    <a:cubicBezTo>
                      <a:pt x="2749194" y="494473"/>
                      <a:pt x="2109225" y="-58259"/>
                      <a:pt x="1658848" y="4990"/>
                    </a:cubicBezTo>
                    <a:cubicBezTo>
                      <a:pt x="1318153" y="52812"/>
                      <a:pt x="1102645" y="735127"/>
                      <a:pt x="849418" y="1005939"/>
                    </a:cubicBezTo>
                    <a:cubicBezTo>
                      <a:pt x="515743" y="1362755"/>
                      <a:pt x="-56967" y="1594538"/>
                      <a:pt x="4585" y="2043526"/>
                    </a:cubicBezTo>
                    <a:cubicBezTo>
                      <a:pt x="51559" y="2385918"/>
                      <a:pt x="548678" y="2663981"/>
                      <a:pt x="820725" y="2918441"/>
                    </a:cubicBezTo>
                    <a:cubicBezTo>
                      <a:pt x="1173298" y="3248183"/>
                      <a:pt x="1589043" y="3690075"/>
                      <a:pt x="2033249" y="3633846"/>
                    </a:cubicBezTo>
                    <a:cubicBezTo>
                      <a:pt x="2381349" y="3589726"/>
                      <a:pt x="2821390" y="3298397"/>
                      <a:pt x="3079785" y="302203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09233CC-DF9B-3DA9-462B-DCE19FB475A5}"/>
                  </a:ext>
                </a:extLst>
              </p:cNvPr>
              <p:cNvSpPr/>
              <p:nvPr/>
            </p:nvSpPr>
            <p:spPr>
              <a:xfrm>
                <a:off x="4109618" y="2534620"/>
                <a:ext cx="3220782" cy="3579817"/>
              </a:xfrm>
              <a:custGeom>
                <a:avLst/>
                <a:gdLst>
                  <a:gd name="connsiteX0" fmla="*/ 791058 w 3220782"/>
                  <a:gd name="connsiteY0" fmla="*/ 2907154 h 3579817"/>
                  <a:gd name="connsiteX1" fmla="*/ 2002194 w 3220782"/>
                  <a:gd name="connsiteY1" fmla="*/ 3574659 h 3579817"/>
                  <a:gd name="connsiteX2" fmla="*/ 3028289 w 3220782"/>
                  <a:gd name="connsiteY2" fmla="*/ 2934613 h 3579817"/>
                  <a:gd name="connsiteX3" fmla="*/ 3129333 w 3220782"/>
                  <a:gd name="connsiteY3" fmla="*/ 1743455 h 3579817"/>
                  <a:gd name="connsiteX4" fmla="*/ 3052277 w 3220782"/>
                  <a:gd name="connsiteY4" fmla="*/ 731167 h 3579817"/>
                  <a:gd name="connsiteX5" fmla="*/ 1620928 w 3220782"/>
                  <a:gd name="connsiteY5" fmla="*/ 5581 h 3579817"/>
                  <a:gd name="connsiteX6" fmla="*/ 765913 w 3220782"/>
                  <a:gd name="connsiteY6" fmla="*/ 939888 h 3579817"/>
                  <a:gd name="connsiteX7" fmla="*/ 5000 w 3220782"/>
                  <a:gd name="connsiteY7" fmla="*/ 1991745 h 3579817"/>
                  <a:gd name="connsiteX8" fmla="*/ 791058 w 3220782"/>
                  <a:gd name="connsiteY8" fmla="*/ 2907231 h 3579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782" h="3579817">
                    <a:moveTo>
                      <a:pt x="791058" y="2907154"/>
                    </a:moveTo>
                    <a:cubicBezTo>
                      <a:pt x="1139775" y="3222549"/>
                      <a:pt x="1564312" y="3630426"/>
                      <a:pt x="2002194" y="3574659"/>
                    </a:cubicBezTo>
                    <a:cubicBezTo>
                      <a:pt x="2362558" y="3528688"/>
                      <a:pt x="2770743" y="3219772"/>
                      <a:pt x="3028289" y="2934613"/>
                    </a:cubicBezTo>
                    <a:cubicBezTo>
                      <a:pt x="3345767" y="2583197"/>
                      <a:pt x="3188417" y="2184113"/>
                      <a:pt x="3129333" y="1743455"/>
                    </a:cubicBezTo>
                    <a:cubicBezTo>
                      <a:pt x="3081433" y="1386485"/>
                      <a:pt x="3334968" y="986244"/>
                      <a:pt x="3052277" y="731167"/>
                    </a:cubicBezTo>
                    <a:cubicBezTo>
                      <a:pt x="2698624" y="412069"/>
                      <a:pt x="2063823" y="-56434"/>
                      <a:pt x="1620928" y="5581"/>
                    </a:cubicBezTo>
                    <a:cubicBezTo>
                      <a:pt x="1267198" y="54946"/>
                      <a:pt x="1018908" y="659665"/>
                      <a:pt x="765913" y="939888"/>
                    </a:cubicBezTo>
                    <a:cubicBezTo>
                      <a:pt x="447664" y="1292461"/>
                      <a:pt x="-55549" y="1549929"/>
                      <a:pt x="5000" y="1991745"/>
                    </a:cubicBezTo>
                    <a:cubicBezTo>
                      <a:pt x="53516" y="2346477"/>
                      <a:pt x="510218" y="2653234"/>
                      <a:pt x="791058" y="290723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840C5AE-63BF-2911-72B4-EEA8038BE42A}"/>
                  </a:ext>
                </a:extLst>
              </p:cNvPr>
              <p:cNvSpPr/>
              <p:nvPr/>
            </p:nvSpPr>
            <p:spPr>
              <a:xfrm>
                <a:off x="4147825" y="2579175"/>
                <a:ext cx="3187979" cy="3521387"/>
              </a:xfrm>
              <a:custGeom>
                <a:avLst/>
                <a:gdLst>
                  <a:gd name="connsiteX0" fmla="*/ 761567 w 3187979"/>
                  <a:gd name="connsiteY0" fmla="*/ 2896229 h 3521387"/>
                  <a:gd name="connsiteX1" fmla="*/ 1971315 w 3187979"/>
                  <a:gd name="connsiteY1" fmla="*/ 3515912 h 3521387"/>
                  <a:gd name="connsiteX2" fmla="*/ 2977047 w 3187979"/>
                  <a:gd name="connsiteY2" fmla="*/ 2847635 h 3521387"/>
                  <a:gd name="connsiteX3" fmla="*/ 3126683 w 3187979"/>
                  <a:gd name="connsiteY3" fmla="*/ 1699825 h 3521387"/>
                  <a:gd name="connsiteX4" fmla="*/ 2997409 w 3187979"/>
                  <a:gd name="connsiteY4" fmla="*/ 633236 h 3521387"/>
                  <a:gd name="connsiteX5" fmla="*/ 1583183 w 3187979"/>
                  <a:gd name="connsiteY5" fmla="*/ 6380 h 3521387"/>
                  <a:gd name="connsiteX6" fmla="*/ 682583 w 3187979"/>
                  <a:gd name="connsiteY6" fmla="*/ 874121 h 3521387"/>
                  <a:gd name="connsiteX7" fmla="*/ 5513 w 3187979"/>
                  <a:gd name="connsiteY7" fmla="*/ 1940171 h 3521387"/>
                  <a:gd name="connsiteX8" fmla="*/ 761567 w 3187979"/>
                  <a:gd name="connsiteY8" fmla="*/ 2896229 h 3521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87979" h="3521387">
                    <a:moveTo>
                      <a:pt x="761567" y="2896229"/>
                    </a:moveTo>
                    <a:cubicBezTo>
                      <a:pt x="1106195" y="3197508"/>
                      <a:pt x="1539681" y="3571139"/>
                      <a:pt x="1971315" y="3515912"/>
                    </a:cubicBezTo>
                    <a:cubicBezTo>
                      <a:pt x="2343865" y="3468090"/>
                      <a:pt x="2720426" y="3141742"/>
                      <a:pt x="2977047" y="2847635"/>
                    </a:cubicBezTo>
                    <a:cubicBezTo>
                      <a:pt x="3279715" y="2500770"/>
                      <a:pt x="3184842" y="2133542"/>
                      <a:pt x="3126683" y="1699825"/>
                    </a:cubicBezTo>
                    <a:cubicBezTo>
                      <a:pt x="3077087" y="1329975"/>
                      <a:pt x="3289665" y="887620"/>
                      <a:pt x="2997409" y="633236"/>
                    </a:cubicBezTo>
                    <a:cubicBezTo>
                      <a:pt x="2648539" y="329565"/>
                      <a:pt x="2018520" y="-54246"/>
                      <a:pt x="1583183" y="6380"/>
                    </a:cubicBezTo>
                    <a:cubicBezTo>
                      <a:pt x="1216418" y="57287"/>
                      <a:pt x="935115" y="584257"/>
                      <a:pt x="682583" y="874121"/>
                    </a:cubicBezTo>
                    <a:cubicBezTo>
                      <a:pt x="379529" y="1222066"/>
                      <a:pt x="-53879" y="1505683"/>
                      <a:pt x="5513" y="1940171"/>
                    </a:cubicBezTo>
                    <a:cubicBezTo>
                      <a:pt x="55572" y="2307322"/>
                      <a:pt x="471703" y="2642848"/>
                      <a:pt x="761567" y="28962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670155B9-6A19-E062-F634-B9819902A786}"/>
                  </a:ext>
                </a:extLst>
              </p:cNvPr>
              <p:cNvSpPr/>
              <p:nvPr/>
            </p:nvSpPr>
            <p:spPr>
              <a:xfrm>
                <a:off x="4185926" y="2623532"/>
                <a:ext cx="3162650" cy="3463280"/>
              </a:xfrm>
              <a:custGeom>
                <a:avLst/>
                <a:gdLst>
                  <a:gd name="connsiteX0" fmla="*/ 732182 w 3162650"/>
                  <a:gd name="connsiteY0" fmla="*/ 2885579 h 3463280"/>
                  <a:gd name="connsiteX1" fmla="*/ 1940541 w 3162650"/>
                  <a:gd name="connsiteY1" fmla="*/ 3457440 h 3463280"/>
                  <a:gd name="connsiteX2" fmla="*/ 2925910 w 3162650"/>
                  <a:gd name="connsiteY2" fmla="*/ 2760933 h 3463280"/>
                  <a:gd name="connsiteX3" fmla="*/ 3124217 w 3162650"/>
                  <a:gd name="connsiteY3" fmla="*/ 1656549 h 3463280"/>
                  <a:gd name="connsiteX4" fmla="*/ 2942725 w 3162650"/>
                  <a:gd name="connsiteY4" fmla="*/ 535658 h 3463280"/>
                  <a:gd name="connsiteX5" fmla="*/ 1545622 w 3162650"/>
                  <a:gd name="connsiteY5" fmla="*/ 7609 h 3463280"/>
                  <a:gd name="connsiteX6" fmla="*/ 599436 w 3162650"/>
                  <a:gd name="connsiteY6" fmla="*/ 808708 h 3463280"/>
                  <a:gd name="connsiteX7" fmla="*/ 6210 w 3162650"/>
                  <a:gd name="connsiteY7" fmla="*/ 1888949 h 3463280"/>
                  <a:gd name="connsiteX8" fmla="*/ 732182 w 3162650"/>
                  <a:gd name="connsiteY8" fmla="*/ 2885579 h 3463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62650" h="3463280">
                    <a:moveTo>
                      <a:pt x="732182" y="2885579"/>
                    </a:moveTo>
                    <a:cubicBezTo>
                      <a:pt x="1072413" y="3173052"/>
                      <a:pt x="1515232" y="3512050"/>
                      <a:pt x="1940541" y="3457440"/>
                    </a:cubicBezTo>
                    <a:cubicBezTo>
                      <a:pt x="2325355" y="3407689"/>
                      <a:pt x="2670370" y="3064218"/>
                      <a:pt x="2925910" y="2760933"/>
                    </a:cubicBezTo>
                    <a:cubicBezTo>
                      <a:pt x="3214077" y="2418850"/>
                      <a:pt x="3181450" y="2083246"/>
                      <a:pt x="3124217" y="1656549"/>
                    </a:cubicBezTo>
                    <a:cubicBezTo>
                      <a:pt x="3072847" y="1273817"/>
                      <a:pt x="3244776" y="789270"/>
                      <a:pt x="2942725" y="535658"/>
                    </a:cubicBezTo>
                    <a:cubicBezTo>
                      <a:pt x="2599022" y="247105"/>
                      <a:pt x="1973399" y="-51783"/>
                      <a:pt x="1545622" y="7609"/>
                    </a:cubicBezTo>
                    <a:cubicBezTo>
                      <a:pt x="1165821" y="60059"/>
                      <a:pt x="851352" y="508970"/>
                      <a:pt x="599436" y="808708"/>
                    </a:cubicBezTo>
                    <a:cubicBezTo>
                      <a:pt x="311192" y="1151639"/>
                      <a:pt x="-52025" y="1461712"/>
                      <a:pt x="6210" y="1888949"/>
                    </a:cubicBezTo>
                    <a:cubicBezTo>
                      <a:pt x="57888" y="2268441"/>
                      <a:pt x="433139" y="2632970"/>
                      <a:pt x="732182" y="28855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5B6B6106-1BBA-3A32-755F-109478F6E3A3}"/>
                  </a:ext>
                </a:extLst>
              </p:cNvPr>
              <p:cNvSpPr/>
              <p:nvPr/>
            </p:nvSpPr>
            <p:spPr>
              <a:xfrm>
                <a:off x="4223622" y="2666959"/>
                <a:ext cx="3145783" cy="3406134"/>
              </a:xfrm>
              <a:custGeom>
                <a:avLst/>
                <a:gdLst>
                  <a:gd name="connsiteX0" fmla="*/ 703202 w 3145783"/>
                  <a:gd name="connsiteY0" fmla="*/ 2875858 h 3406134"/>
                  <a:gd name="connsiteX1" fmla="*/ 1910173 w 3145783"/>
                  <a:gd name="connsiteY1" fmla="*/ 3399820 h 3406134"/>
                  <a:gd name="connsiteX2" fmla="*/ 2875101 w 3145783"/>
                  <a:gd name="connsiteY2" fmla="*/ 2675082 h 3406134"/>
                  <a:gd name="connsiteX3" fmla="*/ 3122003 w 3145783"/>
                  <a:gd name="connsiteY3" fmla="*/ 1614047 h 3406134"/>
                  <a:gd name="connsiteX4" fmla="*/ 2888291 w 3145783"/>
                  <a:gd name="connsiteY4" fmla="*/ 438855 h 3406134"/>
                  <a:gd name="connsiteX5" fmla="*/ 1508312 w 3145783"/>
                  <a:gd name="connsiteY5" fmla="*/ 9612 h 3406134"/>
                  <a:gd name="connsiteX6" fmla="*/ 516541 w 3145783"/>
                  <a:gd name="connsiteY6" fmla="*/ 744146 h 3406134"/>
                  <a:gd name="connsiteX7" fmla="*/ 7234 w 3145783"/>
                  <a:gd name="connsiteY7" fmla="*/ 1838580 h 3406134"/>
                  <a:gd name="connsiteX8" fmla="*/ 703125 w 3145783"/>
                  <a:gd name="connsiteY8" fmla="*/ 2875858 h 340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45783" h="3406134">
                    <a:moveTo>
                      <a:pt x="703202" y="2875858"/>
                    </a:moveTo>
                    <a:cubicBezTo>
                      <a:pt x="1038729" y="3149756"/>
                      <a:pt x="1491188" y="3453967"/>
                      <a:pt x="1910173" y="3399820"/>
                    </a:cubicBezTo>
                    <a:cubicBezTo>
                      <a:pt x="2307174" y="3348218"/>
                      <a:pt x="2620872" y="2987778"/>
                      <a:pt x="2875101" y="2675082"/>
                    </a:cubicBezTo>
                    <a:cubicBezTo>
                      <a:pt x="3149077" y="2338167"/>
                      <a:pt x="3178310" y="2033802"/>
                      <a:pt x="3122003" y="1614047"/>
                    </a:cubicBezTo>
                    <a:cubicBezTo>
                      <a:pt x="3068936" y="1218434"/>
                      <a:pt x="3200369" y="691464"/>
                      <a:pt x="2888291" y="438855"/>
                    </a:cubicBezTo>
                    <a:cubicBezTo>
                      <a:pt x="2549988" y="165034"/>
                      <a:pt x="1928530" y="-48546"/>
                      <a:pt x="1508312" y="9612"/>
                    </a:cubicBezTo>
                    <a:cubicBezTo>
                      <a:pt x="1115476" y="63605"/>
                      <a:pt x="767685" y="434304"/>
                      <a:pt x="516541" y="744146"/>
                    </a:cubicBezTo>
                    <a:cubicBezTo>
                      <a:pt x="242797" y="1081832"/>
                      <a:pt x="-49998" y="1418593"/>
                      <a:pt x="7234" y="1838580"/>
                    </a:cubicBezTo>
                    <a:cubicBezTo>
                      <a:pt x="60456" y="2230413"/>
                      <a:pt x="394749" y="2624098"/>
                      <a:pt x="703125" y="287585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FD90419F-ABE1-3AB4-80FD-D7D02AF2DF7B}"/>
                  </a:ext>
                </a:extLst>
              </p:cNvPr>
              <p:cNvSpPr/>
              <p:nvPr/>
            </p:nvSpPr>
            <p:spPr>
              <a:xfrm>
                <a:off x="4260986" y="2709255"/>
                <a:ext cx="3135893" cy="3350272"/>
              </a:xfrm>
              <a:custGeom>
                <a:avLst/>
                <a:gdLst>
                  <a:gd name="connsiteX0" fmla="*/ 674554 w 3135893"/>
                  <a:gd name="connsiteY0" fmla="*/ 2867269 h 3350272"/>
                  <a:gd name="connsiteX1" fmla="*/ 1880214 w 3135893"/>
                  <a:gd name="connsiteY1" fmla="*/ 3343408 h 3350272"/>
                  <a:gd name="connsiteX2" fmla="*/ 2824779 w 3135893"/>
                  <a:gd name="connsiteY2" fmla="*/ 2590440 h 3350272"/>
                  <a:gd name="connsiteX3" fmla="*/ 3120352 w 3135893"/>
                  <a:gd name="connsiteY3" fmla="*/ 1572830 h 3350272"/>
                  <a:gd name="connsiteX4" fmla="*/ 2834498 w 3135893"/>
                  <a:gd name="connsiteY4" fmla="*/ 343337 h 3350272"/>
                  <a:gd name="connsiteX5" fmla="*/ 1471565 w 3135893"/>
                  <a:gd name="connsiteY5" fmla="*/ 12824 h 3350272"/>
                  <a:gd name="connsiteX6" fmla="*/ 434209 w 3135893"/>
                  <a:gd name="connsiteY6" fmla="*/ 680715 h 3350272"/>
                  <a:gd name="connsiteX7" fmla="*/ 8746 w 3135893"/>
                  <a:gd name="connsiteY7" fmla="*/ 1789341 h 3350272"/>
                  <a:gd name="connsiteX8" fmla="*/ 674631 w 3135893"/>
                  <a:gd name="connsiteY8" fmla="*/ 2867192 h 3350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893" h="3350272">
                    <a:moveTo>
                      <a:pt x="674554" y="2867269"/>
                    </a:moveTo>
                    <a:cubicBezTo>
                      <a:pt x="1005144" y="3127900"/>
                      <a:pt x="1467477" y="3396938"/>
                      <a:pt x="1880214" y="3343408"/>
                    </a:cubicBezTo>
                    <a:cubicBezTo>
                      <a:pt x="2289402" y="3289956"/>
                      <a:pt x="2572016" y="2912777"/>
                      <a:pt x="2824779" y="2590440"/>
                    </a:cubicBezTo>
                    <a:cubicBezTo>
                      <a:pt x="3084794" y="2258847"/>
                      <a:pt x="3175656" y="1985567"/>
                      <a:pt x="3120352" y="1572830"/>
                    </a:cubicBezTo>
                    <a:cubicBezTo>
                      <a:pt x="3065587" y="1164336"/>
                      <a:pt x="3156758" y="594635"/>
                      <a:pt x="2834498" y="343337"/>
                    </a:cubicBezTo>
                    <a:cubicBezTo>
                      <a:pt x="2512238" y="92039"/>
                      <a:pt x="1884302" y="-44023"/>
                      <a:pt x="1471565" y="12824"/>
                    </a:cubicBezTo>
                    <a:cubicBezTo>
                      <a:pt x="1065694" y="68359"/>
                      <a:pt x="684273" y="360692"/>
                      <a:pt x="434209" y="680715"/>
                    </a:cubicBezTo>
                    <a:cubicBezTo>
                      <a:pt x="174658" y="1012848"/>
                      <a:pt x="-47330" y="1376605"/>
                      <a:pt x="8746" y="1789341"/>
                    </a:cubicBezTo>
                    <a:cubicBezTo>
                      <a:pt x="63510" y="2193593"/>
                      <a:pt x="356691" y="2616588"/>
                      <a:pt x="674631" y="286719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3EC335AB-C87E-B212-4C1D-5313891BBB3B}"/>
                  </a:ext>
                </a:extLst>
              </p:cNvPr>
              <p:cNvSpPr/>
              <p:nvPr/>
            </p:nvSpPr>
            <p:spPr>
              <a:xfrm>
                <a:off x="4297185" y="2745782"/>
                <a:ext cx="3130741" cy="3300265"/>
              </a:xfrm>
              <a:custGeom>
                <a:avLst/>
                <a:gdLst>
                  <a:gd name="connsiteX0" fmla="*/ 647071 w 3130741"/>
                  <a:gd name="connsiteY0" fmla="*/ 2864372 h 3300265"/>
                  <a:gd name="connsiteX1" fmla="*/ 1851342 w 3130741"/>
                  <a:gd name="connsiteY1" fmla="*/ 3292689 h 3300265"/>
                  <a:gd name="connsiteX2" fmla="*/ 2775545 w 3130741"/>
                  <a:gd name="connsiteY2" fmla="*/ 2511491 h 3300265"/>
                  <a:gd name="connsiteX3" fmla="*/ 3119711 w 3130741"/>
                  <a:gd name="connsiteY3" fmla="*/ 1537229 h 3300265"/>
                  <a:gd name="connsiteX4" fmla="*/ 2781639 w 3130741"/>
                  <a:gd name="connsiteY4" fmla="*/ 253435 h 3300265"/>
                  <a:gd name="connsiteX5" fmla="*/ 1435829 w 3130741"/>
                  <a:gd name="connsiteY5" fmla="*/ 21729 h 3300265"/>
                  <a:gd name="connsiteX6" fmla="*/ 352887 w 3130741"/>
                  <a:gd name="connsiteY6" fmla="*/ 622977 h 3300265"/>
                  <a:gd name="connsiteX7" fmla="*/ 11267 w 3130741"/>
                  <a:gd name="connsiteY7" fmla="*/ 1745873 h 3300265"/>
                  <a:gd name="connsiteX8" fmla="*/ 647071 w 3130741"/>
                  <a:gd name="connsiteY8" fmla="*/ 2864295 h 3300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0741" h="3300265">
                    <a:moveTo>
                      <a:pt x="647071" y="2864372"/>
                    </a:moveTo>
                    <a:cubicBezTo>
                      <a:pt x="972571" y="3111968"/>
                      <a:pt x="1444853" y="3345679"/>
                      <a:pt x="1851342" y="3292689"/>
                    </a:cubicBezTo>
                    <a:cubicBezTo>
                      <a:pt x="2272795" y="3237385"/>
                      <a:pt x="2524556" y="2843624"/>
                      <a:pt x="2775545" y="2511491"/>
                    </a:cubicBezTo>
                    <a:cubicBezTo>
                      <a:pt x="3021907" y="2185529"/>
                      <a:pt x="3174166" y="1943024"/>
                      <a:pt x="3119711" y="1537229"/>
                    </a:cubicBezTo>
                    <a:cubicBezTo>
                      <a:pt x="3063172" y="1115777"/>
                      <a:pt x="3114388" y="503190"/>
                      <a:pt x="2781639" y="253435"/>
                    </a:cubicBezTo>
                    <a:cubicBezTo>
                      <a:pt x="2455059" y="8308"/>
                      <a:pt x="1841007" y="-33884"/>
                      <a:pt x="1435829" y="21729"/>
                    </a:cubicBezTo>
                    <a:cubicBezTo>
                      <a:pt x="1016845" y="78884"/>
                      <a:pt x="601640" y="292464"/>
                      <a:pt x="352887" y="622977"/>
                    </a:cubicBezTo>
                    <a:cubicBezTo>
                      <a:pt x="107297" y="949325"/>
                      <a:pt x="-43651" y="1340387"/>
                      <a:pt x="11267" y="1745873"/>
                    </a:cubicBezTo>
                    <a:cubicBezTo>
                      <a:pt x="67574" y="2162466"/>
                      <a:pt x="319412" y="2615080"/>
                      <a:pt x="647071" y="286429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0DC20A94-E509-9BC5-75A5-97E9CA3C28D2}"/>
                  </a:ext>
                </a:extLst>
              </p:cNvPr>
              <p:cNvSpPr/>
              <p:nvPr/>
            </p:nvSpPr>
            <p:spPr>
              <a:xfrm>
                <a:off x="4331073" y="2769810"/>
                <a:ext cx="3129679" cy="3263042"/>
              </a:xfrm>
              <a:custGeom>
                <a:avLst/>
                <a:gdLst>
                  <a:gd name="connsiteX0" fmla="*/ 621899 w 3129679"/>
                  <a:gd name="connsiteY0" fmla="*/ 2874051 h 3263042"/>
                  <a:gd name="connsiteX1" fmla="*/ 1824782 w 3129679"/>
                  <a:gd name="connsiteY1" fmla="*/ 3254546 h 3263042"/>
                  <a:gd name="connsiteX2" fmla="*/ 2728544 w 3129679"/>
                  <a:gd name="connsiteY2" fmla="*/ 2445116 h 3263042"/>
                  <a:gd name="connsiteX3" fmla="*/ 3121380 w 3129679"/>
                  <a:gd name="connsiteY3" fmla="*/ 1514281 h 3263042"/>
                  <a:gd name="connsiteX4" fmla="*/ 2731090 w 3129679"/>
                  <a:gd name="connsiteY4" fmla="*/ 176262 h 3263042"/>
                  <a:gd name="connsiteX5" fmla="*/ 1402404 w 3129679"/>
                  <a:gd name="connsiteY5" fmla="*/ 43363 h 3263042"/>
                  <a:gd name="connsiteX6" fmla="*/ 273877 w 3129679"/>
                  <a:gd name="connsiteY6" fmla="*/ 578045 h 3263042"/>
                  <a:gd name="connsiteX7" fmla="*/ 16177 w 3129679"/>
                  <a:gd name="connsiteY7" fmla="*/ 1715134 h 3263042"/>
                  <a:gd name="connsiteX8" fmla="*/ 621899 w 3129679"/>
                  <a:gd name="connsiteY8" fmla="*/ 2874205 h 3263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29679" h="3263042">
                    <a:moveTo>
                      <a:pt x="621899" y="2874051"/>
                    </a:moveTo>
                    <a:cubicBezTo>
                      <a:pt x="941999" y="3108842"/>
                      <a:pt x="1424618" y="3306996"/>
                      <a:pt x="1824782" y="3254546"/>
                    </a:cubicBezTo>
                    <a:cubicBezTo>
                      <a:pt x="2258421" y="3197313"/>
                      <a:pt x="2479637" y="2787277"/>
                      <a:pt x="2728544" y="2445116"/>
                    </a:cubicBezTo>
                    <a:cubicBezTo>
                      <a:pt x="2961485" y="2124939"/>
                      <a:pt x="3174833" y="1913056"/>
                      <a:pt x="3121380" y="1514281"/>
                    </a:cubicBezTo>
                    <a:cubicBezTo>
                      <a:pt x="3063145" y="1079947"/>
                      <a:pt x="3074561" y="424089"/>
                      <a:pt x="2731090" y="176262"/>
                    </a:cubicBezTo>
                    <a:cubicBezTo>
                      <a:pt x="2410681" y="-54982"/>
                      <a:pt x="1800022" y="-10939"/>
                      <a:pt x="1402404" y="43363"/>
                    </a:cubicBezTo>
                    <a:cubicBezTo>
                      <a:pt x="970384" y="102060"/>
                      <a:pt x="521009" y="236734"/>
                      <a:pt x="273877" y="578045"/>
                    </a:cubicBezTo>
                    <a:cubicBezTo>
                      <a:pt x="41862" y="898377"/>
                      <a:pt x="-37739" y="1316898"/>
                      <a:pt x="16177" y="1715134"/>
                    </a:cubicBezTo>
                    <a:cubicBezTo>
                      <a:pt x="74026" y="2144068"/>
                      <a:pt x="284289" y="2626532"/>
                      <a:pt x="621899" y="287420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0D863E38-058A-3D7D-5CC7-C9531432613C}"/>
                  </a:ext>
                </a:extLst>
              </p:cNvPr>
              <p:cNvSpPr/>
              <p:nvPr/>
            </p:nvSpPr>
            <p:spPr>
              <a:xfrm>
                <a:off x="4358871" y="2771233"/>
                <a:ext cx="3135688" cy="3248662"/>
              </a:xfrm>
              <a:custGeom>
                <a:avLst/>
                <a:gdLst>
                  <a:gd name="connsiteX0" fmla="*/ 602817 w 3135688"/>
                  <a:gd name="connsiteY0" fmla="*/ 2906335 h 3248662"/>
                  <a:gd name="connsiteX1" fmla="*/ 1804311 w 3135688"/>
                  <a:gd name="connsiteY1" fmla="*/ 3238930 h 3248662"/>
                  <a:gd name="connsiteX2" fmla="*/ 2687711 w 3135688"/>
                  <a:gd name="connsiteY2" fmla="*/ 2401271 h 3248662"/>
                  <a:gd name="connsiteX3" fmla="*/ 3129140 w 3135688"/>
                  <a:gd name="connsiteY3" fmla="*/ 1513860 h 3248662"/>
                  <a:gd name="connsiteX4" fmla="*/ 2686631 w 3135688"/>
                  <a:gd name="connsiteY4" fmla="*/ 121540 h 3248662"/>
                  <a:gd name="connsiteX5" fmla="*/ 1375068 w 3135688"/>
                  <a:gd name="connsiteY5" fmla="*/ 87448 h 3248662"/>
                  <a:gd name="connsiteX6" fmla="*/ 200956 w 3135688"/>
                  <a:gd name="connsiteY6" fmla="*/ 555488 h 3248662"/>
                  <a:gd name="connsiteX7" fmla="*/ 27099 w 3135688"/>
                  <a:gd name="connsiteY7" fmla="*/ 1706769 h 3248662"/>
                  <a:gd name="connsiteX8" fmla="*/ 602817 w 3135688"/>
                  <a:gd name="connsiteY8" fmla="*/ 2906412 h 3248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688" h="3248662">
                    <a:moveTo>
                      <a:pt x="602817" y="2906335"/>
                    </a:moveTo>
                    <a:cubicBezTo>
                      <a:pt x="917441" y="3128631"/>
                      <a:pt x="1410472" y="3290840"/>
                      <a:pt x="1804311" y="3238930"/>
                    </a:cubicBezTo>
                    <a:cubicBezTo>
                      <a:pt x="2250214" y="3179847"/>
                      <a:pt x="2441195" y="2753612"/>
                      <a:pt x="2687711" y="2401271"/>
                    </a:cubicBezTo>
                    <a:cubicBezTo>
                      <a:pt x="2907538" y="2087032"/>
                      <a:pt x="3181668" y="1905617"/>
                      <a:pt x="3129140" y="1513860"/>
                    </a:cubicBezTo>
                    <a:cubicBezTo>
                      <a:pt x="3069209" y="1066646"/>
                      <a:pt x="3040978" y="367208"/>
                      <a:pt x="2686631" y="121540"/>
                    </a:cubicBezTo>
                    <a:cubicBezTo>
                      <a:pt x="2372624" y="-96128"/>
                      <a:pt x="1765128" y="34381"/>
                      <a:pt x="1375068" y="87448"/>
                    </a:cubicBezTo>
                    <a:cubicBezTo>
                      <a:pt x="930013" y="147688"/>
                      <a:pt x="446083" y="203301"/>
                      <a:pt x="200956" y="555488"/>
                    </a:cubicBezTo>
                    <a:cubicBezTo>
                      <a:pt x="-17715" y="869649"/>
                      <a:pt x="-25660" y="1315784"/>
                      <a:pt x="27099" y="1706769"/>
                    </a:cubicBezTo>
                    <a:cubicBezTo>
                      <a:pt x="86568" y="2148122"/>
                      <a:pt x="255026" y="2660667"/>
                      <a:pt x="602817" y="290641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AE8998C1-6FE5-44C2-FAA7-9B255954766D}"/>
                  </a:ext>
                </a:extLst>
              </p:cNvPr>
              <p:cNvSpPr/>
              <p:nvPr/>
            </p:nvSpPr>
            <p:spPr>
              <a:xfrm>
                <a:off x="4372952" y="2753381"/>
                <a:ext cx="3156027" cy="3254119"/>
              </a:xfrm>
              <a:custGeom>
                <a:avLst/>
                <a:gdLst>
                  <a:gd name="connsiteX0" fmla="*/ 597452 w 3156027"/>
                  <a:gd name="connsiteY0" fmla="*/ 2957894 h 3254119"/>
                  <a:gd name="connsiteX1" fmla="*/ 1797558 w 3156027"/>
                  <a:gd name="connsiteY1" fmla="*/ 3242667 h 3254119"/>
                  <a:gd name="connsiteX2" fmla="*/ 2660594 w 3156027"/>
                  <a:gd name="connsiteY2" fmla="*/ 2376700 h 3254119"/>
                  <a:gd name="connsiteX3" fmla="*/ 3150695 w 3156027"/>
                  <a:gd name="connsiteY3" fmla="*/ 1532638 h 3254119"/>
                  <a:gd name="connsiteX4" fmla="*/ 2655966 w 3156027"/>
                  <a:gd name="connsiteY4" fmla="*/ 86017 h 3254119"/>
                  <a:gd name="connsiteX5" fmla="*/ 1361450 w 3156027"/>
                  <a:gd name="connsiteY5" fmla="*/ 150654 h 3254119"/>
                  <a:gd name="connsiteX6" fmla="*/ 141752 w 3156027"/>
                  <a:gd name="connsiteY6" fmla="*/ 552129 h 3254119"/>
                  <a:gd name="connsiteX7" fmla="*/ 51738 w 3156027"/>
                  <a:gd name="connsiteY7" fmla="*/ 1717602 h 3254119"/>
                  <a:gd name="connsiteX8" fmla="*/ 597374 w 3156027"/>
                  <a:gd name="connsiteY8" fmla="*/ 2957816 h 3254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56027" h="3254119">
                    <a:moveTo>
                      <a:pt x="597452" y="2957894"/>
                    </a:moveTo>
                    <a:cubicBezTo>
                      <a:pt x="906445" y="3167925"/>
                      <a:pt x="1410044" y="3294037"/>
                      <a:pt x="1797558" y="3242667"/>
                    </a:cubicBezTo>
                    <a:cubicBezTo>
                      <a:pt x="2255648" y="3181732"/>
                      <a:pt x="2416778" y="2739608"/>
                      <a:pt x="2660594" y="2376700"/>
                    </a:cubicBezTo>
                    <a:cubicBezTo>
                      <a:pt x="2867541" y="2068555"/>
                      <a:pt x="3202297" y="1917452"/>
                      <a:pt x="3150695" y="1532638"/>
                    </a:cubicBezTo>
                    <a:cubicBezTo>
                      <a:pt x="3088989" y="1072542"/>
                      <a:pt x="3021574" y="329061"/>
                      <a:pt x="2655966" y="86017"/>
                    </a:cubicBezTo>
                    <a:cubicBezTo>
                      <a:pt x="2348516" y="-118385"/>
                      <a:pt x="1744028" y="98898"/>
                      <a:pt x="1361450" y="150654"/>
                    </a:cubicBezTo>
                    <a:cubicBezTo>
                      <a:pt x="903359" y="212437"/>
                      <a:pt x="384566" y="188680"/>
                      <a:pt x="141752" y="552129"/>
                    </a:cubicBezTo>
                    <a:cubicBezTo>
                      <a:pt x="-63883" y="859965"/>
                      <a:pt x="60" y="1333867"/>
                      <a:pt x="51738" y="1717602"/>
                    </a:cubicBezTo>
                    <a:cubicBezTo>
                      <a:pt x="112750" y="2171296"/>
                      <a:pt x="239248" y="2714386"/>
                      <a:pt x="597374" y="2957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6CB29C1F-983B-7EC2-749E-C2544A472ED4}"/>
                  </a:ext>
                </a:extLst>
              </p:cNvPr>
              <p:cNvSpPr/>
              <p:nvPr/>
            </p:nvSpPr>
            <p:spPr>
              <a:xfrm>
                <a:off x="4369454" y="2723578"/>
                <a:ext cx="3194199" cy="3272228"/>
              </a:xfrm>
              <a:custGeom>
                <a:avLst/>
                <a:gdLst>
                  <a:gd name="connsiteX0" fmla="*/ 609666 w 3194199"/>
                  <a:gd name="connsiteY0" fmla="*/ 3021327 h 3272228"/>
                  <a:gd name="connsiteX1" fmla="*/ 1808461 w 3194199"/>
                  <a:gd name="connsiteY1" fmla="*/ 3258278 h 3272228"/>
                  <a:gd name="connsiteX2" fmla="*/ 2651057 w 3194199"/>
                  <a:gd name="connsiteY2" fmla="*/ 2364080 h 3272228"/>
                  <a:gd name="connsiteX3" fmla="*/ 3189751 w 3194199"/>
                  <a:gd name="connsiteY3" fmla="*/ 1563444 h 3272228"/>
                  <a:gd name="connsiteX4" fmla="*/ 2642804 w 3194199"/>
                  <a:gd name="connsiteY4" fmla="*/ 62522 h 3272228"/>
                  <a:gd name="connsiteX5" fmla="*/ 1365411 w 3194199"/>
                  <a:gd name="connsiteY5" fmla="*/ 225965 h 3272228"/>
                  <a:gd name="connsiteX6" fmla="*/ 100128 w 3194199"/>
                  <a:gd name="connsiteY6" fmla="*/ 560798 h 3272228"/>
                  <a:gd name="connsiteX7" fmla="*/ 94034 w 3194199"/>
                  <a:gd name="connsiteY7" fmla="*/ 1740540 h 3272228"/>
                  <a:gd name="connsiteX8" fmla="*/ 609589 w 3194199"/>
                  <a:gd name="connsiteY8" fmla="*/ 3021327 h 3272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94199" h="3272228">
                    <a:moveTo>
                      <a:pt x="609666" y="3021327"/>
                    </a:moveTo>
                    <a:cubicBezTo>
                      <a:pt x="912874" y="3219326"/>
                      <a:pt x="1427194" y="3309031"/>
                      <a:pt x="1808461" y="3258278"/>
                    </a:cubicBezTo>
                    <a:cubicBezTo>
                      <a:pt x="2278815" y="3195492"/>
                      <a:pt x="2410481" y="2737710"/>
                      <a:pt x="2651057" y="2364080"/>
                    </a:cubicBezTo>
                    <a:cubicBezTo>
                      <a:pt x="2845431" y="2062183"/>
                      <a:pt x="3240427" y="1941240"/>
                      <a:pt x="3189751" y="1563444"/>
                    </a:cubicBezTo>
                    <a:cubicBezTo>
                      <a:pt x="3126348" y="1090390"/>
                      <a:pt x="3019828" y="302481"/>
                      <a:pt x="2642804" y="62522"/>
                    </a:cubicBezTo>
                    <a:cubicBezTo>
                      <a:pt x="2342064" y="-128844"/>
                      <a:pt x="1740430" y="175444"/>
                      <a:pt x="1365411" y="225965"/>
                    </a:cubicBezTo>
                    <a:cubicBezTo>
                      <a:pt x="894285" y="289291"/>
                      <a:pt x="340087" y="185934"/>
                      <a:pt x="100128" y="560798"/>
                    </a:cubicBezTo>
                    <a:cubicBezTo>
                      <a:pt x="-92781" y="862155"/>
                      <a:pt x="43435" y="1364056"/>
                      <a:pt x="94034" y="1740540"/>
                    </a:cubicBezTo>
                    <a:cubicBezTo>
                      <a:pt x="156589" y="2206653"/>
                      <a:pt x="240972" y="2780596"/>
                      <a:pt x="609589" y="302132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B6E4A40B-B7E7-19AC-BD16-583DF171A6AC}"/>
                  </a:ext>
                </a:extLst>
              </p:cNvPr>
              <p:cNvSpPr/>
              <p:nvPr/>
            </p:nvSpPr>
            <p:spPr>
              <a:xfrm>
                <a:off x="4352455" y="2686397"/>
                <a:ext cx="3246150" cy="3299210"/>
              </a:xfrm>
              <a:custGeom>
                <a:avLst/>
                <a:gdLst>
                  <a:gd name="connsiteX0" fmla="*/ 1832787 w 3246150"/>
                  <a:gd name="connsiteY0" fmla="*/ 3281344 h 3299210"/>
                  <a:gd name="connsiteX1" fmla="*/ 2655021 w 3246150"/>
                  <a:gd name="connsiteY1" fmla="*/ 2358915 h 3299210"/>
                  <a:gd name="connsiteX2" fmla="*/ 3242385 w 3246150"/>
                  <a:gd name="connsiteY2" fmla="*/ 1601628 h 3299210"/>
                  <a:gd name="connsiteX3" fmla="*/ 2643296 w 3246150"/>
                  <a:gd name="connsiteY3" fmla="*/ 46404 h 3299210"/>
                  <a:gd name="connsiteX4" fmla="*/ 1383027 w 3246150"/>
                  <a:gd name="connsiteY4" fmla="*/ 308655 h 3299210"/>
                  <a:gd name="connsiteX5" fmla="*/ 72158 w 3246150"/>
                  <a:gd name="connsiteY5" fmla="*/ 576844 h 3299210"/>
                  <a:gd name="connsiteX6" fmla="*/ 149908 w 3246150"/>
                  <a:gd name="connsiteY6" fmla="*/ 1770779 h 3299210"/>
                  <a:gd name="connsiteX7" fmla="*/ 635458 w 3246150"/>
                  <a:gd name="connsiteY7" fmla="*/ 3092214 h 3299210"/>
                  <a:gd name="connsiteX8" fmla="*/ 1832864 w 3246150"/>
                  <a:gd name="connsiteY8" fmla="*/ 3281266 h 3299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6150" h="3299210">
                    <a:moveTo>
                      <a:pt x="1832787" y="3281344"/>
                    </a:moveTo>
                    <a:cubicBezTo>
                      <a:pt x="2315329" y="3216707"/>
                      <a:pt x="2418069" y="2743421"/>
                      <a:pt x="2655021" y="2358915"/>
                    </a:cubicBezTo>
                    <a:cubicBezTo>
                      <a:pt x="2837131" y="2063420"/>
                      <a:pt x="3292059" y="1972558"/>
                      <a:pt x="3242385" y="1601628"/>
                    </a:cubicBezTo>
                    <a:cubicBezTo>
                      <a:pt x="3177285" y="1115693"/>
                      <a:pt x="3031967" y="282661"/>
                      <a:pt x="2643296" y="46404"/>
                    </a:cubicBezTo>
                    <a:cubicBezTo>
                      <a:pt x="2349344" y="-132312"/>
                      <a:pt x="1750487" y="259367"/>
                      <a:pt x="1383027" y="308655"/>
                    </a:cubicBezTo>
                    <a:cubicBezTo>
                      <a:pt x="898866" y="373523"/>
                      <a:pt x="308801" y="190333"/>
                      <a:pt x="72158" y="576844"/>
                    </a:cubicBezTo>
                    <a:cubicBezTo>
                      <a:pt x="-108255" y="871568"/>
                      <a:pt x="100466" y="1401546"/>
                      <a:pt x="149908" y="1770779"/>
                    </a:cubicBezTo>
                    <a:cubicBezTo>
                      <a:pt x="214005" y="2249233"/>
                      <a:pt x="255965" y="2854492"/>
                      <a:pt x="635458" y="3092214"/>
                    </a:cubicBezTo>
                    <a:cubicBezTo>
                      <a:pt x="932804" y="3278490"/>
                      <a:pt x="1457845" y="3331557"/>
                      <a:pt x="1832864" y="328126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6" name="Graphic 5">
              <a:extLst>
                <a:ext uri="{FF2B5EF4-FFF2-40B4-BE49-F238E27FC236}">
                  <a16:creationId xmlns:a16="http://schemas.microsoft.com/office/drawing/2014/main" id="{746D71E9-911F-9BA7-C902-92601D2968B9}"/>
                </a:ext>
              </a:extLst>
            </p:cNvPr>
            <p:cNvGrpSpPr/>
            <p:nvPr/>
          </p:nvGrpSpPr>
          <p:grpSpPr>
            <a:xfrm rot="180525">
              <a:off x="-597053" y="441139"/>
              <a:ext cx="6472770" cy="6313556"/>
              <a:chOff x="4270587" y="2574268"/>
              <a:chExt cx="3544376" cy="3457192"/>
            </a:xfrm>
            <a:noFill/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248A3569-D1D1-4D9D-015D-A904741394B5}"/>
                  </a:ext>
                </a:extLst>
              </p:cNvPr>
              <p:cNvSpPr/>
              <p:nvPr/>
            </p:nvSpPr>
            <p:spPr>
              <a:xfrm>
                <a:off x="4270587" y="2606803"/>
                <a:ext cx="3544376" cy="3424657"/>
              </a:xfrm>
              <a:custGeom>
                <a:avLst/>
                <a:gdLst>
                  <a:gd name="connsiteX0" fmla="*/ 3338832 w 3544376"/>
                  <a:gd name="connsiteY0" fmla="*/ 932573 h 3424657"/>
                  <a:gd name="connsiteX1" fmla="*/ 2419102 w 3544376"/>
                  <a:gd name="connsiteY1" fmla="*/ 117205 h 3424657"/>
                  <a:gd name="connsiteX2" fmla="*/ 1318575 w 3544376"/>
                  <a:gd name="connsiteY2" fmla="*/ 80027 h 3424657"/>
                  <a:gd name="connsiteX3" fmla="*/ 8709 w 3544376"/>
                  <a:gd name="connsiteY3" fmla="*/ 1110518 h 3424657"/>
                  <a:gd name="connsiteX4" fmla="*/ 630398 w 3544376"/>
                  <a:gd name="connsiteY4" fmla="*/ 2237733 h 3424657"/>
                  <a:gd name="connsiteX5" fmla="*/ 1272758 w 3544376"/>
                  <a:gd name="connsiteY5" fmla="*/ 3411536 h 3424657"/>
                  <a:gd name="connsiteX6" fmla="*/ 2390872 w 3544376"/>
                  <a:gd name="connsiteY6" fmla="*/ 2985687 h 3424657"/>
                  <a:gd name="connsiteX7" fmla="*/ 3510760 w 3544376"/>
                  <a:gd name="connsiteY7" fmla="*/ 2132601 h 3424657"/>
                  <a:gd name="connsiteX8" fmla="*/ 3338908 w 3544376"/>
                  <a:gd name="connsiteY8" fmla="*/ 932650 h 342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44376" h="3424657">
                    <a:moveTo>
                      <a:pt x="3338832" y="932573"/>
                    </a:moveTo>
                    <a:cubicBezTo>
                      <a:pt x="3134970" y="490449"/>
                      <a:pt x="2856290" y="230435"/>
                      <a:pt x="2419102" y="117205"/>
                    </a:cubicBezTo>
                    <a:cubicBezTo>
                      <a:pt x="2083036" y="30199"/>
                      <a:pt x="1658344" y="-76630"/>
                      <a:pt x="1318575" y="80027"/>
                    </a:cubicBezTo>
                    <a:cubicBezTo>
                      <a:pt x="873365" y="285354"/>
                      <a:pt x="120088" y="669551"/>
                      <a:pt x="8709" y="1110518"/>
                    </a:cubicBezTo>
                    <a:cubicBezTo>
                      <a:pt x="-75520" y="1444039"/>
                      <a:pt x="475130" y="1900972"/>
                      <a:pt x="630398" y="2237733"/>
                    </a:cubicBezTo>
                    <a:cubicBezTo>
                      <a:pt x="834953" y="2681323"/>
                      <a:pt x="833642" y="3299231"/>
                      <a:pt x="1272758" y="3411536"/>
                    </a:cubicBezTo>
                    <a:cubicBezTo>
                      <a:pt x="1607591" y="3497153"/>
                      <a:pt x="2052568" y="3141650"/>
                      <a:pt x="2390872" y="2985687"/>
                    </a:cubicBezTo>
                    <a:cubicBezTo>
                      <a:pt x="2829217" y="2783523"/>
                      <a:pt x="3395293" y="2565161"/>
                      <a:pt x="3510760" y="2132601"/>
                    </a:cubicBezTo>
                    <a:cubicBezTo>
                      <a:pt x="3601236" y="1793527"/>
                      <a:pt x="3497339" y="1276198"/>
                      <a:pt x="3338908" y="93265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F393B73-999C-9781-5552-7B1F781A223C}"/>
                  </a:ext>
                </a:extLst>
              </p:cNvPr>
              <p:cNvSpPr/>
              <p:nvPr/>
            </p:nvSpPr>
            <p:spPr>
              <a:xfrm>
                <a:off x="4311149" y="2610445"/>
                <a:ext cx="3481515" cy="3380560"/>
              </a:xfrm>
              <a:custGeom>
                <a:avLst/>
                <a:gdLst>
                  <a:gd name="connsiteX0" fmla="*/ 2384788 w 3481515"/>
                  <a:gd name="connsiteY0" fmla="*/ 2986674 h 3380560"/>
                  <a:gd name="connsiteX1" fmla="*/ 3435796 w 3481515"/>
                  <a:gd name="connsiteY1" fmla="*/ 2123946 h 3380560"/>
                  <a:gd name="connsiteX2" fmla="*/ 3309068 w 3481515"/>
                  <a:gd name="connsiteY2" fmla="*/ 911268 h 3380560"/>
                  <a:gd name="connsiteX3" fmla="*/ 2359797 w 3481515"/>
                  <a:gd name="connsiteY3" fmla="*/ 156988 h 3380560"/>
                  <a:gd name="connsiteX4" fmla="*/ 1222399 w 3481515"/>
                  <a:gd name="connsiteY4" fmla="*/ 71757 h 3380560"/>
                  <a:gd name="connsiteX5" fmla="*/ 10492 w 3481515"/>
                  <a:gd name="connsiteY5" fmla="*/ 1123691 h 3380560"/>
                  <a:gd name="connsiteX6" fmla="*/ 573097 w 3481515"/>
                  <a:gd name="connsiteY6" fmla="*/ 2302662 h 3380560"/>
                  <a:gd name="connsiteX7" fmla="*/ 1256646 w 3481515"/>
                  <a:gd name="connsiteY7" fmla="*/ 3364546 h 3380560"/>
                  <a:gd name="connsiteX8" fmla="*/ 2384788 w 3481515"/>
                  <a:gd name="connsiteY8" fmla="*/ 2986674 h 3380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1515" h="3380560">
                    <a:moveTo>
                      <a:pt x="2384788" y="2986674"/>
                    </a:moveTo>
                    <a:cubicBezTo>
                      <a:pt x="2808400" y="2782658"/>
                      <a:pt x="3322257" y="2550489"/>
                      <a:pt x="3435796" y="2123946"/>
                    </a:cubicBezTo>
                    <a:cubicBezTo>
                      <a:pt x="3529127" y="1772916"/>
                      <a:pt x="3475983" y="1257439"/>
                      <a:pt x="3309068" y="911268"/>
                    </a:cubicBezTo>
                    <a:cubicBezTo>
                      <a:pt x="3103355" y="484725"/>
                      <a:pt x="2790197" y="268368"/>
                      <a:pt x="2359797" y="156988"/>
                    </a:cubicBezTo>
                    <a:cubicBezTo>
                      <a:pt x="2011157" y="66743"/>
                      <a:pt x="1565254" y="-93770"/>
                      <a:pt x="1222399" y="71757"/>
                    </a:cubicBezTo>
                    <a:cubicBezTo>
                      <a:pt x="793465" y="278935"/>
                      <a:pt x="120175" y="690129"/>
                      <a:pt x="10492" y="1123691"/>
                    </a:cubicBezTo>
                    <a:cubicBezTo>
                      <a:pt x="-77208" y="1469862"/>
                      <a:pt x="408959" y="1962662"/>
                      <a:pt x="573097" y="2302662"/>
                    </a:cubicBezTo>
                    <a:cubicBezTo>
                      <a:pt x="779581" y="2730362"/>
                      <a:pt x="824704" y="3254015"/>
                      <a:pt x="1256646" y="3364546"/>
                    </a:cubicBezTo>
                    <a:cubicBezTo>
                      <a:pt x="1603512" y="3453403"/>
                      <a:pt x="2043630" y="3150966"/>
                      <a:pt x="2384788" y="298667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57C876E4-90DC-808A-1EE3-2E7AFCE0C5D0}"/>
                  </a:ext>
                </a:extLst>
              </p:cNvPr>
              <p:cNvSpPr/>
              <p:nvPr/>
            </p:nvSpPr>
            <p:spPr>
              <a:xfrm>
                <a:off x="4351228" y="2611075"/>
                <a:ext cx="3424905" cy="3340311"/>
              </a:xfrm>
              <a:custGeom>
                <a:avLst/>
                <a:gdLst>
                  <a:gd name="connsiteX0" fmla="*/ 2379187 w 3424905"/>
                  <a:gd name="connsiteY0" fmla="*/ 2990672 h 3340311"/>
                  <a:gd name="connsiteX1" fmla="*/ 3361317 w 3424905"/>
                  <a:gd name="connsiteY1" fmla="*/ 2118303 h 3340311"/>
                  <a:gd name="connsiteX2" fmla="*/ 3279788 w 3424905"/>
                  <a:gd name="connsiteY2" fmla="*/ 892974 h 3340311"/>
                  <a:gd name="connsiteX3" fmla="*/ 2300975 w 3424905"/>
                  <a:gd name="connsiteY3" fmla="*/ 199707 h 3340311"/>
                  <a:gd name="connsiteX4" fmla="*/ 1126708 w 3424905"/>
                  <a:gd name="connsiteY4" fmla="*/ 66422 h 3340311"/>
                  <a:gd name="connsiteX5" fmla="*/ 12759 w 3424905"/>
                  <a:gd name="connsiteY5" fmla="*/ 1139722 h 3340311"/>
                  <a:gd name="connsiteX6" fmla="*/ 516204 w 3424905"/>
                  <a:gd name="connsiteY6" fmla="*/ 2370449 h 3340311"/>
                  <a:gd name="connsiteX7" fmla="*/ 1241019 w 3424905"/>
                  <a:gd name="connsiteY7" fmla="*/ 3320491 h 3340311"/>
                  <a:gd name="connsiteX8" fmla="*/ 2379265 w 3424905"/>
                  <a:gd name="connsiteY8" fmla="*/ 2990594 h 3340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24905" h="3340311">
                    <a:moveTo>
                      <a:pt x="2379187" y="2990672"/>
                    </a:moveTo>
                    <a:cubicBezTo>
                      <a:pt x="2788222" y="2785113"/>
                      <a:pt x="3249628" y="2538829"/>
                      <a:pt x="3361317" y="2118303"/>
                    </a:cubicBezTo>
                    <a:cubicBezTo>
                      <a:pt x="3457501" y="1755239"/>
                      <a:pt x="3455341" y="1241614"/>
                      <a:pt x="3279788" y="892974"/>
                    </a:cubicBezTo>
                    <a:cubicBezTo>
                      <a:pt x="3072686" y="481781"/>
                      <a:pt x="2724587" y="309389"/>
                      <a:pt x="2300975" y="199707"/>
                    </a:cubicBezTo>
                    <a:cubicBezTo>
                      <a:pt x="1939763" y="106145"/>
                      <a:pt x="1472571" y="-108206"/>
                      <a:pt x="1126708" y="66422"/>
                    </a:cubicBezTo>
                    <a:cubicBezTo>
                      <a:pt x="713895" y="274988"/>
                      <a:pt x="120745" y="713641"/>
                      <a:pt x="12759" y="1139722"/>
                    </a:cubicBezTo>
                    <a:cubicBezTo>
                      <a:pt x="-78411" y="1498619"/>
                      <a:pt x="342964" y="2027286"/>
                      <a:pt x="516204" y="2370449"/>
                    </a:cubicBezTo>
                    <a:cubicBezTo>
                      <a:pt x="724076" y="2782414"/>
                      <a:pt x="816250" y="3211657"/>
                      <a:pt x="1241019" y="3320491"/>
                    </a:cubicBezTo>
                    <a:cubicBezTo>
                      <a:pt x="1599917" y="3412587"/>
                      <a:pt x="2035176" y="3163449"/>
                      <a:pt x="2379265" y="299059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6A971FF4-8934-8287-A709-E9CCCAEA6841}"/>
                  </a:ext>
                </a:extLst>
              </p:cNvPr>
              <p:cNvSpPr/>
              <p:nvPr/>
            </p:nvSpPr>
            <p:spPr>
              <a:xfrm>
                <a:off x="4390546" y="2609845"/>
                <a:ext cx="3375801" cy="3303429"/>
              </a:xfrm>
              <a:custGeom>
                <a:avLst/>
                <a:gdLst>
                  <a:gd name="connsiteX0" fmla="*/ 2374347 w 3375801"/>
                  <a:gd name="connsiteY0" fmla="*/ 2996529 h 3303429"/>
                  <a:gd name="connsiteX1" fmla="*/ 3287597 w 3375801"/>
                  <a:gd name="connsiteY1" fmla="*/ 2114518 h 3303429"/>
                  <a:gd name="connsiteX2" fmla="*/ 3251191 w 3375801"/>
                  <a:gd name="connsiteY2" fmla="*/ 876541 h 3303429"/>
                  <a:gd name="connsiteX3" fmla="*/ 2242836 w 3375801"/>
                  <a:gd name="connsiteY3" fmla="*/ 244285 h 3303429"/>
                  <a:gd name="connsiteX4" fmla="*/ 1031700 w 3375801"/>
                  <a:gd name="connsiteY4" fmla="*/ 62946 h 3303429"/>
                  <a:gd name="connsiteX5" fmla="*/ 15710 w 3375801"/>
                  <a:gd name="connsiteY5" fmla="*/ 1157689 h 3303429"/>
                  <a:gd name="connsiteX6" fmla="*/ 459993 w 3375801"/>
                  <a:gd name="connsiteY6" fmla="*/ 2440249 h 3303429"/>
                  <a:gd name="connsiteX7" fmla="*/ 1226074 w 3375801"/>
                  <a:gd name="connsiteY7" fmla="*/ 3278449 h 3303429"/>
                  <a:gd name="connsiteX8" fmla="*/ 2374347 w 3375801"/>
                  <a:gd name="connsiteY8" fmla="*/ 2996529 h 330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5801" h="3303429">
                    <a:moveTo>
                      <a:pt x="2374347" y="2996529"/>
                    </a:moveTo>
                    <a:cubicBezTo>
                      <a:pt x="2768881" y="2789891"/>
                      <a:pt x="3177760" y="2529029"/>
                      <a:pt x="3287597" y="2114518"/>
                    </a:cubicBezTo>
                    <a:cubicBezTo>
                      <a:pt x="3386712" y="1739423"/>
                      <a:pt x="3435692" y="1227571"/>
                      <a:pt x="3251191" y="876541"/>
                    </a:cubicBezTo>
                    <a:cubicBezTo>
                      <a:pt x="3043087" y="480619"/>
                      <a:pt x="2659584" y="352193"/>
                      <a:pt x="2242836" y="244285"/>
                    </a:cubicBezTo>
                    <a:cubicBezTo>
                      <a:pt x="1869052" y="147483"/>
                      <a:pt x="1380494" y="-121092"/>
                      <a:pt x="1031700" y="62946"/>
                    </a:cubicBezTo>
                    <a:cubicBezTo>
                      <a:pt x="634776" y="272438"/>
                      <a:pt x="121999" y="739090"/>
                      <a:pt x="15710" y="1157689"/>
                    </a:cubicBezTo>
                    <a:cubicBezTo>
                      <a:pt x="-78932" y="1529236"/>
                      <a:pt x="277421" y="2093847"/>
                      <a:pt x="459993" y="2440249"/>
                    </a:cubicBezTo>
                    <a:cubicBezTo>
                      <a:pt x="668869" y="2836556"/>
                      <a:pt x="808402" y="3171312"/>
                      <a:pt x="1226074" y="3278449"/>
                    </a:cubicBezTo>
                    <a:cubicBezTo>
                      <a:pt x="1597005" y="3373785"/>
                      <a:pt x="2027559" y="3178176"/>
                      <a:pt x="2374347" y="29965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0CE806E9-374A-AB31-2CF8-8853AEA1D264}"/>
                  </a:ext>
                </a:extLst>
              </p:cNvPr>
              <p:cNvSpPr/>
              <p:nvPr/>
            </p:nvSpPr>
            <p:spPr>
              <a:xfrm>
                <a:off x="4428860" y="2607348"/>
                <a:ext cx="3333638" cy="3269772"/>
              </a:xfrm>
              <a:custGeom>
                <a:avLst/>
                <a:gdLst>
                  <a:gd name="connsiteX0" fmla="*/ 2370512 w 3333638"/>
                  <a:gd name="connsiteY0" fmla="*/ 3003654 h 3269772"/>
                  <a:gd name="connsiteX1" fmla="*/ 3214806 w 3333638"/>
                  <a:gd name="connsiteY1" fmla="*/ 2112002 h 3269772"/>
                  <a:gd name="connsiteX2" fmla="*/ 3223522 w 3333638"/>
                  <a:gd name="connsiteY2" fmla="*/ 861297 h 3269772"/>
                  <a:gd name="connsiteX3" fmla="*/ 2185625 w 3333638"/>
                  <a:gd name="connsiteY3" fmla="*/ 290053 h 3269772"/>
                  <a:gd name="connsiteX4" fmla="*/ 937697 w 3333638"/>
                  <a:gd name="connsiteY4" fmla="*/ 60738 h 3269772"/>
                  <a:gd name="connsiteX5" fmla="*/ 19665 w 3333638"/>
                  <a:gd name="connsiteY5" fmla="*/ 1176924 h 3269772"/>
                  <a:gd name="connsiteX6" fmla="*/ 404865 w 3333638"/>
                  <a:gd name="connsiteY6" fmla="*/ 2511240 h 3269772"/>
                  <a:gd name="connsiteX7" fmla="*/ 1212212 w 3333638"/>
                  <a:gd name="connsiteY7" fmla="*/ 3237597 h 3269772"/>
                  <a:gd name="connsiteX8" fmla="*/ 2370512 w 3333638"/>
                  <a:gd name="connsiteY8" fmla="*/ 3003654 h 3269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638" h="3269772">
                    <a:moveTo>
                      <a:pt x="2370512" y="3003654"/>
                    </a:moveTo>
                    <a:cubicBezTo>
                      <a:pt x="2750699" y="2796245"/>
                      <a:pt x="3106897" y="2520419"/>
                      <a:pt x="3214806" y="2112002"/>
                    </a:cubicBezTo>
                    <a:cubicBezTo>
                      <a:pt x="3316775" y="1724873"/>
                      <a:pt x="3417279" y="1214719"/>
                      <a:pt x="3223522" y="861297"/>
                    </a:cubicBezTo>
                    <a:cubicBezTo>
                      <a:pt x="3014800" y="480494"/>
                      <a:pt x="2595585" y="396265"/>
                      <a:pt x="2185625" y="290053"/>
                    </a:cubicBezTo>
                    <a:cubicBezTo>
                      <a:pt x="1799191" y="189935"/>
                      <a:pt x="1289268" y="-133019"/>
                      <a:pt x="937697" y="60738"/>
                    </a:cubicBezTo>
                    <a:cubicBezTo>
                      <a:pt x="556508" y="270770"/>
                      <a:pt x="124334" y="765730"/>
                      <a:pt x="19665" y="1176924"/>
                    </a:cubicBezTo>
                    <a:cubicBezTo>
                      <a:pt x="-78448" y="1561121"/>
                      <a:pt x="212651" y="2161829"/>
                      <a:pt x="404865" y="2511240"/>
                    </a:cubicBezTo>
                    <a:cubicBezTo>
                      <a:pt x="614357" y="2892120"/>
                      <a:pt x="801635" y="3132157"/>
                      <a:pt x="1212212" y="3237597"/>
                    </a:cubicBezTo>
                    <a:cubicBezTo>
                      <a:pt x="1595175" y="3336095"/>
                      <a:pt x="2021102" y="3194326"/>
                      <a:pt x="2370512" y="30036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21FF5748-65D0-C282-E5DC-0CB6446BAA69}"/>
                  </a:ext>
                </a:extLst>
              </p:cNvPr>
              <p:cNvSpPr/>
              <p:nvPr/>
            </p:nvSpPr>
            <p:spPr>
              <a:xfrm>
                <a:off x="4465597" y="2604029"/>
                <a:ext cx="3297610" cy="3240257"/>
              </a:xfrm>
              <a:custGeom>
                <a:avLst/>
                <a:gdLst>
                  <a:gd name="connsiteX0" fmla="*/ 2368253 w 3297610"/>
                  <a:gd name="connsiteY0" fmla="*/ 3011601 h 3240257"/>
                  <a:gd name="connsiteX1" fmla="*/ 3143667 w 3297610"/>
                  <a:gd name="connsiteY1" fmla="*/ 2110307 h 3240257"/>
                  <a:gd name="connsiteX2" fmla="*/ 3197583 w 3297610"/>
                  <a:gd name="connsiteY2" fmla="*/ 846953 h 3240257"/>
                  <a:gd name="connsiteX3" fmla="*/ 2130145 w 3297610"/>
                  <a:gd name="connsiteY3" fmla="*/ 336721 h 3240257"/>
                  <a:gd name="connsiteX4" fmla="*/ 845347 w 3297610"/>
                  <a:gd name="connsiteY4" fmla="*/ 59352 h 3240257"/>
                  <a:gd name="connsiteX5" fmla="*/ 25197 w 3297610"/>
                  <a:gd name="connsiteY5" fmla="*/ 1196981 h 3240257"/>
                  <a:gd name="connsiteX6" fmla="*/ 351236 w 3297610"/>
                  <a:gd name="connsiteY6" fmla="*/ 2583130 h 3240257"/>
                  <a:gd name="connsiteX7" fmla="*/ 1199772 w 3297610"/>
                  <a:gd name="connsiteY7" fmla="*/ 3197645 h 3240257"/>
                  <a:gd name="connsiteX8" fmla="*/ 2368176 w 3297610"/>
                  <a:gd name="connsiteY8" fmla="*/ 3011756 h 3240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7610" h="3240257">
                    <a:moveTo>
                      <a:pt x="2368253" y="3011601"/>
                    </a:moveTo>
                    <a:cubicBezTo>
                      <a:pt x="2734325" y="2803729"/>
                      <a:pt x="3037610" y="2512708"/>
                      <a:pt x="3143667" y="2110307"/>
                    </a:cubicBezTo>
                    <a:cubicBezTo>
                      <a:pt x="3248491" y="1711146"/>
                      <a:pt x="3400750" y="1202611"/>
                      <a:pt x="3197583" y="846953"/>
                    </a:cubicBezTo>
                    <a:cubicBezTo>
                      <a:pt x="2988554" y="481113"/>
                      <a:pt x="2533317" y="441159"/>
                      <a:pt x="2130145" y="336721"/>
                    </a:cubicBezTo>
                    <a:cubicBezTo>
                      <a:pt x="1731138" y="233364"/>
                      <a:pt x="1199617" y="-144355"/>
                      <a:pt x="845347" y="59352"/>
                    </a:cubicBezTo>
                    <a:cubicBezTo>
                      <a:pt x="479739" y="269539"/>
                      <a:pt x="128246" y="793269"/>
                      <a:pt x="25197" y="1196981"/>
                    </a:cubicBezTo>
                    <a:cubicBezTo>
                      <a:pt x="-76464" y="1593828"/>
                      <a:pt x="149149" y="2230788"/>
                      <a:pt x="351236" y="2583130"/>
                    </a:cubicBezTo>
                    <a:cubicBezTo>
                      <a:pt x="560960" y="2948739"/>
                      <a:pt x="796368" y="3093902"/>
                      <a:pt x="1199772" y="3197645"/>
                    </a:cubicBezTo>
                    <a:cubicBezTo>
                      <a:pt x="1594768" y="3299383"/>
                      <a:pt x="2016143" y="3211683"/>
                      <a:pt x="2368176" y="301175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0B0277F0-BA49-27B6-A6B1-9315DAAEB8F5}"/>
                  </a:ext>
                </a:extLst>
              </p:cNvPr>
              <p:cNvSpPr/>
              <p:nvPr/>
            </p:nvSpPr>
            <p:spPr>
              <a:xfrm>
                <a:off x="4499869" y="2600116"/>
                <a:ext cx="3267148" cy="3216006"/>
              </a:xfrm>
              <a:custGeom>
                <a:avLst/>
                <a:gdLst>
                  <a:gd name="connsiteX0" fmla="*/ 2368459 w 3267148"/>
                  <a:gd name="connsiteY0" fmla="*/ 3020220 h 3216006"/>
                  <a:gd name="connsiteX1" fmla="*/ 3074994 w 3267148"/>
                  <a:gd name="connsiteY1" fmla="*/ 2109207 h 3216006"/>
                  <a:gd name="connsiteX2" fmla="*/ 3174032 w 3267148"/>
                  <a:gd name="connsiteY2" fmla="*/ 833203 h 3216006"/>
                  <a:gd name="connsiteX3" fmla="*/ 2077052 w 3267148"/>
                  <a:gd name="connsiteY3" fmla="*/ 384060 h 3216006"/>
                  <a:gd name="connsiteX4" fmla="*/ 755385 w 3267148"/>
                  <a:gd name="connsiteY4" fmla="*/ 58637 h 3216006"/>
                  <a:gd name="connsiteX5" fmla="*/ 33193 w 3267148"/>
                  <a:gd name="connsiteY5" fmla="*/ 1217631 h 3216006"/>
                  <a:gd name="connsiteX6" fmla="*/ 300072 w 3267148"/>
                  <a:gd name="connsiteY6" fmla="*/ 2655537 h 3216006"/>
                  <a:gd name="connsiteX7" fmla="*/ 1189873 w 3267148"/>
                  <a:gd name="connsiteY7" fmla="*/ 3158209 h 3216006"/>
                  <a:gd name="connsiteX8" fmla="*/ 2368305 w 3267148"/>
                  <a:gd name="connsiteY8" fmla="*/ 3020297 h 3216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7148" h="3216006">
                    <a:moveTo>
                      <a:pt x="2368459" y="3020220"/>
                    </a:moveTo>
                    <a:cubicBezTo>
                      <a:pt x="2720493" y="2812193"/>
                      <a:pt x="2970787" y="2505668"/>
                      <a:pt x="3074994" y="2109207"/>
                    </a:cubicBezTo>
                    <a:cubicBezTo>
                      <a:pt x="3182748" y="1698013"/>
                      <a:pt x="3386995" y="1190866"/>
                      <a:pt x="3174032" y="833203"/>
                    </a:cubicBezTo>
                    <a:cubicBezTo>
                      <a:pt x="2965002" y="482095"/>
                      <a:pt x="2473360" y="486646"/>
                      <a:pt x="2077052" y="384060"/>
                    </a:cubicBezTo>
                    <a:cubicBezTo>
                      <a:pt x="1665473" y="277462"/>
                      <a:pt x="1112201" y="-155406"/>
                      <a:pt x="755385" y="58637"/>
                    </a:cubicBezTo>
                    <a:cubicBezTo>
                      <a:pt x="405203" y="268669"/>
                      <a:pt x="134545" y="821401"/>
                      <a:pt x="33193" y="1217631"/>
                    </a:cubicBezTo>
                    <a:cubicBezTo>
                      <a:pt x="-71939" y="1627205"/>
                      <a:pt x="87803" y="2300495"/>
                      <a:pt x="300072" y="2655537"/>
                    </a:cubicBezTo>
                    <a:cubicBezTo>
                      <a:pt x="509718" y="3006104"/>
                      <a:pt x="793566" y="3056163"/>
                      <a:pt x="1189873" y="3158209"/>
                    </a:cubicBezTo>
                    <a:cubicBezTo>
                      <a:pt x="1596979" y="3263187"/>
                      <a:pt x="2013881" y="3229711"/>
                      <a:pt x="2368305" y="302029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7B999934-6F44-B894-3C62-48B30630A36E}"/>
                  </a:ext>
                </a:extLst>
              </p:cNvPr>
              <p:cNvSpPr/>
              <p:nvPr/>
            </p:nvSpPr>
            <p:spPr>
              <a:xfrm>
                <a:off x="4530202" y="2595585"/>
                <a:ext cx="3242767" cy="3198539"/>
              </a:xfrm>
              <a:custGeom>
                <a:avLst/>
                <a:gdLst>
                  <a:gd name="connsiteX0" fmla="*/ 2372604 w 3242767"/>
                  <a:gd name="connsiteY0" fmla="*/ 3029379 h 3198539"/>
                  <a:gd name="connsiteX1" fmla="*/ 3010259 w 3242767"/>
                  <a:gd name="connsiteY1" fmla="*/ 2108724 h 3198539"/>
                  <a:gd name="connsiteX2" fmla="*/ 3154497 w 3242767"/>
                  <a:gd name="connsiteY2" fmla="*/ 819993 h 3198539"/>
                  <a:gd name="connsiteX3" fmla="*/ 2027976 w 3242767"/>
                  <a:gd name="connsiteY3" fmla="*/ 431862 h 3198539"/>
                  <a:gd name="connsiteX4" fmla="*/ 669516 w 3242767"/>
                  <a:gd name="connsiteY4" fmla="*/ 58386 h 3198539"/>
                  <a:gd name="connsiteX5" fmla="*/ 45282 w 3242767"/>
                  <a:gd name="connsiteY5" fmla="*/ 1238823 h 3198539"/>
                  <a:gd name="connsiteX6" fmla="*/ 253078 w 3242767"/>
                  <a:gd name="connsiteY6" fmla="*/ 2728484 h 3198539"/>
                  <a:gd name="connsiteX7" fmla="*/ 1184145 w 3242767"/>
                  <a:gd name="connsiteY7" fmla="*/ 3119315 h 3198539"/>
                  <a:gd name="connsiteX8" fmla="*/ 2372681 w 3242767"/>
                  <a:gd name="connsiteY8" fmla="*/ 3029379 h 319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2767" h="3198539">
                    <a:moveTo>
                      <a:pt x="2372604" y="3029379"/>
                    </a:moveTo>
                    <a:cubicBezTo>
                      <a:pt x="2710831" y="2821429"/>
                      <a:pt x="2907904" y="2499092"/>
                      <a:pt x="3010259" y="2108724"/>
                    </a:cubicBezTo>
                    <a:cubicBezTo>
                      <a:pt x="3120867" y="1685498"/>
                      <a:pt x="3377488" y="1179585"/>
                      <a:pt x="3154497" y="819993"/>
                    </a:cubicBezTo>
                    <a:cubicBezTo>
                      <a:pt x="2945776" y="483464"/>
                      <a:pt x="2417495" y="532752"/>
                      <a:pt x="2027976" y="431862"/>
                    </a:cubicBezTo>
                    <a:cubicBezTo>
                      <a:pt x="1603746" y="321948"/>
                      <a:pt x="1028569" y="-166224"/>
                      <a:pt x="669516" y="58386"/>
                    </a:cubicBezTo>
                    <a:cubicBezTo>
                      <a:pt x="334530" y="267878"/>
                      <a:pt x="144938" y="850075"/>
                      <a:pt x="45282" y="1238823"/>
                    </a:cubicBezTo>
                    <a:cubicBezTo>
                      <a:pt x="-63320" y="1661047"/>
                      <a:pt x="30241" y="2370898"/>
                      <a:pt x="253078" y="2728484"/>
                    </a:cubicBezTo>
                    <a:cubicBezTo>
                      <a:pt x="462261" y="3064165"/>
                      <a:pt x="795011" y="3018966"/>
                      <a:pt x="1184145" y="3119315"/>
                    </a:cubicBezTo>
                    <a:cubicBezTo>
                      <a:pt x="1603283" y="3227532"/>
                      <a:pt x="2015943" y="3248666"/>
                      <a:pt x="2372681" y="30293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A7B39A8D-CB2E-FE14-0A9F-7A8DCCD30328}"/>
                  </a:ext>
                </a:extLst>
              </p:cNvPr>
              <p:cNvSpPr/>
              <p:nvPr/>
            </p:nvSpPr>
            <p:spPr>
              <a:xfrm>
                <a:off x="4553971" y="2590726"/>
                <a:ext cx="3226504" cy="3187950"/>
              </a:xfrm>
              <a:custGeom>
                <a:avLst/>
                <a:gdLst>
                  <a:gd name="connsiteX0" fmla="*/ 2383391 w 3226504"/>
                  <a:gd name="connsiteY0" fmla="*/ 3038865 h 3187950"/>
                  <a:gd name="connsiteX1" fmla="*/ 2952166 w 3226504"/>
                  <a:gd name="connsiteY1" fmla="*/ 2108570 h 3187950"/>
                  <a:gd name="connsiteX2" fmla="*/ 3141527 w 3226504"/>
                  <a:gd name="connsiteY2" fmla="*/ 807189 h 3187950"/>
                  <a:gd name="connsiteX3" fmla="*/ 1985463 w 3226504"/>
                  <a:gd name="connsiteY3" fmla="*/ 480070 h 3187950"/>
                  <a:gd name="connsiteX4" fmla="*/ 590135 w 3226504"/>
                  <a:gd name="connsiteY4" fmla="*/ 58540 h 3187950"/>
                  <a:gd name="connsiteX5" fmla="*/ 63859 w 3226504"/>
                  <a:gd name="connsiteY5" fmla="*/ 1260420 h 3187950"/>
                  <a:gd name="connsiteX6" fmla="*/ 212494 w 3226504"/>
                  <a:gd name="connsiteY6" fmla="*/ 2801914 h 3187950"/>
                  <a:gd name="connsiteX7" fmla="*/ 1184827 w 3226504"/>
                  <a:gd name="connsiteY7" fmla="*/ 3080825 h 3187950"/>
                  <a:gd name="connsiteX8" fmla="*/ 2383391 w 3226504"/>
                  <a:gd name="connsiteY8" fmla="*/ 3038865 h 3187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6504" h="3187950">
                    <a:moveTo>
                      <a:pt x="2383391" y="3038865"/>
                    </a:moveTo>
                    <a:cubicBezTo>
                      <a:pt x="2707964" y="2831302"/>
                      <a:pt x="2851740" y="2492921"/>
                      <a:pt x="2952166" y="2108570"/>
                    </a:cubicBezTo>
                    <a:cubicBezTo>
                      <a:pt x="3065629" y="1673310"/>
                      <a:pt x="3374930" y="1168401"/>
                      <a:pt x="3141527" y="807189"/>
                    </a:cubicBezTo>
                    <a:cubicBezTo>
                      <a:pt x="2933423" y="485083"/>
                      <a:pt x="2368118" y="579185"/>
                      <a:pt x="1985463" y="480070"/>
                    </a:cubicBezTo>
                    <a:cubicBezTo>
                      <a:pt x="1548662" y="366916"/>
                      <a:pt x="951347" y="-177023"/>
                      <a:pt x="590135" y="58540"/>
                    </a:cubicBezTo>
                    <a:cubicBezTo>
                      <a:pt x="270112" y="267261"/>
                      <a:pt x="161818" y="879077"/>
                      <a:pt x="63859" y="1260420"/>
                    </a:cubicBezTo>
                    <a:cubicBezTo>
                      <a:pt x="-48214" y="1695293"/>
                      <a:pt x="-21218" y="2442014"/>
                      <a:pt x="212494" y="2801914"/>
                    </a:cubicBezTo>
                    <a:cubicBezTo>
                      <a:pt x="420983" y="3122940"/>
                      <a:pt x="802790" y="2982250"/>
                      <a:pt x="1184827" y="3080825"/>
                    </a:cubicBezTo>
                    <a:cubicBezTo>
                      <a:pt x="1615998" y="3192205"/>
                      <a:pt x="2024647" y="3268258"/>
                      <a:pt x="2383391" y="303886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166F0DD6-19B0-D840-BDC0-A7C6962DAA4F}"/>
                  </a:ext>
                </a:extLst>
              </p:cNvPr>
              <p:cNvSpPr/>
              <p:nvPr/>
            </p:nvSpPr>
            <p:spPr>
              <a:xfrm>
                <a:off x="4568996" y="2585529"/>
                <a:ext cx="3220062" cy="3183237"/>
              </a:xfrm>
              <a:custGeom>
                <a:avLst/>
                <a:gdLst>
                  <a:gd name="connsiteX0" fmla="*/ 2402845 w 3220062"/>
                  <a:gd name="connsiteY0" fmla="*/ 3048690 h 3183237"/>
                  <a:gd name="connsiteX1" fmla="*/ 2902741 w 3220062"/>
                  <a:gd name="connsiteY1" fmla="*/ 2108752 h 3183237"/>
                  <a:gd name="connsiteX2" fmla="*/ 3137301 w 3220062"/>
                  <a:gd name="connsiteY2" fmla="*/ 794722 h 3183237"/>
                  <a:gd name="connsiteX3" fmla="*/ 1951696 w 3220062"/>
                  <a:gd name="connsiteY3" fmla="*/ 528615 h 3183237"/>
                  <a:gd name="connsiteX4" fmla="*/ 519498 w 3220062"/>
                  <a:gd name="connsiteY4" fmla="*/ 59031 h 3183237"/>
                  <a:gd name="connsiteX5" fmla="*/ 91104 w 3220062"/>
                  <a:gd name="connsiteY5" fmla="*/ 1282277 h 3183237"/>
                  <a:gd name="connsiteX6" fmla="*/ 180577 w 3220062"/>
                  <a:gd name="connsiteY6" fmla="*/ 2875527 h 3183237"/>
                  <a:gd name="connsiteX7" fmla="*/ 1194100 w 3220062"/>
                  <a:gd name="connsiteY7" fmla="*/ 3042597 h 3183237"/>
                  <a:gd name="connsiteX8" fmla="*/ 2402690 w 3220062"/>
                  <a:gd name="connsiteY8" fmla="*/ 3048690 h 3183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062" h="3183237">
                    <a:moveTo>
                      <a:pt x="2402845" y="3048690"/>
                    </a:moveTo>
                    <a:cubicBezTo>
                      <a:pt x="2713920" y="2841743"/>
                      <a:pt x="2804166" y="2487088"/>
                      <a:pt x="2902741" y="2108752"/>
                    </a:cubicBezTo>
                    <a:cubicBezTo>
                      <a:pt x="3019057" y="1661538"/>
                      <a:pt x="3381426" y="1157322"/>
                      <a:pt x="3137301" y="794722"/>
                    </a:cubicBezTo>
                    <a:cubicBezTo>
                      <a:pt x="2930046" y="486809"/>
                      <a:pt x="2327563" y="626033"/>
                      <a:pt x="1951696" y="528615"/>
                    </a:cubicBezTo>
                    <a:cubicBezTo>
                      <a:pt x="1502322" y="412221"/>
                      <a:pt x="882484" y="-187870"/>
                      <a:pt x="519498" y="59031"/>
                    </a:cubicBezTo>
                    <a:cubicBezTo>
                      <a:pt x="214284" y="266672"/>
                      <a:pt x="187442" y="908415"/>
                      <a:pt x="91104" y="1282277"/>
                    </a:cubicBezTo>
                    <a:cubicBezTo>
                      <a:pt x="-24441" y="1729877"/>
                      <a:pt x="-64396" y="2513621"/>
                      <a:pt x="180577" y="2875527"/>
                    </a:cubicBezTo>
                    <a:cubicBezTo>
                      <a:pt x="388064" y="3182052"/>
                      <a:pt x="819235" y="2945718"/>
                      <a:pt x="1194100" y="3042597"/>
                    </a:cubicBezTo>
                    <a:cubicBezTo>
                      <a:pt x="1637304" y="3157215"/>
                      <a:pt x="2042173" y="3288495"/>
                      <a:pt x="2402690" y="304869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400D0C90-829D-653D-3720-1835AF7D4A19}"/>
                  </a:ext>
                </a:extLst>
              </p:cNvPr>
              <p:cNvSpPr/>
              <p:nvPr/>
            </p:nvSpPr>
            <p:spPr>
              <a:xfrm>
                <a:off x="4575239" y="2579941"/>
                <a:ext cx="3223194" cy="3183120"/>
              </a:xfrm>
              <a:custGeom>
                <a:avLst/>
                <a:gdLst>
                  <a:gd name="connsiteX0" fmla="*/ 2431079 w 3223194"/>
                  <a:gd name="connsiteY0" fmla="*/ 3058906 h 3183120"/>
                  <a:gd name="connsiteX1" fmla="*/ 2862096 w 3223194"/>
                  <a:gd name="connsiteY1" fmla="*/ 2109327 h 3183120"/>
                  <a:gd name="connsiteX2" fmla="*/ 3141779 w 3223194"/>
                  <a:gd name="connsiteY2" fmla="*/ 782570 h 3183120"/>
                  <a:gd name="connsiteX3" fmla="*/ 1926632 w 3223194"/>
                  <a:gd name="connsiteY3" fmla="*/ 577475 h 3183120"/>
                  <a:gd name="connsiteX4" fmla="*/ 457565 w 3223194"/>
                  <a:gd name="connsiteY4" fmla="*/ 59838 h 3183120"/>
                  <a:gd name="connsiteX5" fmla="*/ 127129 w 3223194"/>
                  <a:gd name="connsiteY5" fmla="*/ 1304526 h 3183120"/>
                  <a:gd name="connsiteX6" fmla="*/ 157519 w 3223194"/>
                  <a:gd name="connsiteY6" fmla="*/ 2949610 h 3183120"/>
                  <a:gd name="connsiteX7" fmla="*/ 1212307 w 3223194"/>
                  <a:gd name="connsiteY7" fmla="*/ 3004836 h 3183120"/>
                  <a:gd name="connsiteX8" fmla="*/ 2431002 w 3223194"/>
                  <a:gd name="connsiteY8" fmla="*/ 3058906 h 318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3194" h="3183120">
                    <a:moveTo>
                      <a:pt x="2431079" y="3058906"/>
                    </a:moveTo>
                    <a:cubicBezTo>
                      <a:pt x="2728888" y="2852731"/>
                      <a:pt x="2765372" y="2481646"/>
                      <a:pt x="2862096" y="2109327"/>
                    </a:cubicBezTo>
                    <a:cubicBezTo>
                      <a:pt x="2981343" y="1650080"/>
                      <a:pt x="3397011" y="1146327"/>
                      <a:pt x="3141779" y="782570"/>
                    </a:cubicBezTo>
                    <a:cubicBezTo>
                      <a:pt x="2935526" y="488695"/>
                      <a:pt x="2295712" y="673119"/>
                      <a:pt x="1926632" y="577475"/>
                    </a:cubicBezTo>
                    <a:cubicBezTo>
                      <a:pt x="1464608" y="457765"/>
                      <a:pt x="822016" y="-198865"/>
                      <a:pt x="457565" y="59838"/>
                    </a:cubicBezTo>
                    <a:cubicBezTo>
                      <a:pt x="166852" y="266168"/>
                      <a:pt x="221848" y="938146"/>
                      <a:pt x="127129" y="1304526"/>
                    </a:cubicBezTo>
                    <a:cubicBezTo>
                      <a:pt x="8113" y="1764776"/>
                      <a:pt x="-99178" y="2585930"/>
                      <a:pt x="157519" y="2949610"/>
                    </a:cubicBezTo>
                    <a:cubicBezTo>
                      <a:pt x="363849" y="3241942"/>
                      <a:pt x="844539" y="2909655"/>
                      <a:pt x="1212307" y="3004836"/>
                    </a:cubicBezTo>
                    <a:cubicBezTo>
                      <a:pt x="1667544" y="3122695"/>
                      <a:pt x="2068942" y="3309510"/>
                      <a:pt x="2431002" y="305890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6527B7D7-FD33-3FCF-C541-ACCC0198B11D}"/>
                  </a:ext>
                </a:extLst>
              </p:cNvPr>
              <p:cNvSpPr/>
              <p:nvPr/>
            </p:nvSpPr>
            <p:spPr>
              <a:xfrm>
                <a:off x="4574616" y="2574268"/>
                <a:ext cx="3233910" cy="3186151"/>
              </a:xfrm>
              <a:custGeom>
                <a:avLst/>
                <a:gdLst>
                  <a:gd name="connsiteX0" fmla="*/ 2828318 w 3233910"/>
                  <a:gd name="connsiteY0" fmla="*/ 2109987 h 3186151"/>
                  <a:gd name="connsiteX1" fmla="*/ 3153201 w 3233910"/>
                  <a:gd name="connsiteY1" fmla="*/ 770580 h 3186151"/>
                  <a:gd name="connsiteX2" fmla="*/ 1908512 w 3233910"/>
                  <a:gd name="connsiteY2" fmla="*/ 626573 h 3186151"/>
                  <a:gd name="connsiteX3" fmla="*/ 402652 w 3233910"/>
                  <a:gd name="connsiteY3" fmla="*/ 60883 h 3186151"/>
                  <a:gd name="connsiteX4" fmla="*/ 170175 w 3233910"/>
                  <a:gd name="connsiteY4" fmla="*/ 1327014 h 3186151"/>
                  <a:gd name="connsiteX5" fmla="*/ 141404 w 3233910"/>
                  <a:gd name="connsiteY5" fmla="*/ 3023854 h 3186151"/>
                  <a:gd name="connsiteX6" fmla="*/ 1237458 w 3233910"/>
                  <a:gd name="connsiteY6" fmla="*/ 2967238 h 3186151"/>
                  <a:gd name="connsiteX7" fmla="*/ 2466180 w 3233910"/>
                  <a:gd name="connsiteY7" fmla="*/ 3069285 h 3186151"/>
                  <a:gd name="connsiteX8" fmla="*/ 2828318 w 3233910"/>
                  <a:gd name="connsiteY8" fmla="*/ 2110064 h 3186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3910" h="3186151">
                    <a:moveTo>
                      <a:pt x="2828318" y="2109987"/>
                    </a:moveTo>
                    <a:cubicBezTo>
                      <a:pt x="2950419" y="1638707"/>
                      <a:pt x="3419925" y="1135031"/>
                      <a:pt x="3153201" y="770580"/>
                    </a:cubicBezTo>
                    <a:cubicBezTo>
                      <a:pt x="2948182" y="490434"/>
                      <a:pt x="2270727" y="720366"/>
                      <a:pt x="1908512" y="626573"/>
                    </a:cubicBezTo>
                    <a:cubicBezTo>
                      <a:pt x="1433915" y="503624"/>
                      <a:pt x="768029" y="-210007"/>
                      <a:pt x="402652" y="60883"/>
                    </a:cubicBezTo>
                    <a:cubicBezTo>
                      <a:pt x="126286" y="265747"/>
                      <a:pt x="263197" y="968039"/>
                      <a:pt x="170175" y="1327014"/>
                    </a:cubicBezTo>
                    <a:cubicBezTo>
                      <a:pt x="47611" y="1799914"/>
                      <a:pt x="-127326" y="2658939"/>
                      <a:pt x="141404" y="3023854"/>
                    </a:cubicBezTo>
                    <a:cubicBezTo>
                      <a:pt x="346345" y="3302147"/>
                      <a:pt x="876786" y="2873831"/>
                      <a:pt x="1237458" y="2967238"/>
                    </a:cubicBezTo>
                    <a:cubicBezTo>
                      <a:pt x="1704727" y="3088336"/>
                      <a:pt x="2102963" y="3331072"/>
                      <a:pt x="2466180" y="3069285"/>
                    </a:cubicBezTo>
                    <a:cubicBezTo>
                      <a:pt x="2750877" y="2864112"/>
                      <a:pt x="2733445" y="2476289"/>
                      <a:pt x="2828318" y="21100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7" name="Graphic 5">
              <a:extLst>
                <a:ext uri="{FF2B5EF4-FFF2-40B4-BE49-F238E27FC236}">
                  <a16:creationId xmlns:a16="http://schemas.microsoft.com/office/drawing/2014/main" id="{CDEC6B63-FDE5-7E09-1CBA-E6F29C9A4E3C}"/>
                </a:ext>
              </a:extLst>
            </p:cNvPr>
            <p:cNvGrpSpPr/>
            <p:nvPr/>
          </p:nvGrpSpPr>
          <p:grpSpPr>
            <a:xfrm rot="20743245">
              <a:off x="-1641318" y="712755"/>
              <a:ext cx="8683276" cy="5650143"/>
              <a:chOff x="3224705" y="2448010"/>
              <a:chExt cx="5745675" cy="3738674"/>
            </a:xfrm>
            <a:noFill/>
          </p:grpSpPr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324FC071-B4A1-ACB5-1B59-AAF19917A356}"/>
                  </a:ext>
                </a:extLst>
              </p:cNvPr>
              <p:cNvSpPr/>
              <p:nvPr/>
            </p:nvSpPr>
            <p:spPr>
              <a:xfrm>
                <a:off x="3224705" y="2973429"/>
                <a:ext cx="4086746" cy="2988613"/>
              </a:xfrm>
              <a:custGeom>
                <a:avLst/>
                <a:gdLst>
                  <a:gd name="connsiteX0" fmla="*/ 3021857 w 4086746"/>
                  <a:gd name="connsiteY0" fmla="*/ 21082 h 2988613"/>
                  <a:gd name="connsiteX1" fmla="*/ 1949714 w 4086746"/>
                  <a:gd name="connsiteY1" fmla="*/ 140561 h 2988613"/>
                  <a:gd name="connsiteX2" fmla="*/ 17620 w 4086746"/>
                  <a:gd name="connsiteY2" fmla="*/ 326759 h 2988613"/>
                  <a:gd name="connsiteX3" fmla="*/ 1162808 w 4086746"/>
                  <a:gd name="connsiteY3" fmla="*/ 2051134 h 2988613"/>
                  <a:gd name="connsiteX4" fmla="*/ 2164991 w 4086746"/>
                  <a:gd name="connsiteY4" fmla="*/ 2546943 h 2988613"/>
                  <a:gd name="connsiteX5" fmla="*/ 3449172 w 4086746"/>
                  <a:gd name="connsiteY5" fmla="*/ 2922733 h 2988613"/>
                  <a:gd name="connsiteX6" fmla="*/ 3803596 w 4086746"/>
                  <a:gd name="connsiteY6" fmla="*/ 1748620 h 2988613"/>
                  <a:gd name="connsiteX7" fmla="*/ 3997970 w 4086746"/>
                  <a:gd name="connsiteY7" fmla="*/ 855117 h 2988613"/>
                  <a:gd name="connsiteX8" fmla="*/ 3021857 w 4086746"/>
                  <a:gd name="connsiteY8" fmla="*/ 21160 h 2988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6746" h="2988613">
                    <a:moveTo>
                      <a:pt x="3021857" y="21082"/>
                    </a:moveTo>
                    <a:cubicBezTo>
                      <a:pt x="2524275" y="34658"/>
                      <a:pt x="2338926" y="-88523"/>
                      <a:pt x="1949714" y="140561"/>
                    </a:cubicBezTo>
                    <a:cubicBezTo>
                      <a:pt x="1650594" y="316654"/>
                      <a:pt x="147126" y="-24349"/>
                      <a:pt x="17620" y="326759"/>
                    </a:cubicBezTo>
                    <a:cubicBezTo>
                      <a:pt x="-151995" y="786777"/>
                      <a:pt x="953624" y="1647191"/>
                      <a:pt x="1162808" y="2051134"/>
                    </a:cubicBezTo>
                    <a:cubicBezTo>
                      <a:pt x="1489850" y="2682542"/>
                      <a:pt x="1817123" y="2418671"/>
                      <a:pt x="2164991" y="2546943"/>
                    </a:cubicBezTo>
                    <a:cubicBezTo>
                      <a:pt x="2623313" y="2715940"/>
                      <a:pt x="3059267" y="3153822"/>
                      <a:pt x="3449172" y="2922733"/>
                    </a:cubicBezTo>
                    <a:cubicBezTo>
                      <a:pt x="3746441" y="2746562"/>
                      <a:pt x="3674708" y="2098108"/>
                      <a:pt x="3803596" y="1748620"/>
                    </a:cubicBezTo>
                    <a:cubicBezTo>
                      <a:pt x="3970588" y="1295698"/>
                      <a:pt x="4222272" y="1242631"/>
                      <a:pt x="3997970" y="855117"/>
                    </a:cubicBezTo>
                    <a:cubicBezTo>
                      <a:pt x="3822185" y="551446"/>
                      <a:pt x="3400038" y="10824"/>
                      <a:pt x="3021857" y="211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7DFAD1C4-3C75-B4F1-5FE7-5B515A5B3B76}"/>
                  </a:ext>
                </a:extLst>
              </p:cNvPr>
              <p:cNvSpPr/>
              <p:nvPr/>
            </p:nvSpPr>
            <p:spPr>
              <a:xfrm>
                <a:off x="3285345" y="2945042"/>
                <a:ext cx="4163768" cy="2979360"/>
              </a:xfrm>
              <a:custGeom>
                <a:avLst/>
                <a:gdLst>
                  <a:gd name="connsiteX0" fmla="*/ 3793170 w 4163768"/>
                  <a:gd name="connsiteY0" fmla="*/ 1782639 h 2979360"/>
                  <a:gd name="connsiteX1" fmla="*/ 4094681 w 4163768"/>
                  <a:gd name="connsiteY1" fmla="*/ 868155 h 2979360"/>
                  <a:gd name="connsiteX2" fmla="*/ 2987366 w 4163768"/>
                  <a:gd name="connsiteY2" fmla="*/ 28 h 2979360"/>
                  <a:gd name="connsiteX3" fmla="*/ 1885912 w 4163768"/>
                  <a:gd name="connsiteY3" fmla="*/ 197641 h 2979360"/>
                  <a:gd name="connsiteX4" fmla="*/ 15678 w 4163768"/>
                  <a:gd name="connsiteY4" fmla="*/ 437446 h 2979360"/>
                  <a:gd name="connsiteX5" fmla="*/ 1132404 w 4163768"/>
                  <a:gd name="connsiteY5" fmla="*/ 2066409 h 2979360"/>
                  <a:gd name="connsiteX6" fmla="*/ 2140990 w 4163768"/>
                  <a:gd name="connsiteY6" fmla="*/ 2635648 h 2979360"/>
                  <a:gd name="connsiteX7" fmla="*/ 3375266 w 4163768"/>
                  <a:gd name="connsiteY7" fmla="*/ 2903143 h 2979360"/>
                  <a:gd name="connsiteX8" fmla="*/ 3793247 w 4163768"/>
                  <a:gd name="connsiteY8" fmla="*/ 1782639 h 2979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63768" h="2979360">
                    <a:moveTo>
                      <a:pt x="3793170" y="1782639"/>
                    </a:moveTo>
                    <a:cubicBezTo>
                      <a:pt x="3948438" y="1338818"/>
                      <a:pt x="4315975" y="1250115"/>
                      <a:pt x="4094681" y="868155"/>
                    </a:cubicBezTo>
                    <a:cubicBezTo>
                      <a:pt x="3912417" y="553917"/>
                      <a:pt x="3371717" y="-4523"/>
                      <a:pt x="2987366" y="28"/>
                    </a:cubicBezTo>
                    <a:cubicBezTo>
                      <a:pt x="2503822" y="5735"/>
                      <a:pt x="2269030" y="-27894"/>
                      <a:pt x="1885912" y="197641"/>
                    </a:cubicBezTo>
                    <a:cubicBezTo>
                      <a:pt x="1575531" y="380291"/>
                      <a:pt x="141019" y="77932"/>
                      <a:pt x="15678" y="437446"/>
                    </a:cubicBezTo>
                    <a:cubicBezTo>
                      <a:pt x="-141132" y="887207"/>
                      <a:pt x="925072" y="1670179"/>
                      <a:pt x="1132404" y="2066409"/>
                    </a:cubicBezTo>
                    <a:cubicBezTo>
                      <a:pt x="1452196" y="2678688"/>
                      <a:pt x="1784560" y="2511310"/>
                      <a:pt x="2140990" y="2635648"/>
                    </a:cubicBezTo>
                    <a:cubicBezTo>
                      <a:pt x="2589439" y="2792072"/>
                      <a:pt x="2991608" y="3130376"/>
                      <a:pt x="3375266" y="2903143"/>
                    </a:cubicBezTo>
                    <a:cubicBezTo>
                      <a:pt x="3683333" y="2720725"/>
                      <a:pt x="3668215" y="2140071"/>
                      <a:pt x="3793247" y="178263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A066C7AA-4DEC-FB78-48CF-F7FAD5A6BC9D}"/>
                  </a:ext>
                </a:extLst>
              </p:cNvPr>
              <p:cNvSpPr/>
              <p:nvPr/>
            </p:nvSpPr>
            <p:spPr>
              <a:xfrm>
                <a:off x="3345777" y="2895587"/>
                <a:ext cx="4247432" cy="2996098"/>
              </a:xfrm>
              <a:custGeom>
                <a:avLst/>
                <a:gdLst>
                  <a:gd name="connsiteX0" fmla="*/ 3783028 w 4247432"/>
                  <a:gd name="connsiteY0" fmla="*/ 1837724 h 2996098"/>
                  <a:gd name="connsiteX1" fmla="*/ 4191599 w 4247432"/>
                  <a:gd name="connsiteY1" fmla="*/ 902338 h 2996098"/>
                  <a:gd name="connsiteX2" fmla="*/ 2953081 w 4247432"/>
                  <a:gd name="connsiteY2" fmla="*/ 41 h 2996098"/>
                  <a:gd name="connsiteX3" fmla="*/ 1822318 w 4247432"/>
                  <a:gd name="connsiteY3" fmla="*/ 275790 h 2996098"/>
                  <a:gd name="connsiteX4" fmla="*/ 13867 w 4247432"/>
                  <a:gd name="connsiteY4" fmla="*/ 569202 h 2996098"/>
                  <a:gd name="connsiteX5" fmla="*/ 1102053 w 4247432"/>
                  <a:gd name="connsiteY5" fmla="*/ 2102675 h 2996098"/>
                  <a:gd name="connsiteX6" fmla="*/ 2117041 w 4247432"/>
                  <a:gd name="connsiteY6" fmla="*/ 2745420 h 2996098"/>
                  <a:gd name="connsiteX7" fmla="*/ 3301335 w 4247432"/>
                  <a:gd name="connsiteY7" fmla="*/ 2904699 h 2996098"/>
                  <a:gd name="connsiteX8" fmla="*/ 3782951 w 4247432"/>
                  <a:gd name="connsiteY8" fmla="*/ 1837724 h 299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47432" h="2996098">
                    <a:moveTo>
                      <a:pt x="3783028" y="1837724"/>
                    </a:moveTo>
                    <a:cubicBezTo>
                      <a:pt x="3926880" y="1403159"/>
                      <a:pt x="4410039" y="1278667"/>
                      <a:pt x="4191599" y="902338"/>
                    </a:cubicBezTo>
                    <a:cubicBezTo>
                      <a:pt x="4002856" y="577532"/>
                      <a:pt x="3343681" y="1506"/>
                      <a:pt x="2953081" y="41"/>
                    </a:cubicBezTo>
                    <a:cubicBezTo>
                      <a:pt x="2483575" y="-1733"/>
                      <a:pt x="2199342" y="53802"/>
                      <a:pt x="1822318" y="275790"/>
                    </a:cubicBezTo>
                    <a:cubicBezTo>
                      <a:pt x="1500752" y="465073"/>
                      <a:pt x="134888" y="201125"/>
                      <a:pt x="13867" y="569202"/>
                    </a:cubicBezTo>
                    <a:cubicBezTo>
                      <a:pt x="-130603" y="1008626"/>
                      <a:pt x="896726" y="1714158"/>
                      <a:pt x="1102053" y="2102675"/>
                    </a:cubicBezTo>
                    <a:cubicBezTo>
                      <a:pt x="1414672" y="2695824"/>
                      <a:pt x="1751896" y="2625171"/>
                      <a:pt x="2117041" y="2745420"/>
                    </a:cubicBezTo>
                    <a:cubicBezTo>
                      <a:pt x="2555309" y="2889658"/>
                      <a:pt x="2924002" y="3128075"/>
                      <a:pt x="3301335" y="2904699"/>
                    </a:cubicBezTo>
                    <a:cubicBezTo>
                      <a:pt x="3620201" y="2716033"/>
                      <a:pt x="3661930" y="2203256"/>
                      <a:pt x="3782951" y="183772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FD2F6741-D7BE-AEC2-9354-E536373BEAB9}"/>
                  </a:ext>
                </a:extLst>
              </p:cNvPr>
              <p:cNvSpPr/>
              <p:nvPr/>
            </p:nvSpPr>
            <p:spPr>
              <a:xfrm>
                <a:off x="3406170" y="2845727"/>
                <a:ext cx="4334890" cy="3021757"/>
              </a:xfrm>
              <a:custGeom>
                <a:avLst/>
                <a:gdLst>
                  <a:gd name="connsiteX0" fmla="*/ 3772848 w 4334890"/>
                  <a:gd name="connsiteY0" fmla="*/ 1893214 h 3021757"/>
                  <a:gd name="connsiteX1" fmla="*/ 4288557 w 4334890"/>
                  <a:gd name="connsiteY1" fmla="*/ 936924 h 3021757"/>
                  <a:gd name="connsiteX2" fmla="*/ 2918837 w 4334890"/>
                  <a:gd name="connsiteY2" fmla="*/ 381 h 3021757"/>
                  <a:gd name="connsiteX3" fmla="*/ 1758762 w 4334890"/>
                  <a:gd name="connsiteY3" fmla="*/ 354188 h 3021757"/>
                  <a:gd name="connsiteX4" fmla="*/ 12172 w 4334890"/>
                  <a:gd name="connsiteY4" fmla="*/ 701207 h 3021757"/>
                  <a:gd name="connsiteX5" fmla="*/ 1071897 w 4334890"/>
                  <a:gd name="connsiteY5" fmla="*/ 2139267 h 3021757"/>
                  <a:gd name="connsiteX6" fmla="*/ 2093286 w 4334890"/>
                  <a:gd name="connsiteY6" fmla="*/ 2855443 h 3021757"/>
                  <a:gd name="connsiteX7" fmla="*/ 3227676 w 4334890"/>
                  <a:gd name="connsiteY7" fmla="*/ 2906427 h 3021757"/>
                  <a:gd name="connsiteX8" fmla="*/ 3772926 w 4334890"/>
                  <a:gd name="connsiteY8" fmla="*/ 1893060 h 3021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34890" h="3021757">
                    <a:moveTo>
                      <a:pt x="3772848" y="1893214"/>
                    </a:moveTo>
                    <a:cubicBezTo>
                      <a:pt x="3905671" y="1468137"/>
                      <a:pt x="4503989" y="1307701"/>
                      <a:pt x="4288557" y="936924"/>
                    </a:cubicBezTo>
                    <a:cubicBezTo>
                      <a:pt x="4093411" y="601629"/>
                      <a:pt x="3315684" y="8094"/>
                      <a:pt x="2918837" y="381"/>
                    </a:cubicBezTo>
                    <a:cubicBezTo>
                      <a:pt x="2463446" y="-8412"/>
                      <a:pt x="2129770" y="135826"/>
                      <a:pt x="1758762" y="354188"/>
                    </a:cubicBezTo>
                    <a:cubicBezTo>
                      <a:pt x="1425935" y="550027"/>
                      <a:pt x="128642" y="324415"/>
                      <a:pt x="12172" y="701207"/>
                    </a:cubicBezTo>
                    <a:cubicBezTo>
                      <a:pt x="-120342" y="1129987"/>
                      <a:pt x="868421" y="1758386"/>
                      <a:pt x="1071897" y="2139267"/>
                    </a:cubicBezTo>
                    <a:cubicBezTo>
                      <a:pt x="1377265" y="2713288"/>
                      <a:pt x="1719270" y="2739667"/>
                      <a:pt x="2093286" y="2855443"/>
                    </a:cubicBezTo>
                    <a:cubicBezTo>
                      <a:pt x="2521218" y="2987957"/>
                      <a:pt x="2856591" y="3126024"/>
                      <a:pt x="3227676" y="2906427"/>
                    </a:cubicBezTo>
                    <a:cubicBezTo>
                      <a:pt x="3557340" y="2711514"/>
                      <a:pt x="3656147" y="2266690"/>
                      <a:pt x="3772926" y="18930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A1455210-4E8A-22AC-D701-3AA27ED35DFD}"/>
                  </a:ext>
                </a:extLst>
              </p:cNvPr>
              <p:cNvSpPr/>
              <p:nvPr/>
            </p:nvSpPr>
            <p:spPr>
              <a:xfrm>
                <a:off x="3466359" y="2795931"/>
                <a:ext cx="4425026" cy="3063471"/>
              </a:xfrm>
              <a:custGeom>
                <a:avLst/>
                <a:gdLst>
                  <a:gd name="connsiteX0" fmla="*/ 3762949 w 4425026"/>
                  <a:gd name="connsiteY0" fmla="*/ 1948641 h 3063471"/>
                  <a:gd name="connsiteX1" fmla="*/ 4385718 w 4425026"/>
                  <a:gd name="connsiteY1" fmla="*/ 971448 h 3063471"/>
                  <a:gd name="connsiteX2" fmla="*/ 2884795 w 4425026"/>
                  <a:gd name="connsiteY2" fmla="*/ 735 h 3063471"/>
                  <a:gd name="connsiteX3" fmla="*/ 1695410 w 4425026"/>
                  <a:gd name="connsiteY3" fmla="*/ 432677 h 3063471"/>
                  <a:gd name="connsiteX4" fmla="*/ 10603 w 4425026"/>
                  <a:gd name="connsiteY4" fmla="*/ 833304 h 3063471"/>
                  <a:gd name="connsiteX5" fmla="*/ 1041789 w 4425026"/>
                  <a:gd name="connsiteY5" fmla="*/ 2175951 h 3063471"/>
                  <a:gd name="connsiteX6" fmla="*/ 2069581 w 4425026"/>
                  <a:gd name="connsiteY6" fmla="*/ 2965634 h 3063471"/>
                  <a:gd name="connsiteX7" fmla="*/ 3154065 w 4425026"/>
                  <a:gd name="connsiteY7" fmla="*/ 2908401 h 3063471"/>
                  <a:gd name="connsiteX8" fmla="*/ 3762949 w 4425026"/>
                  <a:gd name="connsiteY8" fmla="*/ 1948564 h 3063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25026" h="3063471">
                    <a:moveTo>
                      <a:pt x="3762949" y="1948641"/>
                    </a:moveTo>
                    <a:cubicBezTo>
                      <a:pt x="3885128" y="1533127"/>
                      <a:pt x="4598295" y="1336594"/>
                      <a:pt x="4385718" y="971448"/>
                    </a:cubicBezTo>
                    <a:cubicBezTo>
                      <a:pt x="4184094" y="625586"/>
                      <a:pt x="3287967" y="14927"/>
                      <a:pt x="2884795" y="735"/>
                    </a:cubicBezTo>
                    <a:cubicBezTo>
                      <a:pt x="2443596" y="-14769"/>
                      <a:pt x="2060325" y="217863"/>
                      <a:pt x="1695410" y="432677"/>
                    </a:cubicBezTo>
                    <a:cubicBezTo>
                      <a:pt x="1351399" y="635150"/>
                      <a:pt x="122214" y="447718"/>
                      <a:pt x="10603" y="833304"/>
                    </a:cubicBezTo>
                    <a:cubicBezTo>
                      <a:pt x="-110418" y="1251362"/>
                      <a:pt x="840318" y="1802706"/>
                      <a:pt x="1041789" y="2175951"/>
                    </a:cubicBezTo>
                    <a:cubicBezTo>
                      <a:pt x="1339983" y="2730842"/>
                      <a:pt x="1686617" y="2854485"/>
                      <a:pt x="2069581" y="2965634"/>
                    </a:cubicBezTo>
                    <a:cubicBezTo>
                      <a:pt x="2487022" y="3086809"/>
                      <a:pt x="2789228" y="3124141"/>
                      <a:pt x="3154065" y="2908401"/>
                    </a:cubicBezTo>
                    <a:cubicBezTo>
                      <a:pt x="3494528" y="2707240"/>
                      <a:pt x="3650644" y="2330524"/>
                      <a:pt x="3762949" y="19485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565865B-2CFE-C08F-F636-031569D06D65}"/>
                  </a:ext>
                </a:extLst>
              </p:cNvPr>
              <p:cNvSpPr/>
              <p:nvPr/>
            </p:nvSpPr>
            <p:spPr>
              <a:xfrm>
                <a:off x="3526436" y="2746166"/>
                <a:ext cx="4516838" cy="3129085"/>
              </a:xfrm>
              <a:custGeom>
                <a:avLst/>
                <a:gdLst>
                  <a:gd name="connsiteX0" fmla="*/ 3753086 w 4516838"/>
                  <a:gd name="connsiteY0" fmla="*/ 2004037 h 3129085"/>
                  <a:gd name="connsiteX1" fmla="*/ 4482992 w 4516838"/>
                  <a:gd name="connsiteY1" fmla="*/ 1005942 h 3129085"/>
                  <a:gd name="connsiteX2" fmla="*/ 2850866 w 4516838"/>
                  <a:gd name="connsiteY2" fmla="*/ 1059 h 3129085"/>
                  <a:gd name="connsiteX3" fmla="*/ 1632171 w 4516838"/>
                  <a:gd name="connsiteY3" fmla="*/ 511136 h 3129085"/>
                  <a:gd name="connsiteX4" fmla="*/ 9147 w 4516838"/>
                  <a:gd name="connsiteY4" fmla="*/ 965447 h 3129085"/>
                  <a:gd name="connsiteX5" fmla="*/ 1011871 w 4516838"/>
                  <a:gd name="connsiteY5" fmla="*/ 2212681 h 3129085"/>
                  <a:gd name="connsiteX6" fmla="*/ 2046065 w 4516838"/>
                  <a:gd name="connsiteY6" fmla="*/ 3075871 h 3129085"/>
                  <a:gd name="connsiteX7" fmla="*/ 3080644 w 4516838"/>
                  <a:gd name="connsiteY7" fmla="*/ 2910345 h 3129085"/>
                  <a:gd name="connsiteX8" fmla="*/ 3753163 w 4516838"/>
                  <a:gd name="connsiteY8" fmla="*/ 2004114 h 3129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16838" h="3129085">
                    <a:moveTo>
                      <a:pt x="3753086" y="2004037"/>
                    </a:moveTo>
                    <a:cubicBezTo>
                      <a:pt x="3864928" y="1598166"/>
                      <a:pt x="4692561" y="1365534"/>
                      <a:pt x="4482992" y="1005942"/>
                    </a:cubicBezTo>
                    <a:cubicBezTo>
                      <a:pt x="4274888" y="649589"/>
                      <a:pt x="3260286" y="21962"/>
                      <a:pt x="2850866" y="1059"/>
                    </a:cubicBezTo>
                    <a:cubicBezTo>
                      <a:pt x="2423783" y="-20770"/>
                      <a:pt x="1990992" y="299870"/>
                      <a:pt x="1632171" y="511136"/>
                    </a:cubicBezTo>
                    <a:cubicBezTo>
                      <a:pt x="1276976" y="720166"/>
                      <a:pt x="115667" y="570837"/>
                      <a:pt x="9147" y="965447"/>
                    </a:cubicBezTo>
                    <a:cubicBezTo>
                      <a:pt x="-100767" y="1372553"/>
                      <a:pt x="812252" y="1847149"/>
                      <a:pt x="1011871" y="2212681"/>
                    </a:cubicBezTo>
                    <a:cubicBezTo>
                      <a:pt x="1302892" y="2748444"/>
                      <a:pt x="1654000" y="2969583"/>
                      <a:pt x="2046065" y="3075871"/>
                    </a:cubicBezTo>
                    <a:cubicBezTo>
                      <a:pt x="2452939" y="3186094"/>
                      <a:pt x="2721978" y="3122305"/>
                      <a:pt x="3080644" y="2910345"/>
                    </a:cubicBezTo>
                    <a:cubicBezTo>
                      <a:pt x="3431906" y="2702935"/>
                      <a:pt x="3645563" y="2394405"/>
                      <a:pt x="3753163" y="20041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4D876FC3-4783-AF0B-E30D-48849A9EC493}"/>
                  </a:ext>
                </a:extLst>
              </p:cNvPr>
              <p:cNvSpPr/>
              <p:nvPr/>
            </p:nvSpPr>
            <p:spPr>
              <a:xfrm>
                <a:off x="3586413" y="2696421"/>
                <a:ext cx="4609879" cy="3215724"/>
              </a:xfrm>
              <a:custGeom>
                <a:avLst/>
                <a:gdLst>
                  <a:gd name="connsiteX0" fmla="*/ 3743322 w 4609879"/>
                  <a:gd name="connsiteY0" fmla="*/ 2059413 h 3215724"/>
                  <a:gd name="connsiteX1" fmla="*/ 4580365 w 4609879"/>
                  <a:gd name="connsiteY1" fmla="*/ 1040414 h 3215724"/>
                  <a:gd name="connsiteX2" fmla="*/ 2817037 w 4609879"/>
                  <a:gd name="connsiteY2" fmla="*/ 1361 h 3215724"/>
                  <a:gd name="connsiteX3" fmla="*/ 1568955 w 4609879"/>
                  <a:gd name="connsiteY3" fmla="*/ 589575 h 3215724"/>
                  <a:gd name="connsiteX4" fmla="*/ 7791 w 4609879"/>
                  <a:gd name="connsiteY4" fmla="*/ 1097493 h 3215724"/>
                  <a:gd name="connsiteX5" fmla="*/ 981976 w 4609879"/>
                  <a:gd name="connsiteY5" fmla="*/ 2249313 h 3215724"/>
                  <a:gd name="connsiteX6" fmla="*/ 2022571 w 4609879"/>
                  <a:gd name="connsiteY6" fmla="*/ 3185934 h 3215724"/>
                  <a:gd name="connsiteX7" fmla="*/ 3007169 w 4609879"/>
                  <a:gd name="connsiteY7" fmla="*/ 2912190 h 3215724"/>
                  <a:gd name="connsiteX8" fmla="*/ 3743322 w 4609879"/>
                  <a:gd name="connsiteY8" fmla="*/ 2059567 h 3215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09879" h="3215724">
                    <a:moveTo>
                      <a:pt x="3743322" y="2059413"/>
                    </a:moveTo>
                    <a:cubicBezTo>
                      <a:pt x="3845138" y="1663337"/>
                      <a:pt x="4786926" y="1394376"/>
                      <a:pt x="4580365" y="1040414"/>
                    </a:cubicBezTo>
                    <a:cubicBezTo>
                      <a:pt x="4365783" y="673495"/>
                      <a:pt x="3232782" y="29284"/>
                      <a:pt x="2817037" y="1361"/>
                    </a:cubicBezTo>
                    <a:cubicBezTo>
                      <a:pt x="2401292" y="-26560"/>
                      <a:pt x="1921836" y="381934"/>
                      <a:pt x="1568955" y="589575"/>
                    </a:cubicBezTo>
                    <a:cubicBezTo>
                      <a:pt x="1202498" y="805237"/>
                      <a:pt x="108757" y="693858"/>
                      <a:pt x="7791" y="1097493"/>
                    </a:cubicBezTo>
                    <a:cubicBezTo>
                      <a:pt x="-91324" y="1493568"/>
                      <a:pt x="784362" y="1891418"/>
                      <a:pt x="981976" y="2249313"/>
                    </a:cubicBezTo>
                    <a:cubicBezTo>
                      <a:pt x="1265746" y="2765947"/>
                      <a:pt x="1621328" y="3084968"/>
                      <a:pt x="2022571" y="3185934"/>
                    </a:cubicBezTo>
                    <a:cubicBezTo>
                      <a:pt x="2418724" y="3285589"/>
                      <a:pt x="2654827" y="3120217"/>
                      <a:pt x="3007169" y="2912190"/>
                    </a:cubicBezTo>
                    <a:cubicBezTo>
                      <a:pt x="3369229" y="2698533"/>
                      <a:pt x="3640813" y="2458265"/>
                      <a:pt x="3743322" y="205956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F1114CE7-6349-1594-3327-9B815180258C}"/>
                  </a:ext>
                </a:extLst>
              </p:cNvPr>
              <p:cNvSpPr/>
              <p:nvPr/>
            </p:nvSpPr>
            <p:spPr>
              <a:xfrm>
                <a:off x="3646345" y="2646648"/>
                <a:ext cx="4703818" cy="3313713"/>
              </a:xfrm>
              <a:custGeom>
                <a:avLst/>
                <a:gdLst>
                  <a:gd name="connsiteX0" fmla="*/ 3733681 w 4703818"/>
                  <a:gd name="connsiteY0" fmla="*/ 2114893 h 3313713"/>
                  <a:gd name="connsiteX1" fmla="*/ 4677784 w 4703818"/>
                  <a:gd name="connsiteY1" fmla="*/ 1074915 h 3313713"/>
                  <a:gd name="connsiteX2" fmla="*/ 2783330 w 4703818"/>
                  <a:gd name="connsiteY2" fmla="*/ 1615 h 3313713"/>
                  <a:gd name="connsiteX3" fmla="*/ 1505937 w 4703818"/>
                  <a:gd name="connsiteY3" fmla="*/ 667886 h 3313713"/>
                  <a:gd name="connsiteX4" fmla="*/ 6557 w 4703818"/>
                  <a:gd name="connsiteY4" fmla="*/ 1229411 h 3313713"/>
                  <a:gd name="connsiteX5" fmla="*/ 952280 w 4703818"/>
                  <a:gd name="connsiteY5" fmla="*/ 2285819 h 3313713"/>
                  <a:gd name="connsiteX6" fmla="*/ 1999200 w 4703818"/>
                  <a:gd name="connsiteY6" fmla="*/ 3295947 h 3313713"/>
                  <a:gd name="connsiteX7" fmla="*/ 2933893 w 4703818"/>
                  <a:gd name="connsiteY7" fmla="*/ 2913910 h 3313713"/>
                  <a:gd name="connsiteX8" fmla="*/ 3733681 w 4703818"/>
                  <a:gd name="connsiteY8" fmla="*/ 2114816 h 3313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03818" h="3313713">
                    <a:moveTo>
                      <a:pt x="3733681" y="2114893"/>
                    </a:moveTo>
                    <a:cubicBezTo>
                      <a:pt x="3825777" y="1728690"/>
                      <a:pt x="4881491" y="1423323"/>
                      <a:pt x="4677784" y="1074915"/>
                    </a:cubicBezTo>
                    <a:cubicBezTo>
                      <a:pt x="4456722" y="697428"/>
                      <a:pt x="3205245" y="37019"/>
                      <a:pt x="2783330" y="1615"/>
                    </a:cubicBezTo>
                    <a:cubicBezTo>
                      <a:pt x="2384478" y="-31860"/>
                      <a:pt x="1852725" y="463871"/>
                      <a:pt x="1505937" y="667886"/>
                    </a:cubicBezTo>
                    <a:cubicBezTo>
                      <a:pt x="1128296" y="890105"/>
                      <a:pt x="101738" y="816675"/>
                      <a:pt x="6557" y="1229411"/>
                    </a:cubicBezTo>
                    <a:cubicBezTo>
                      <a:pt x="-82223" y="1614457"/>
                      <a:pt x="756517" y="1935560"/>
                      <a:pt x="952280" y="2285819"/>
                    </a:cubicBezTo>
                    <a:cubicBezTo>
                      <a:pt x="1228877" y="2783324"/>
                      <a:pt x="1588778" y="3200611"/>
                      <a:pt x="1999200" y="3295947"/>
                    </a:cubicBezTo>
                    <a:cubicBezTo>
                      <a:pt x="2384478" y="3385421"/>
                      <a:pt x="2587799" y="3118157"/>
                      <a:pt x="2933893" y="2913910"/>
                    </a:cubicBezTo>
                    <a:cubicBezTo>
                      <a:pt x="3306752" y="2694082"/>
                      <a:pt x="3636494" y="2522076"/>
                      <a:pt x="3733681" y="2114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6C5FF41A-35AF-05FA-A791-6F34F145DBE6}"/>
                  </a:ext>
                </a:extLst>
              </p:cNvPr>
              <p:cNvSpPr/>
              <p:nvPr/>
            </p:nvSpPr>
            <p:spPr>
              <a:xfrm>
                <a:off x="3706188" y="2596973"/>
                <a:ext cx="4798420" cy="3416920"/>
              </a:xfrm>
              <a:custGeom>
                <a:avLst/>
                <a:gdLst>
                  <a:gd name="connsiteX0" fmla="*/ 3724051 w 4798420"/>
                  <a:gd name="connsiteY0" fmla="*/ 2170199 h 3416920"/>
                  <a:gd name="connsiteX1" fmla="*/ 4775292 w 4798420"/>
                  <a:gd name="connsiteY1" fmla="*/ 1109318 h 3416920"/>
                  <a:gd name="connsiteX2" fmla="*/ 2749635 w 4798420"/>
                  <a:gd name="connsiteY2" fmla="*/ 1848 h 3416920"/>
                  <a:gd name="connsiteX3" fmla="*/ 1442932 w 4798420"/>
                  <a:gd name="connsiteY3" fmla="*/ 746255 h 3416920"/>
                  <a:gd name="connsiteX4" fmla="*/ 5412 w 4798420"/>
                  <a:gd name="connsiteY4" fmla="*/ 1361387 h 3416920"/>
                  <a:gd name="connsiteX5" fmla="*/ 922596 w 4798420"/>
                  <a:gd name="connsiteY5" fmla="*/ 2322304 h 3416920"/>
                  <a:gd name="connsiteX6" fmla="*/ 1975918 w 4798420"/>
                  <a:gd name="connsiteY6" fmla="*/ 3405863 h 3416920"/>
                  <a:gd name="connsiteX7" fmla="*/ 2860706 w 4798420"/>
                  <a:gd name="connsiteY7" fmla="*/ 2915608 h 3416920"/>
                  <a:gd name="connsiteX8" fmla="*/ 3724129 w 4798420"/>
                  <a:gd name="connsiteY8" fmla="*/ 2170122 h 3416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98420" h="3416920">
                    <a:moveTo>
                      <a:pt x="3724051" y="2170199"/>
                    </a:moveTo>
                    <a:cubicBezTo>
                      <a:pt x="3806815" y="1793946"/>
                      <a:pt x="4975991" y="1452172"/>
                      <a:pt x="4775292" y="1109318"/>
                    </a:cubicBezTo>
                    <a:cubicBezTo>
                      <a:pt x="4547751" y="721341"/>
                      <a:pt x="3177798" y="45042"/>
                      <a:pt x="2749635" y="1848"/>
                    </a:cubicBezTo>
                    <a:cubicBezTo>
                      <a:pt x="2364821" y="-36950"/>
                      <a:pt x="1783627" y="545787"/>
                      <a:pt x="1442932" y="746255"/>
                    </a:cubicBezTo>
                    <a:cubicBezTo>
                      <a:pt x="1054030" y="975107"/>
                      <a:pt x="94192" y="939472"/>
                      <a:pt x="5412" y="1361387"/>
                    </a:cubicBezTo>
                    <a:cubicBezTo>
                      <a:pt x="-73263" y="1735248"/>
                      <a:pt x="728761" y="1979759"/>
                      <a:pt x="922596" y="2322304"/>
                    </a:cubicBezTo>
                    <a:cubicBezTo>
                      <a:pt x="1191943" y="2800681"/>
                      <a:pt x="1556163" y="3316697"/>
                      <a:pt x="1975918" y="3405863"/>
                    </a:cubicBezTo>
                    <a:cubicBezTo>
                      <a:pt x="2350320" y="3485463"/>
                      <a:pt x="2520860" y="3115999"/>
                      <a:pt x="2860706" y="2915608"/>
                    </a:cubicBezTo>
                    <a:cubicBezTo>
                      <a:pt x="3244364" y="2689532"/>
                      <a:pt x="3632649" y="2585944"/>
                      <a:pt x="3724129" y="217012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BF053C4E-0026-14B8-C6A4-5364B1563AFB}"/>
                  </a:ext>
                </a:extLst>
              </p:cNvPr>
              <p:cNvSpPr/>
              <p:nvPr/>
            </p:nvSpPr>
            <p:spPr>
              <a:xfrm>
                <a:off x="3765757" y="2547325"/>
                <a:ext cx="4893698" cy="3522930"/>
              </a:xfrm>
              <a:custGeom>
                <a:avLst/>
                <a:gdLst>
                  <a:gd name="connsiteX0" fmla="*/ 3714695 w 4893698"/>
                  <a:gd name="connsiteY0" fmla="*/ 2225478 h 3522930"/>
                  <a:gd name="connsiteX1" fmla="*/ 4872995 w 4893698"/>
                  <a:gd name="connsiteY1" fmla="*/ 1143693 h 3522930"/>
                  <a:gd name="connsiteX2" fmla="*/ 2716137 w 4893698"/>
                  <a:gd name="connsiteY2" fmla="*/ 2054 h 3522930"/>
                  <a:gd name="connsiteX3" fmla="*/ 1380123 w 4893698"/>
                  <a:gd name="connsiteY3" fmla="*/ 824596 h 3522930"/>
                  <a:gd name="connsiteX4" fmla="*/ 4386 w 4893698"/>
                  <a:gd name="connsiteY4" fmla="*/ 1493335 h 3522930"/>
                  <a:gd name="connsiteX5" fmla="*/ 893031 w 4893698"/>
                  <a:gd name="connsiteY5" fmla="*/ 2358840 h 3522930"/>
                  <a:gd name="connsiteX6" fmla="*/ 1952756 w 4893698"/>
                  <a:gd name="connsiteY6" fmla="*/ 3515905 h 3522930"/>
                  <a:gd name="connsiteX7" fmla="*/ 2787562 w 4893698"/>
                  <a:gd name="connsiteY7" fmla="*/ 2917357 h 3522930"/>
                  <a:gd name="connsiteX8" fmla="*/ 3714541 w 4893698"/>
                  <a:gd name="connsiteY8" fmla="*/ 2225478 h 3522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93698" h="3522930">
                    <a:moveTo>
                      <a:pt x="3714695" y="2225478"/>
                    </a:moveTo>
                    <a:cubicBezTo>
                      <a:pt x="3788357" y="1859175"/>
                      <a:pt x="5070764" y="1480917"/>
                      <a:pt x="4872995" y="1143693"/>
                    </a:cubicBezTo>
                    <a:cubicBezTo>
                      <a:pt x="4639053" y="745149"/>
                      <a:pt x="3150470" y="53347"/>
                      <a:pt x="2716137" y="2054"/>
                    </a:cubicBezTo>
                    <a:cubicBezTo>
                      <a:pt x="2345360" y="-41757"/>
                      <a:pt x="1714801" y="627676"/>
                      <a:pt x="1380123" y="824596"/>
                    </a:cubicBezTo>
                    <a:cubicBezTo>
                      <a:pt x="980036" y="1060081"/>
                      <a:pt x="86455" y="1062164"/>
                      <a:pt x="4386" y="1493335"/>
                    </a:cubicBezTo>
                    <a:cubicBezTo>
                      <a:pt x="-64647" y="1856012"/>
                      <a:pt x="701202" y="2023930"/>
                      <a:pt x="893031" y="2358840"/>
                    </a:cubicBezTo>
                    <a:cubicBezTo>
                      <a:pt x="1155205" y="2818087"/>
                      <a:pt x="1523590" y="3433219"/>
                      <a:pt x="1952756" y="3515905"/>
                    </a:cubicBezTo>
                    <a:cubicBezTo>
                      <a:pt x="2316282" y="3585942"/>
                      <a:pt x="2454040" y="3113968"/>
                      <a:pt x="2787562" y="2917357"/>
                    </a:cubicBezTo>
                    <a:cubicBezTo>
                      <a:pt x="3182018" y="2685033"/>
                      <a:pt x="3629232" y="2649938"/>
                      <a:pt x="3714541" y="22254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AA48AB1-D8A3-DF0A-19FE-A306C5A562C8}"/>
                  </a:ext>
                </a:extLst>
              </p:cNvPr>
              <p:cNvSpPr/>
              <p:nvPr/>
            </p:nvSpPr>
            <p:spPr>
              <a:xfrm>
                <a:off x="3825389" y="2497697"/>
                <a:ext cx="4989429" cy="3630406"/>
              </a:xfrm>
              <a:custGeom>
                <a:avLst/>
                <a:gdLst>
                  <a:gd name="connsiteX0" fmla="*/ 3705354 w 4989429"/>
                  <a:gd name="connsiteY0" fmla="*/ 2280737 h 3630406"/>
                  <a:gd name="connsiteX1" fmla="*/ 4970792 w 4989429"/>
                  <a:gd name="connsiteY1" fmla="*/ 1178049 h 3630406"/>
                  <a:gd name="connsiteX2" fmla="*/ 2682730 w 4989429"/>
                  <a:gd name="connsiteY2" fmla="*/ 2241 h 3630406"/>
                  <a:gd name="connsiteX3" fmla="*/ 1317406 w 4989429"/>
                  <a:gd name="connsiteY3" fmla="*/ 902918 h 3630406"/>
                  <a:gd name="connsiteX4" fmla="*/ 3453 w 4989429"/>
                  <a:gd name="connsiteY4" fmla="*/ 1625341 h 3630406"/>
                  <a:gd name="connsiteX5" fmla="*/ 863635 w 4989429"/>
                  <a:gd name="connsiteY5" fmla="*/ 2395433 h 3630406"/>
                  <a:gd name="connsiteX6" fmla="*/ 1929762 w 4989429"/>
                  <a:gd name="connsiteY6" fmla="*/ 3625929 h 3630406"/>
                  <a:gd name="connsiteX7" fmla="*/ 2714663 w 4989429"/>
                  <a:gd name="connsiteY7" fmla="*/ 2919163 h 3630406"/>
                  <a:gd name="connsiteX8" fmla="*/ 3705277 w 4989429"/>
                  <a:gd name="connsiteY8" fmla="*/ 2280814 h 3630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89429" h="3630406">
                    <a:moveTo>
                      <a:pt x="3705354" y="2280737"/>
                    </a:moveTo>
                    <a:cubicBezTo>
                      <a:pt x="3770145" y="1924384"/>
                      <a:pt x="5165629" y="1509720"/>
                      <a:pt x="4970792" y="1178049"/>
                    </a:cubicBezTo>
                    <a:cubicBezTo>
                      <a:pt x="4730370" y="769015"/>
                      <a:pt x="3123080" y="62173"/>
                      <a:pt x="2682730" y="2241"/>
                    </a:cubicBezTo>
                    <a:cubicBezTo>
                      <a:pt x="2325838" y="-46353"/>
                      <a:pt x="1645991" y="709546"/>
                      <a:pt x="1317406" y="902918"/>
                    </a:cubicBezTo>
                    <a:cubicBezTo>
                      <a:pt x="906058" y="1144960"/>
                      <a:pt x="78271" y="1184760"/>
                      <a:pt x="3453" y="1625341"/>
                    </a:cubicBezTo>
                    <a:cubicBezTo>
                      <a:pt x="-56171" y="1976757"/>
                      <a:pt x="673658" y="2068236"/>
                      <a:pt x="863635" y="2395433"/>
                    </a:cubicBezTo>
                    <a:cubicBezTo>
                      <a:pt x="1118636" y="2835628"/>
                      <a:pt x="1491186" y="3550339"/>
                      <a:pt x="1929762" y="3625929"/>
                    </a:cubicBezTo>
                    <a:cubicBezTo>
                      <a:pt x="2282335" y="3686709"/>
                      <a:pt x="2387313" y="3111917"/>
                      <a:pt x="2714663" y="2919163"/>
                    </a:cubicBezTo>
                    <a:cubicBezTo>
                      <a:pt x="3119918" y="2680592"/>
                      <a:pt x="3626525" y="2714067"/>
                      <a:pt x="3705277" y="22808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10DBE3F6-CB57-8DB5-7295-5DE6F4487E73}"/>
                  </a:ext>
                </a:extLst>
              </p:cNvPr>
              <p:cNvSpPr/>
              <p:nvPr/>
            </p:nvSpPr>
            <p:spPr>
              <a:xfrm>
                <a:off x="3884910" y="2448010"/>
                <a:ext cx="5085470" cy="3738674"/>
              </a:xfrm>
              <a:custGeom>
                <a:avLst/>
                <a:gdLst>
                  <a:gd name="connsiteX0" fmla="*/ 5068621 w 5085470"/>
                  <a:gd name="connsiteY0" fmla="*/ 1212464 h 3738674"/>
                  <a:gd name="connsiteX1" fmla="*/ 2649357 w 5085470"/>
                  <a:gd name="connsiteY1" fmla="*/ 2408 h 3738674"/>
                  <a:gd name="connsiteX2" fmla="*/ 1254723 w 5085470"/>
                  <a:gd name="connsiteY2" fmla="*/ 981143 h 3738674"/>
                  <a:gd name="connsiteX3" fmla="*/ 2629 w 5085470"/>
                  <a:gd name="connsiteY3" fmla="*/ 1757174 h 3738674"/>
                  <a:gd name="connsiteX4" fmla="*/ 834273 w 5085470"/>
                  <a:gd name="connsiteY4" fmla="*/ 2431853 h 3738674"/>
                  <a:gd name="connsiteX5" fmla="*/ 1906801 w 5085470"/>
                  <a:gd name="connsiteY5" fmla="*/ 3735856 h 3738674"/>
                  <a:gd name="connsiteX6" fmla="*/ 2641798 w 5085470"/>
                  <a:gd name="connsiteY6" fmla="*/ 2920796 h 3738674"/>
                  <a:gd name="connsiteX7" fmla="*/ 3696046 w 5085470"/>
                  <a:gd name="connsiteY7" fmla="*/ 2336054 h 3738674"/>
                  <a:gd name="connsiteX8" fmla="*/ 5068621 w 5085470"/>
                  <a:gd name="connsiteY8" fmla="*/ 1212464 h 373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5470" h="3738674">
                    <a:moveTo>
                      <a:pt x="5068621" y="1212464"/>
                    </a:moveTo>
                    <a:cubicBezTo>
                      <a:pt x="4821720" y="792863"/>
                      <a:pt x="3095646" y="71519"/>
                      <a:pt x="2649357" y="2408"/>
                    </a:cubicBezTo>
                    <a:cubicBezTo>
                      <a:pt x="2306348" y="-50736"/>
                      <a:pt x="1577214" y="791397"/>
                      <a:pt x="1254723" y="981143"/>
                    </a:cubicBezTo>
                    <a:cubicBezTo>
                      <a:pt x="832190" y="1229819"/>
                      <a:pt x="69503" y="1307260"/>
                      <a:pt x="2629" y="1757174"/>
                    </a:cubicBezTo>
                    <a:cubicBezTo>
                      <a:pt x="-47970" y="2097406"/>
                      <a:pt x="646301" y="2112292"/>
                      <a:pt x="834273" y="2431853"/>
                    </a:cubicBezTo>
                    <a:cubicBezTo>
                      <a:pt x="1082023" y="2852919"/>
                      <a:pt x="1458738" y="3667825"/>
                      <a:pt x="1906801" y="3735856"/>
                    </a:cubicBezTo>
                    <a:cubicBezTo>
                      <a:pt x="2248499" y="3787689"/>
                      <a:pt x="2320695" y="3109771"/>
                      <a:pt x="2641798" y="2920796"/>
                    </a:cubicBezTo>
                    <a:cubicBezTo>
                      <a:pt x="3057851" y="2675977"/>
                      <a:pt x="3624313" y="2778024"/>
                      <a:pt x="3696046" y="2336054"/>
                    </a:cubicBezTo>
                    <a:cubicBezTo>
                      <a:pt x="3752276" y="1989652"/>
                      <a:pt x="5260450" y="1538503"/>
                      <a:pt x="5068621" y="12124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aphic 5">
              <a:extLst>
                <a:ext uri="{FF2B5EF4-FFF2-40B4-BE49-F238E27FC236}">
                  <a16:creationId xmlns:a16="http://schemas.microsoft.com/office/drawing/2014/main" id="{889B8AAC-0994-D0C7-134F-19A9B23C0355}"/>
                </a:ext>
              </a:extLst>
            </p:cNvPr>
            <p:cNvGrpSpPr/>
            <p:nvPr/>
          </p:nvGrpSpPr>
          <p:grpSpPr>
            <a:xfrm rot="753948">
              <a:off x="-682780" y="-299489"/>
              <a:ext cx="5854605" cy="7484643"/>
              <a:chOff x="4061078" y="1549502"/>
              <a:chExt cx="3873961" cy="4952549"/>
            </a:xfrm>
            <a:noFill/>
          </p:grpSpPr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990CECA7-E524-D1DF-7C98-4348F619BFDA}"/>
                  </a:ext>
                </a:extLst>
              </p:cNvPr>
              <p:cNvSpPr/>
              <p:nvPr/>
            </p:nvSpPr>
            <p:spPr>
              <a:xfrm>
                <a:off x="4475868" y="1549502"/>
                <a:ext cx="3007008" cy="4952549"/>
              </a:xfrm>
              <a:custGeom>
                <a:avLst/>
                <a:gdLst>
                  <a:gd name="connsiteX0" fmla="*/ 2976817 w 3007008"/>
                  <a:gd name="connsiteY0" fmla="*/ 2669180 h 4952549"/>
                  <a:gd name="connsiteX1" fmla="*/ 2432801 w 3007008"/>
                  <a:gd name="connsiteY1" fmla="*/ 1308330 h 4952549"/>
                  <a:gd name="connsiteX2" fmla="*/ 1795840 w 3007008"/>
                  <a:gd name="connsiteY2" fmla="*/ 7 h 4952549"/>
                  <a:gd name="connsiteX3" fmla="*/ 437072 w 3007008"/>
                  <a:gd name="connsiteY3" fmla="*/ 1607682 h 4952549"/>
                  <a:gd name="connsiteX4" fmla="*/ 310112 w 3007008"/>
                  <a:gd name="connsiteY4" fmla="*/ 2718545 h 4952549"/>
                  <a:gd name="connsiteX5" fmla="*/ 413007 w 3007008"/>
                  <a:gd name="connsiteY5" fmla="*/ 3875302 h 4952549"/>
                  <a:gd name="connsiteX6" fmla="*/ 1776248 w 3007008"/>
                  <a:gd name="connsiteY6" fmla="*/ 4952536 h 4952549"/>
                  <a:gd name="connsiteX7" fmla="*/ 2522815 w 3007008"/>
                  <a:gd name="connsiteY7" fmla="*/ 3870057 h 4952549"/>
                  <a:gd name="connsiteX8" fmla="*/ 2976817 w 3007008"/>
                  <a:gd name="connsiteY8" fmla="*/ 2669180 h 4952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07008" h="4952549">
                    <a:moveTo>
                      <a:pt x="2976817" y="2669180"/>
                    </a:moveTo>
                    <a:cubicBezTo>
                      <a:pt x="2795478" y="2205613"/>
                      <a:pt x="2780206" y="1596883"/>
                      <a:pt x="2432801" y="1308330"/>
                    </a:cubicBezTo>
                    <a:cubicBezTo>
                      <a:pt x="2165768" y="1086497"/>
                      <a:pt x="2170087" y="2861"/>
                      <a:pt x="1795840" y="7"/>
                    </a:cubicBezTo>
                    <a:cubicBezTo>
                      <a:pt x="1305585" y="-3772"/>
                      <a:pt x="857599" y="1434442"/>
                      <a:pt x="437072" y="1607682"/>
                    </a:cubicBezTo>
                    <a:cubicBezTo>
                      <a:pt x="-439463" y="1968739"/>
                      <a:pt x="265838" y="2328563"/>
                      <a:pt x="310112" y="2718545"/>
                    </a:cubicBezTo>
                    <a:cubicBezTo>
                      <a:pt x="365185" y="3203940"/>
                      <a:pt x="63519" y="3586749"/>
                      <a:pt x="413007" y="3875302"/>
                    </a:cubicBezTo>
                    <a:cubicBezTo>
                      <a:pt x="679500" y="4095361"/>
                      <a:pt x="1403775" y="4949682"/>
                      <a:pt x="1776248" y="4952536"/>
                    </a:cubicBezTo>
                    <a:cubicBezTo>
                      <a:pt x="2258944" y="4956238"/>
                      <a:pt x="2234184" y="4212294"/>
                      <a:pt x="2522815" y="3870057"/>
                    </a:cubicBezTo>
                    <a:cubicBezTo>
                      <a:pt x="2749045" y="3601790"/>
                      <a:pt x="3114576" y="3021444"/>
                      <a:pt x="2976817" y="266918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6B56CC08-BD80-E1FF-36A8-F89BD7798523}"/>
                  </a:ext>
                </a:extLst>
              </p:cNvPr>
              <p:cNvSpPr/>
              <p:nvPr/>
            </p:nvSpPr>
            <p:spPr>
              <a:xfrm>
                <a:off x="4482456" y="1627788"/>
                <a:ext cx="3018571" cy="4778052"/>
              </a:xfrm>
              <a:custGeom>
                <a:avLst/>
                <a:gdLst>
                  <a:gd name="connsiteX0" fmla="*/ 1752691 w 3018571"/>
                  <a:gd name="connsiteY0" fmla="*/ 4776677 h 4778052"/>
                  <a:gd name="connsiteX1" fmla="*/ 2591277 w 3018571"/>
                  <a:gd name="connsiteY1" fmla="*/ 3811826 h 4778052"/>
                  <a:gd name="connsiteX2" fmla="*/ 2984730 w 3018571"/>
                  <a:gd name="connsiteY2" fmla="*/ 2584107 h 4778052"/>
                  <a:gd name="connsiteX3" fmla="*/ 2466168 w 3018571"/>
                  <a:gd name="connsiteY3" fmla="*/ 1202817 h 4778052"/>
                  <a:gd name="connsiteX4" fmla="*/ 1720373 w 3018571"/>
                  <a:gd name="connsiteY4" fmla="*/ 11 h 4778052"/>
                  <a:gd name="connsiteX5" fmla="*/ 440974 w 3018571"/>
                  <a:gd name="connsiteY5" fmla="*/ 1547522 h 4778052"/>
                  <a:gd name="connsiteX6" fmla="*/ 238116 w 3018571"/>
                  <a:gd name="connsiteY6" fmla="*/ 2690858 h 4778052"/>
                  <a:gd name="connsiteX7" fmla="*/ 359985 w 3018571"/>
                  <a:gd name="connsiteY7" fmla="*/ 3853863 h 4778052"/>
                  <a:gd name="connsiteX8" fmla="*/ 1752691 w 3018571"/>
                  <a:gd name="connsiteY8" fmla="*/ 4776754 h 4778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18571" h="4778052">
                    <a:moveTo>
                      <a:pt x="1752691" y="4776677"/>
                    </a:moveTo>
                    <a:cubicBezTo>
                      <a:pt x="2216181" y="4812235"/>
                      <a:pt x="2306966" y="4149435"/>
                      <a:pt x="2591277" y="3811826"/>
                    </a:cubicBezTo>
                    <a:cubicBezTo>
                      <a:pt x="2825220" y="3533917"/>
                      <a:pt x="3119172" y="2944162"/>
                      <a:pt x="2984730" y="2584107"/>
                    </a:cubicBezTo>
                    <a:cubicBezTo>
                      <a:pt x="2815579" y="2131107"/>
                      <a:pt x="2808174" y="1486896"/>
                      <a:pt x="2466168" y="1202817"/>
                    </a:cubicBezTo>
                    <a:cubicBezTo>
                      <a:pt x="2189185" y="972730"/>
                      <a:pt x="2101099" y="-3845"/>
                      <a:pt x="1720373" y="11"/>
                    </a:cubicBezTo>
                    <a:cubicBezTo>
                      <a:pt x="1244079" y="4794"/>
                      <a:pt x="830648" y="1354614"/>
                      <a:pt x="440974" y="1547522"/>
                    </a:cubicBezTo>
                    <a:cubicBezTo>
                      <a:pt x="-382030" y="1955091"/>
                      <a:pt x="190216" y="2298408"/>
                      <a:pt x="238116" y="2690858"/>
                    </a:cubicBezTo>
                    <a:cubicBezTo>
                      <a:pt x="294422" y="3162909"/>
                      <a:pt x="16205" y="3569861"/>
                      <a:pt x="359985" y="3853863"/>
                    </a:cubicBezTo>
                    <a:cubicBezTo>
                      <a:pt x="635965" y="4081944"/>
                      <a:pt x="1362169" y="4746827"/>
                      <a:pt x="1752691" y="47767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505AC8D5-91E7-00DC-F4FB-EAE76062F936}"/>
                  </a:ext>
                </a:extLst>
              </p:cNvPr>
              <p:cNvSpPr/>
              <p:nvPr/>
            </p:nvSpPr>
            <p:spPr>
              <a:xfrm>
                <a:off x="4484173" y="1705758"/>
                <a:ext cx="3036493" cy="4605873"/>
              </a:xfrm>
              <a:custGeom>
                <a:avLst/>
                <a:gdLst>
                  <a:gd name="connsiteX0" fmla="*/ 1734082 w 3036493"/>
                  <a:gd name="connsiteY0" fmla="*/ 4601058 h 4605873"/>
                  <a:gd name="connsiteX1" fmla="*/ 2664764 w 3036493"/>
                  <a:gd name="connsiteY1" fmla="*/ 3753833 h 4605873"/>
                  <a:gd name="connsiteX2" fmla="*/ 2997591 w 3036493"/>
                  <a:gd name="connsiteY2" fmla="*/ 2499272 h 4605873"/>
                  <a:gd name="connsiteX3" fmla="*/ 2504559 w 3036493"/>
                  <a:gd name="connsiteY3" fmla="*/ 1097465 h 4605873"/>
                  <a:gd name="connsiteX4" fmla="*/ 1649930 w 3036493"/>
                  <a:gd name="connsiteY4" fmla="*/ 100 h 4605873"/>
                  <a:gd name="connsiteX5" fmla="*/ 449901 w 3036493"/>
                  <a:gd name="connsiteY5" fmla="*/ 1487524 h 4605873"/>
                  <a:gd name="connsiteX6" fmla="*/ 171221 w 3036493"/>
                  <a:gd name="connsiteY6" fmla="*/ 2663410 h 4605873"/>
                  <a:gd name="connsiteX7" fmla="*/ 311988 w 3036493"/>
                  <a:gd name="connsiteY7" fmla="*/ 3832586 h 4605873"/>
                  <a:gd name="connsiteX8" fmla="*/ 1734159 w 3036493"/>
                  <a:gd name="connsiteY8" fmla="*/ 4601135 h 46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36493" h="4605873">
                    <a:moveTo>
                      <a:pt x="1734082" y="4601058"/>
                    </a:moveTo>
                    <a:cubicBezTo>
                      <a:pt x="2177440" y="4664460"/>
                      <a:pt x="2384618" y="4086814"/>
                      <a:pt x="2664764" y="3753833"/>
                    </a:cubicBezTo>
                    <a:cubicBezTo>
                      <a:pt x="2906420" y="3466283"/>
                      <a:pt x="3128562" y="2867271"/>
                      <a:pt x="2997591" y="2499272"/>
                    </a:cubicBezTo>
                    <a:cubicBezTo>
                      <a:pt x="2840240" y="2056917"/>
                      <a:pt x="2841089" y="1377070"/>
                      <a:pt x="2504559" y="1097465"/>
                    </a:cubicBezTo>
                    <a:cubicBezTo>
                      <a:pt x="2217549" y="859048"/>
                      <a:pt x="2037290" y="-10699"/>
                      <a:pt x="1649930" y="100"/>
                    </a:cubicBezTo>
                    <a:cubicBezTo>
                      <a:pt x="1187597" y="12981"/>
                      <a:pt x="808491" y="1275410"/>
                      <a:pt x="449901" y="1487524"/>
                    </a:cubicBezTo>
                    <a:cubicBezTo>
                      <a:pt x="-320113" y="1942838"/>
                      <a:pt x="120622" y="2268337"/>
                      <a:pt x="171221" y="2663410"/>
                    </a:cubicBezTo>
                    <a:cubicBezTo>
                      <a:pt x="229996" y="3121963"/>
                      <a:pt x="-26007" y="3553212"/>
                      <a:pt x="311988" y="3832586"/>
                    </a:cubicBezTo>
                    <a:cubicBezTo>
                      <a:pt x="597533" y="4068688"/>
                      <a:pt x="1324122" y="4542514"/>
                      <a:pt x="1734159" y="460113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52D746A9-7DB3-D53A-A30B-B75238B8E8F3}"/>
                  </a:ext>
                </a:extLst>
              </p:cNvPr>
              <p:cNvSpPr/>
              <p:nvPr/>
            </p:nvSpPr>
            <p:spPr>
              <a:xfrm>
                <a:off x="4477865" y="1783678"/>
                <a:ext cx="3064583" cy="4435839"/>
              </a:xfrm>
              <a:custGeom>
                <a:avLst/>
                <a:gdLst>
                  <a:gd name="connsiteX0" fmla="*/ 1723421 w 3064583"/>
                  <a:gd name="connsiteY0" fmla="*/ 4425487 h 4435839"/>
                  <a:gd name="connsiteX1" fmla="*/ 2746122 w 3064583"/>
                  <a:gd name="connsiteY1" fmla="*/ 3695890 h 4435839"/>
                  <a:gd name="connsiteX2" fmla="*/ 3018400 w 3064583"/>
                  <a:gd name="connsiteY2" fmla="*/ 2414487 h 4435839"/>
                  <a:gd name="connsiteX3" fmla="*/ 2550822 w 3064583"/>
                  <a:gd name="connsiteY3" fmla="*/ 992240 h 4435839"/>
                  <a:gd name="connsiteX4" fmla="*/ 1587359 w 3064583"/>
                  <a:gd name="connsiteY4" fmla="*/ 315 h 4435839"/>
                  <a:gd name="connsiteX5" fmla="*/ 466700 w 3064583"/>
                  <a:gd name="connsiteY5" fmla="*/ 1427576 h 4435839"/>
                  <a:gd name="connsiteX6" fmla="*/ 112198 w 3064583"/>
                  <a:gd name="connsiteY6" fmla="*/ 2635935 h 4435839"/>
                  <a:gd name="connsiteX7" fmla="*/ 271940 w 3064583"/>
                  <a:gd name="connsiteY7" fmla="*/ 3811281 h 4435839"/>
                  <a:gd name="connsiteX8" fmla="*/ 1723498 w 3064583"/>
                  <a:gd name="connsiteY8" fmla="*/ 4425487 h 4435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64583" h="4435839">
                    <a:moveTo>
                      <a:pt x="1723421" y="4425487"/>
                    </a:moveTo>
                    <a:cubicBezTo>
                      <a:pt x="2146185" y="4513187"/>
                      <a:pt x="2470296" y="4024167"/>
                      <a:pt x="2746122" y="3695890"/>
                    </a:cubicBezTo>
                    <a:cubicBezTo>
                      <a:pt x="2995492" y="3398699"/>
                      <a:pt x="3145592" y="2790508"/>
                      <a:pt x="3018400" y="2414487"/>
                    </a:cubicBezTo>
                    <a:cubicBezTo>
                      <a:pt x="2872465" y="1983084"/>
                      <a:pt x="2881952" y="1267371"/>
                      <a:pt x="2550822" y="992240"/>
                    </a:cubicBezTo>
                    <a:cubicBezTo>
                      <a:pt x="2253785" y="745493"/>
                      <a:pt x="1981275" y="-17734"/>
                      <a:pt x="1587359" y="315"/>
                    </a:cubicBezTo>
                    <a:cubicBezTo>
                      <a:pt x="1138987" y="20832"/>
                      <a:pt x="794205" y="1197181"/>
                      <a:pt x="466700" y="1427576"/>
                    </a:cubicBezTo>
                    <a:cubicBezTo>
                      <a:pt x="-250479" y="1932100"/>
                      <a:pt x="58205" y="2238316"/>
                      <a:pt x="112198" y="2635935"/>
                    </a:cubicBezTo>
                    <a:cubicBezTo>
                      <a:pt x="172593" y="3081144"/>
                      <a:pt x="-60347" y="3536534"/>
                      <a:pt x="271940" y="3811281"/>
                    </a:cubicBezTo>
                    <a:cubicBezTo>
                      <a:pt x="566972" y="4055483"/>
                      <a:pt x="1293253" y="4336245"/>
                      <a:pt x="1723498" y="442548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EE99626-1CAC-6196-C541-B28F63E556DB}"/>
                  </a:ext>
                </a:extLst>
              </p:cNvPr>
              <p:cNvSpPr/>
              <p:nvPr/>
            </p:nvSpPr>
            <p:spPr>
              <a:xfrm>
                <a:off x="4460130" y="1861400"/>
                <a:ext cx="3107969" cy="4268490"/>
              </a:xfrm>
              <a:custGeom>
                <a:avLst/>
                <a:gdLst>
                  <a:gd name="connsiteX0" fmla="*/ 1724263 w 3107969"/>
                  <a:gd name="connsiteY0" fmla="*/ 4250116 h 4268490"/>
                  <a:gd name="connsiteX1" fmla="*/ 2838983 w 3107969"/>
                  <a:gd name="connsiteY1" fmla="*/ 3638145 h 4268490"/>
                  <a:gd name="connsiteX2" fmla="*/ 3050712 w 3107969"/>
                  <a:gd name="connsiteY2" fmla="*/ 2329900 h 4268490"/>
                  <a:gd name="connsiteX3" fmla="*/ 2608666 w 3107969"/>
                  <a:gd name="connsiteY3" fmla="*/ 887212 h 4268490"/>
                  <a:gd name="connsiteX4" fmla="*/ 1536291 w 3107969"/>
                  <a:gd name="connsiteY4" fmla="*/ 728 h 4268490"/>
                  <a:gd name="connsiteX5" fmla="*/ 495001 w 3107969"/>
                  <a:gd name="connsiteY5" fmla="*/ 1367826 h 4268490"/>
                  <a:gd name="connsiteX6" fmla="*/ 64601 w 3107969"/>
                  <a:gd name="connsiteY6" fmla="*/ 2608657 h 4268490"/>
                  <a:gd name="connsiteX7" fmla="*/ 243317 w 3107969"/>
                  <a:gd name="connsiteY7" fmla="*/ 3790251 h 4268490"/>
                  <a:gd name="connsiteX8" fmla="*/ 1724340 w 3107969"/>
                  <a:gd name="connsiteY8" fmla="*/ 4250116 h 4268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07969" h="4268490">
                    <a:moveTo>
                      <a:pt x="1724263" y="4250116"/>
                    </a:moveTo>
                    <a:cubicBezTo>
                      <a:pt x="2126510" y="4359027"/>
                      <a:pt x="2567400" y="3961794"/>
                      <a:pt x="2838983" y="3638145"/>
                    </a:cubicBezTo>
                    <a:cubicBezTo>
                      <a:pt x="3096066" y="3331235"/>
                      <a:pt x="3173893" y="2714020"/>
                      <a:pt x="3050712" y="2329900"/>
                    </a:cubicBezTo>
                    <a:cubicBezTo>
                      <a:pt x="2915808" y="1909528"/>
                      <a:pt x="2934396" y="1157793"/>
                      <a:pt x="2608666" y="887212"/>
                    </a:cubicBezTo>
                    <a:cubicBezTo>
                      <a:pt x="2301601" y="632135"/>
                      <a:pt x="1936918" y="-24880"/>
                      <a:pt x="1536291" y="728"/>
                    </a:cubicBezTo>
                    <a:cubicBezTo>
                      <a:pt x="1101957" y="28496"/>
                      <a:pt x="791576" y="1119844"/>
                      <a:pt x="495001" y="1367826"/>
                    </a:cubicBezTo>
                    <a:cubicBezTo>
                      <a:pt x="-169265" y="1923180"/>
                      <a:pt x="7215" y="2208570"/>
                      <a:pt x="64601" y="2608657"/>
                    </a:cubicBezTo>
                    <a:cubicBezTo>
                      <a:pt x="126539" y="3040445"/>
                      <a:pt x="-83262" y="3520055"/>
                      <a:pt x="243317" y="3790251"/>
                    </a:cubicBezTo>
                    <a:cubicBezTo>
                      <a:pt x="547914" y="4042475"/>
                      <a:pt x="1273500" y="4128092"/>
                      <a:pt x="1724340" y="42501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A435E396-CC5F-E113-DB6C-C8E754D1CF9A}"/>
                  </a:ext>
                </a:extLst>
              </p:cNvPr>
              <p:cNvSpPr/>
              <p:nvPr/>
            </p:nvSpPr>
            <p:spPr>
              <a:xfrm>
                <a:off x="4426209" y="1938811"/>
                <a:ext cx="3173562" cy="4104897"/>
              </a:xfrm>
              <a:custGeom>
                <a:avLst/>
                <a:gdLst>
                  <a:gd name="connsiteX0" fmla="*/ 1741215 w 3173562"/>
                  <a:gd name="connsiteY0" fmla="*/ 4075055 h 4104897"/>
                  <a:gd name="connsiteX1" fmla="*/ 2947955 w 3173562"/>
                  <a:gd name="connsiteY1" fmla="*/ 3580712 h 4104897"/>
                  <a:gd name="connsiteX2" fmla="*/ 3099057 w 3173562"/>
                  <a:gd name="connsiteY2" fmla="*/ 2245625 h 4104897"/>
                  <a:gd name="connsiteX3" fmla="*/ 2682464 w 3173562"/>
                  <a:gd name="connsiteY3" fmla="*/ 782497 h 4104897"/>
                  <a:gd name="connsiteX4" fmla="*/ 1501255 w 3173562"/>
                  <a:gd name="connsiteY4" fmla="*/ 1452 h 4104897"/>
                  <a:gd name="connsiteX5" fmla="*/ 539335 w 3173562"/>
                  <a:gd name="connsiteY5" fmla="*/ 1308387 h 4104897"/>
                  <a:gd name="connsiteX6" fmla="*/ 33114 w 3173562"/>
                  <a:gd name="connsiteY6" fmla="*/ 2581691 h 4104897"/>
                  <a:gd name="connsiteX7" fmla="*/ 230727 w 3173562"/>
                  <a:gd name="connsiteY7" fmla="*/ 3769455 h 4104897"/>
                  <a:gd name="connsiteX8" fmla="*/ 1741215 w 3173562"/>
                  <a:gd name="connsiteY8" fmla="*/ 4074978 h 4104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73562" h="4104897">
                    <a:moveTo>
                      <a:pt x="1741215" y="4075055"/>
                    </a:moveTo>
                    <a:cubicBezTo>
                      <a:pt x="2123407" y="4202555"/>
                      <a:pt x="2680613" y="3899655"/>
                      <a:pt x="2947955" y="3580712"/>
                    </a:cubicBezTo>
                    <a:cubicBezTo>
                      <a:pt x="3212750" y="3264160"/>
                      <a:pt x="3218073" y="2637921"/>
                      <a:pt x="3099057" y="2245625"/>
                    </a:cubicBezTo>
                    <a:cubicBezTo>
                      <a:pt x="2974874" y="1836359"/>
                      <a:pt x="3002796" y="1048604"/>
                      <a:pt x="2682464" y="782497"/>
                    </a:cubicBezTo>
                    <a:cubicBezTo>
                      <a:pt x="2365449" y="519089"/>
                      <a:pt x="1908516" y="-31946"/>
                      <a:pt x="1501255" y="1452"/>
                    </a:cubicBezTo>
                    <a:cubicBezTo>
                      <a:pt x="1080960" y="36008"/>
                      <a:pt x="805288" y="1043668"/>
                      <a:pt x="539335" y="1308387"/>
                    </a:cubicBezTo>
                    <a:cubicBezTo>
                      <a:pt x="-71324" y="1916191"/>
                      <a:pt x="-27821" y="2179059"/>
                      <a:pt x="33114" y="2581691"/>
                    </a:cubicBezTo>
                    <a:cubicBezTo>
                      <a:pt x="96440" y="3000135"/>
                      <a:pt x="-90144" y="3503888"/>
                      <a:pt x="230727" y="3769455"/>
                    </a:cubicBezTo>
                    <a:cubicBezTo>
                      <a:pt x="544811" y="4029701"/>
                      <a:pt x="1270089" y="3917782"/>
                      <a:pt x="1741215" y="40749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26E55B43-1A3A-F7E6-0237-902C4F9874CA}"/>
                  </a:ext>
                </a:extLst>
              </p:cNvPr>
              <p:cNvSpPr/>
              <p:nvPr/>
            </p:nvSpPr>
            <p:spPr>
              <a:xfrm>
                <a:off x="4376099" y="2015664"/>
                <a:ext cx="3263713" cy="3947335"/>
              </a:xfrm>
              <a:custGeom>
                <a:avLst/>
                <a:gdLst>
                  <a:gd name="connsiteX0" fmla="*/ 1774433 w 3263713"/>
                  <a:gd name="connsiteY0" fmla="*/ 3900552 h 3947335"/>
                  <a:gd name="connsiteX1" fmla="*/ 3073192 w 3263713"/>
                  <a:gd name="connsiteY1" fmla="*/ 3523836 h 3947335"/>
                  <a:gd name="connsiteX2" fmla="*/ 3163745 w 3263713"/>
                  <a:gd name="connsiteY2" fmla="*/ 2161907 h 3947335"/>
                  <a:gd name="connsiteX3" fmla="*/ 2772683 w 3263713"/>
                  <a:gd name="connsiteY3" fmla="*/ 678262 h 3947335"/>
                  <a:gd name="connsiteX4" fmla="*/ 1482563 w 3263713"/>
                  <a:gd name="connsiteY4" fmla="*/ 2735 h 3947335"/>
                  <a:gd name="connsiteX5" fmla="*/ 600012 w 3263713"/>
                  <a:gd name="connsiteY5" fmla="*/ 1249583 h 3947335"/>
                  <a:gd name="connsiteX6" fmla="*/ 17970 w 3263713"/>
                  <a:gd name="connsiteY6" fmla="*/ 2555437 h 3947335"/>
                  <a:gd name="connsiteX7" fmla="*/ 234558 w 3263713"/>
                  <a:gd name="connsiteY7" fmla="*/ 3749449 h 3947335"/>
                  <a:gd name="connsiteX8" fmla="*/ 1774433 w 3263713"/>
                  <a:gd name="connsiteY8" fmla="*/ 3900629 h 394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3713" h="3947335">
                    <a:moveTo>
                      <a:pt x="1774433" y="3900552"/>
                    </a:moveTo>
                    <a:cubicBezTo>
                      <a:pt x="2137188" y="4044635"/>
                      <a:pt x="2810169" y="3838151"/>
                      <a:pt x="3073192" y="3523836"/>
                    </a:cubicBezTo>
                    <a:cubicBezTo>
                      <a:pt x="3345701" y="3197643"/>
                      <a:pt x="3278210" y="2562533"/>
                      <a:pt x="3163745" y="2161907"/>
                    </a:cubicBezTo>
                    <a:cubicBezTo>
                      <a:pt x="3049975" y="1763902"/>
                      <a:pt x="3087538" y="939895"/>
                      <a:pt x="2772683" y="678262"/>
                    </a:cubicBezTo>
                    <a:cubicBezTo>
                      <a:pt x="2445641" y="406524"/>
                      <a:pt x="1896534" y="-38994"/>
                      <a:pt x="1482563" y="2735"/>
                    </a:cubicBezTo>
                    <a:cubicBezTo>
                      <a:pt x="1068593" y="44463"/>
                      <a:pt x="835884" y="968666"/>
                      <a:pt x="600012" y="1249583"/>
                    </a:cubicBezTo>
                    <a:cubicBezTo>
                      <a:pt x="44118" y="1911380"/>
                      <a:pt x="-46590" y="2150260"/>
                      <a:pt x="17970" y="2555437"/>
                    </a:cubicBezTo>
                    <a:cubicBezTo>
                      <a:pt x="82530" y="2960460"/>
                      <a:pt x="-80606" y="3488355"/>
                      <a:pt x="234558" y="3749449"/>
                    </a:cubicBezTo>
                    <a:cubicBezTo>
                      <a:pt x="558206" y="4017716"/>
                      <a:pt x="1283870" y="3705792"/>
                      <a:pt x="1774433" y="39006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601340BA-CA6D-6D04-C032-6AA121DA1670}"/>
                  </a:ext>
                </a:extLst>
              </p:cNvPr>
              <p:cNvSpPr/>
              <p:nvPr/>
            </p:nvSpPr>
            <p:spPr>
              <a:xfrm>
                <a:off x="4316854" y="2091550"/>
                <a:ext cx="3371549" cy="3814147"/>
              </a:xfrm>
              <a:custGeom>
                <a:avLst/>
                <a:gdLst>
                  <a:gd name="connsiteX0" fmla="*/ 1816709 w 3371549"/>
                  <a:gd name="connsiteY0" fmla="*/ 3727016 h 3814147"/>
                  <a:gd name="connsiteX1" fmla="*/ 3207564 w 3371549"/>
                  <a:gd name="connsiteY1" fmla="*/ 3467928 h 3814147"/>
                  <a:gd name="connsiteX2" fmla="*/ 3237568 w 3371549"/>
                  <a:gd name="connsiteY2" fmla="*/ 2079156 h 3814147"/>
                  <a:gd name="connsiteX3" fmla="*/ 2871960 w 3371549"/>
                  <a:gd name="connsiteY3" fmla="*/ 575071 h 3814147"/>
                  <a:gd name="connsiteX4" fmla="*/ 1473006 w 3371549"/>
                  <a:gd name="connsiteY4" fmla="*/ 4984 h 3814147"/>
                  <a:gd name="connsiteX5" fmla="*/ 669824 w 3371549"/>
                  <a:gd name="connsiteY5" fmla="*/ 1191668 h 3814147"/>
                  <a:gd name="connsiteX6" fmla="*/ 11883 w 3371549"/>
                  <a:gd name="connsiteY6" fmla="*/ 2529996 h 3814147"/>
                  <a:gd name="connsiteX7" fmla="*/ 247369 w 3371549"/>
                  <a:gd name="connsiteY7" fmla="*/ 3730178 h 3814147"/>
                  <a:gd name="connsiteX8" fmla="*/ 1816709 w 3371549"/>
                  <a:gd name="connsiteY8" fmla="*/ 3727016 h 3814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1549" h="3814147">
                    <a:moveTo>
                      <a:pt x="1816709" y="3727016"/>
                    </a:moveTo>
                    <a:cubicBezTo>
                      <a:pt x="2160874" y="3886063"/>
                      <a:pt x="2948707" y="3777615"/>
                      <a:pt x="3207564" y="3467928"/>
                    </a:cubicBezTo>
                    <a:cubicBezTo>
                      <a:pt x="3487786" y="3132092"/>
                      <a:pt x="3347173" y="2488190"/>
                      <a:pt x="3237568" y="2079156"/>
                    </a:cubicBezTo>
                    <a:cubicBezTo>
                      <a:pt x="3133902" y="1692567"/>
                      <a:pt x="3181416" y="832231"/>
                      <a:pt x="2871960" y="575071"/>
                    </a:cubicBezTo>
                    <a:cubicBezTo>
                      <a:pt x="2534890" y="295002"/>
                      <a:pt x="1893533" y="-45307"/>
                      <a:pt x="1473006" y="4984"/>
                    </a:cubicBezTo>
                    <a:cubicBezTo>
                      <a:pt x="1080710" y="51880"/>
                      <a:pt x="876308" y="895248"/>
                      <a:pt x="669824" y="1191668"/>
                    </a:cubicBezTo>
                    <a:cubicBezTo>
                      <a:pt x="170313" y="1908693"/>
                      <a:pt x="-56379" y="2122427"/>
                      <a:pt x="11883" y="2529996"/>
                    </a:cubicBezTo>
                    <a:cubicBezTo>
                      <a:pt x="80145" y="2937564"/>
                      <a:pt x="-62010" y="3473713"/>
                      <a:pt x="247369" y="3730178"/>
                    </a:cubicBezTo>
                    <a:cubicBezTo>
                      <a:pt x="580505" y="4006544"/>
                      <a:pt x="1307942" y="3491916"/>
                      <a:pt x="1816709" y="37270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3E86BDA3-AF6D-A3A1-D125-485D7A520EF3}"/>
                  </a:ext>
                </a:extLst>
              </p:cNvPr>
              <p:cNvSpPr/>
              <p:nvPr/>
            </p:nvSpPr>
            <p:spPr>
              <a:xfrm>
                <a:off x="4254170" y="2165535"/>
                <a:ext cx="3489733" cy="3780696"/>
              </a:xfrm>
              <a:custGeom>
                <a:avLst/>
                <a:gdLst>
                  <a:gd name="connsiteX0" fmla="*/ 1862424 w 3489733"/>
                  <a:gd name="connsiteY0" fmla="*/ 3555381 h 3780696"/>
                  <a:gd name="connsiteX1" fmla="*/ 3345298 w 3489733"/>
                  <a:gd name="connsiteY1" fmla="*/ 3413920 h 3780696"/>
                  <a:gd name="connsiteX2" fmla="*/ 3314677 w 3489733"/>
                  <a:gd name="connsiteY2" fmla="*/ 1998383 h 3780696"/>
                  <a:gd name="connsiteX3" fmla="*/ 2974599 w 3489733"/>
                  <a:gd name="connsiteY3" fmla="*/ 473858 h 3780696"/>
                  <a:gd name="connsiteX4" fmla="*/ 1466734 w 3489733"/>
                  <a:gd name="connsiteY4" fmla="*/ 9211 h 3780696"/>
                  <a:gd name="connsiteX5" fmla="*/ 742922 w 3489733"/>
                  <a:gd name="connsiteY5" fmla="*/ 1135733 h 3780696"/>
                  <a:gd name="connsiteX6" fmla="*/ 9159 w 3489733"/>
                  <a:gd name="connsiteY6" fmla="*/ 2506532 h 3780696"/>
                  <a:gd name="connsiteX7" fmla="*/ 263620 w 3489733"/>
                  <a:gd name="connsiteY7" fmla="*/ 3712886 h 3780696"/>
                  <a:gd name="connsiteX8" fmla="*/ 1862424 w 3489733"/>
                  <a:gd name="connsiteY8" fmla="*/ 3555381 h 3780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9733" h="3780696">
                    <a:moveTo>
                      <a:pt x="1862424" y="3555381"/>
                    </a:moveTo>
                    <a:cubicBezTo>
                      <a:pt x="2188927" y="3728158"/>
                      <a:pt x="3090761" y="3718902"/>
                      <a:pt x="3345298" y="3413920"/>
                    </a:cubicBezTo>
                    <a:cubicBezTo>
                      <a:pt x="3633311" y="3068443"/>
                      <a:pt x="3419114" y="2415825"/>
                      <a:pt x="3314677" y="1998383"/>
                    </a:cubicBezTo>
                    <a:cubicBezTo>
                      <a:pt x="3220807" y="1623210"/>
                      <a:pt x="3278656" y="726467"/>
                      <a:pt x="2974599" y="473858"/>
                    </a:cubicBezTo>
                    <a:cubicBezTo>
                      <a:pt x="2627580" y="185459"/>
                      <a:pt x="1893894" y="-50104"/>
                      <a:pt x="1466734" y="9211"/>
                    </a:cubicBezTo>
                    <a:cubicBezTo>
                      <a:pt x="1088321" y="61816"/>
                      <a:pt x="920789" y="824040"/>
                      <a:pt x="742922" y="1135733"/>
                    </a:cubicBezTo>
                    <a:cubicBezTo>
                      <a:pt x="301800" y="1908755"/>
                      <a:pt x="-63037" y="2096496"/>
                      <a:pt x="9159" y="2506532"/>
                    </a:cubicBezTo>
                    <a:cubicBezTo>
                      <a:pt x="75802" y="2884945"/>
                      <a:pt x="-40051" y="3461048"/>
                      <a:pt x="263620" y="3712886"/>
                    </a:cubicBezTo>
                    <a:cubicBezTo>
                      <a:pt x="606320" y="3997273"/>
                      <a:pt x="1337228" y="3277473"/>
                      <a:pt x="1862424" y="355538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3C4575BC-B3F1-2D4B-ED4F-670C1F567D90}"/>
                  </a:ext>
                </a:extLst>
              </p:cNvPr>
              <p:cNvSpPr/>
              <p:nvPr/>
            </p:nvSpPr>
            <p:spPr>
              <a:xfrm>
                <a:off x="4190357" y="2234963"/>
                <a:ext cx="3614123" cy="3758010"/>
              </a:xfrm>
              <a:custGeom>
                <a:avLst/>
                <a:gdLst>
                  <a:gd name="connsiteX0" fmla="*/ 1909345 w 3614123"/>
                  <a:gd name="connsiteY0" fmla="*/ 3388303 h 3758010"/>
                  <a:gd name="connsiteX1" fmla="*/ 3484238 w 3614123"/>
                  <a:gd name="connsiteY1" fmla="*/ 3364469 h 3758010"/>
                  <a:gd name="connsiteX2" fmla="*/ 3393067 w 3614123"/>
                  <a:gd name="connsiteY2" fmla="*/ 1922090 h 3758010"/>
                  <a:gd name="connsiteX3" fmla="*/ 3078443 w 3614123"/>
                  <a:gd name="connsiteY3" fmla="*/ 377125 h 3758010"/>
                  <a:gd name="connsiteX4" fmla="*/ 1461744 w 3614123"/>
                  <a:gd name="connsiteY4" fmla="*/ 17919 h 3758010"/>
                  <a:gd name="connsiteX5" fmla="*/ 817301 w 3614123"/>
                  <a:gd name="connsiteY5" fmla="*/ 1084276 h 3758010"/>
                  <a:gd name="connsiteX6" fmla="*/ 7718 w 3614123"/>
                  <a:gd name="connsiteY6" fmla="*/ 2487549 h 3758010"/>
                  <a:gd name="connsiteX7" fmla="*/ 281153 w 3614123"/>
                  <a:gd name="connsiteY7" fmla="*/ 3700150 h 3758010"/>
                  <a:gd name="connsiteX8" fmla="*/ 1909345 w 3614123"/>
                  <a:gd name="connsiteY8" fmla="*/ 3388303 h 3758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14123" h="3758010">
                    <a:moveTo>
                      <a:pt x="1909345" y="3388303"/>
                    </a:moveTo>
                    <a:cubicBezTo>
                      <a:pt x="2219418" y="3574116"/>
                      <a:pt x="3233943" y="3664824"/>
                      <a:pt x="3484238" y="3364469"/>
                    </a:cubicBezTo>
                    <a:cubicBezTo>
                      <a:pt x="3779964" y="3009351"/>
                      <a:pt x="3491874" y="2348094"/>
                      <a:pt x="3393067" y="1922090"/>
                    </a:cubicBezTo>
                    <a:cubicBezTo>
                      <a:pt x="3308684" y="1558333"/>
                      <a:pt x="3377101" y="625260"/>
                      <a:pt x="3078443" y="377125"/>
                    </a:cubicBezTo>
                    <a:cubicBezTo>
                      <a:pt x="2721397" y="80473"/>
                      <a:pt x="1895307" y="-50884"/>
                      <a:pt x="1461744" y="17919"/>
                    </a:cubicBezTo>
                    <a:cubicBezTo>
                      <a:pt x="1097138" y="75845"/>
                      <a:pt x="967324" y="757388"/>
                      <a:pt x="817301" y="1084276"/>
                    </a:cubicBezTo>
                    <a:cubicBezTo>
                      <a:pt x="436652" y="1913683"/>
                      <a:pt x="-68566" y="2075121"/>
                      <a:pt x="7718" y="2487549"/>
                    </a:cubicBezTo>
                    <a:cubicBezTo>
                      <a:pt x="75286" y="2852695"/>
                      <a:pt x="-16810" y="3452863"/>
                      <a:pt x="281153" y="3700150"/>
                    </a:cubicBezTo>
                    <a:cubicBezTo>
                      <a:pt x="633340" y="3992560"/>
                      <a:pt x="1370034" y="3065041"/>
                      <a:pt x="1909345" y="3388303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70519C49-9774-33BE-9B1E-F27FFAB3832C}"/>
                  </a:ext>
                </a:extLst>
              </p:cNvPr>
              <p:cNvSpPr/>
              <p:nvPr/>
            </p:nvSpPr>
            <p:spPr>
              <a:xfrm>
                <a:off x="4125770" y="2293347"/>
                <a:ext cx="3742715" cy="3749606"/>
              </a:xfrm>
              <a:custGeom>
                <a:avLst/>
                <a:gdLst>
                  <a:gd name="connsiteX0" fmla="*/ 1956963 w 3742715"/>
                  <a:gd name="connsiteY0" fmla="*/ 3232269 h 3749606"/>
                  <a:gd name="connsiteX1" fmla="*/ 3623876 w 3742715"/>
                  <a:gd name="connsiteY1" fmla="*/ 3326063 h 3749606"/>
                  <a:gd name="connsiteX2" fmla="*/ 3472155 w 3742715"/>
                  <a:gd name="connsiteY2" fmla="*/ 1856842 h 3749606"/>
                  <a:gd name="connsiteX3" fmla="*/ 3183063 w 3742715"/>
                  <a:gd name="connsiteY3" fmla="*/ 291359 h 3749606"/>
                  <a:gd name="connsiteX4" fmla="*/ 1457529 w 3742715"/>
                  <a:gd name="connsiteY4" fmla="*/ 37593 h 3749606"/>
                  <a:gd name="connsiteX5" fmla="*/ 892456 w 3742715"/>
                  <a:gd name="connsiteY5" fmla="*/ 1043864 h 3749606"/>
                  <a:gd name="connsiteX6" fmla="*/ 6974 w 3742715"/>
                  <a:gd name="connsiteY6" fmla="*/ 2479687 h 3749606"/>
                  <a:gd name="connsiteX7" fmla="*/ 299306 w 3742715"/>
                  <a:gd name="connsiteY7" fmla="*/ 3698459 h 3749606"/>
                  <a:gd name="connsiteX8" fmla="*/ 1956963 w 3742715"/>
                  <a:gd name="connsiteY8" fmla="*/ 3232269 h 3749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42715" h="3749606">
                    <a:moveTo>
                      <a:pt x="1956963" y="3232269"/>
                    </a:moveTo>
                    <a:cubicBezTo>
                      <a:pt x="2251687" y="3430655"/>
                      <a:pt x="3377822" y="3621712"/>
                      <a:pt x="3623876" y="3326063"/>
                    </a:cubicBezTo>
                    <a:cubicBezTo>
                      <a:pt x="3927315" y="2961226"/>
                      <a:pt x="3564869" y="2291484"/>
                      <a:pt x="3472155" y="1856842"/>
                    </a:cubicBezTo>
                    <a:cubicBezTo>
                      <a:pt x="3397028" y="1504577"/>
                      <a:pt x="3476244" y="535021"/>
                      <a:pt x="3183063" y="291359"/>
                    </a:cubicBezTo>
                    <a:cubicBezTo>
                      <a:pt x="2815989" y="-13623"/>
                      <a:pt x="1897339" y="-41237"/>
                      <a:pt x="1457529" y="37593"/>
                    </a:cubicBezTo>
                    <a:cubicBezTo>
                      <a:pt x="1106653" y="100533"/>
                      <a:pt x="1015405" y="701550"/>
                      <a:pt x="892456" y="1043864"/>
                    </a:cubicBezTo>
                    <a:cubicBezTo>
                      <a:pt x="574361" y="1929346"/>
                      <a:pt x="-74247" y="2064945"/>
                      <a:pt x="6974" y="2479687"/>
                    </a:cubicBezTo>
                    <a:cubicBezTo>
                      <a:pt x="74696" y="2831643"/>
                      <a:pt x="7128" y="3455800"/>
                      <a:pt x="299306" y="3698459"/>
                    </a:cubicBezTo>
                    <a:cubicBezTo>
                      <a:pt x="661058" y="3998967"/>
                      <a:pt x="1405928" y="2861262"/>
                      <a:pt x="1956963" y="323226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FB5E6D05-F00B-D595-440A-5BCF2C8257C8}"/>
                  </a:ext>
                </a:extLst>
              </p:cNvPr>
              <p:cNvSpPr/>
              <p:nvPr/>
            </p:nvSpPr>
            <p:spPr>
              <a:xfrm>
                <a:off x="4061078" y="2330966"/>
                <a:ext cx="3873961" cy="3763840"/>
              </a:xfrm>
              <a:custGeom>
                <a:avLst/>
                <a:gdLst>
                  <a:gd name="connsiteX0" fmla="*/ 3763695 w 3873961"/>
                  <a:gd name="connsiteY0" fmla="*/ 3308421 h 3763840"/>
                  <a:gd name="connsiteX1" fmla="*/ 3551425 w 3873961"/>
                  <a:gd name="connsiteY1" fmla="*/ 1812358 h 3763840"/>
                  <a:gd name="connsiteX2" fmla="*/ 3287786 w 3873961"/>
                  <a:gd name="connsiteY2" fmla="*/ 226435 h 3763840"/>
                  <a:gd name="connsiteX3" fmla="*/ 1453342 w 3873961"/>
                  <a:gd name="connsiteY3" fmla="*/ 78186 h 3763840"/>
                  <a:gd name="connsiteX4" fmla="*/ 967638 w 3873961"/>
                  <a:gd name="connsiteY4" fmla="*/ 1024294 h 3763840"/>
                  <a:gd name="connsiteX5" fmla="*/ 6334 w 3873961"/>
                  <a:gd name="connsiteY5" fmla="*/ 2492590 h 3763840"/>
                  <a:gd name="connsiteX6" fmla="*/ 317642 w 3873961"/>
                  <a:gd name="connsiteY6" fmla="*/ 3717532 h 3763840"/>
                  <a:gd name="connsiteX7" fmla="*/ 2004763 w 3873961"/>
                  <a:gd name="connsiteY7" fmla="*/ 3096923 h 3763840"/>
                  <a:gd name="connsiteX8" fmla="*/ 3763772 w 3873961"/>
                  <a:gd name="connsiteY8" fmla="*/ 3308421 h 3763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73961" h="3763840">
                    <a:moveTo>
                      <a:pt x="3763695" y="3308421"/>
                    </a:moveTo>
                    <a:cubicBezTo>
                      <a:pt x="4074847" y="2933942"/>
                      <a:pt x="3637583" y="2255716"/>
                      <a:pt x="3551425" y="1812358"/>
                    </a:cubicBezTo>
                    <a:cubicBezTo>
                      <a:pt x="3485169" y="1471586"/>
                      <a:pt x="3575568" y="465623"/>
                      <a:pt x="3287786" y="226435"/>
                    </a:cubicBezTo>
                    <a:cubicBezTo>
                      <a:pt x="2910685" y="-86878"/>
                      <a:pt x="1899323" y="-11288"/>
                      <a:pt x="1453342" y="78186"/>
                    </a:cubicBezTo>
                    <a:cubicBezTo>
                      <a:pt x="1116041" y="145831"/>
                      <a:pt x="1064131" y="666245"/>
                      <a:pt x="967638" y="1024294"/>
                    </a:cubicBezTo>
                    <a:cubicBezTo>
                      <a:pt x="714026" y="1965311"/>
                      <a:pt x="-78589" y="2075380"/>
                      <a:pt x="6334" y="2492590"/>
                    </a:cubicBezTo>
                    <a:cubicBezTo>
                      <a:pt x="75291" y="2831202"/>
                      <a:pt x="31094" y="3479501"/>
                      <a:pt x="317642" y="3717532"/>
                    </a:cubicBezTo>
                    <a:cubicBezTo>
                      <a:pt x="688958" y="4026062"/>
                      <a:pt x="1444780" y="2676242"/>
                      <a:pt x="2004763" y="3096923"/>
                    </a:cubicBezTo>
                    <a:cubicBezTo>
                      <a:pt x="2285294" y="3307727"/>
                      <a:pt x="3521961" y="3599365"/>
                      <a:pt x="3763772" y="330842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41E275A7-8359-8371-6014-25EB49404A3C}"/>
              </a:ext>
            </a:extLst>
          </p:cNvPr>
          <p:cNvSpPr txBox="1">
            <a:spLocks/>
          </p:cNvSpPr>
          <p:nvPr/>
        </p:nvSpPr>
        <p:spPr>
          <a:xfrm>
            <a:off x="811100" y="0"/>
            <a:ext cx="11018520" cy="86177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900" b="1" i="1" dirty="0">
                <a:solidFill>
                  <a:srgbClr val="8661C5"/>
                </a:solidFill>
              </a:rPr>
              <a:t>What are we going to discus today ? </a:t>
            </a:r>
            <a:endParaRPr lang="en-US" sz="2000" b="1" i="1" dirty="0">
              <a:latin typeface="+mn-lt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4808814C-68FC-DB5C-213B-E7D8D7DD939E}"/>
              </a:ext>
            </a:extLst>
          </p:cNvPr>
          <p:cNvSpPr txBox="1"/>
          <p:nvPr/>
        </p:nvSpPr>
        <p:spPr>
          <a:xfrm>
            <a:off x="3169920" y="2296160"/>
            <a:ext cx="6106160" cy="33855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200" indent="-457200" algn="l">
              <a:buAutoNum type="arabicPeriod"/>
            </a:pPr>
            <a:r>
              <a:rPr lang="en-US" sz="2000" b="1" dirty="0"/>
              <a:t>Why are we moving into RAG?</a:t>
            </a:r>
          </a:p>
          <a:p>
            <a:pPr marL="914400" lvl="1" indent="-457200">
              <a:buFont typeface="+mj-lt"/>
              <a:buAutoNum type="alphaLcParenR"/>
            </a:pPr>
            <a:r>
              <a:rPr lang="en-US" sz="2000" dirty="0"/>
              <a:t>RAG = retrieve + generate</a:t>
            </a:r>
          </a:p>
          <a:p>
            <a:pPr marL="914400" lvl="1" indent="-457200">
              <a:buFont typeface="+mj-lt"/>
              <a:buAutoNum type="alphaLcParenR"/>
            </a:pPr>
            <a:r>
              <a:rPr lang="en-US" sz="2000" dirty="0"/>
              <a:t>Agentic RAG = think + plan + retrieve + generate + improve</a:t>
            </a:r>
          </a:p>
          <a:p>
            <a:pPr marL="914400" lvl="1" indent="-457200">
              <a:buFont typeface="+mj-lt"/>
              <a:buAutoNum type="alphaLcParenR"/>
            </a:pPr>
            <a:endParaRPr lang="en-US" sz="2000" dirty="0"/>
          </a:p>
          <a:p>
            <a:pPr marL="457200" indent="-457200">
              <a:buFont typeface="+mj-lt"/>
              <a:buAutoNum type="arabicPeriod"/>
            </a:pPr>
            <a:r>
              <a:rPr lang="en-US" sz="2000" b="1" dirty="0"/>
              <a:t>How did I Infused upcoming Azure AI Agent Service into a Use Case: An Agentic RAG Scenario for R&amp;D</a:t>
            </a:r>
          </a:p>
          <a:p>
            <a:pPr marL="914400" lvl="1" indent="-457200">
              <a:buFont typeface="+mj-lt"/>
              <a:buAutoNum type="alphaLcParenR"/>
            </a:pPr>
            <a:r>
              <a:rPr lang="en-US" sz="2000" dirty="0"/>
              <a:t>SharePoint Tool </a:t>
            </a:r>
          </a:p>
          <a:p>
            <a:pPr marL="914400" lvl="1" indent="-457200">
              <a:buFont typeface="+mj-lt"/>
              <a:buAutoNum type="alphaLcParenR"/>
            </a:pPr>
            <a:r>
              <a:rPr lang="en-US" sz="2000" dirty="0"/>
              <a:t>Fabric Tool </a:t>
            </a:r>
            <a:r>
              <a:rPr lang="en-US" sz="2000"/>
              <a:t>(Data Agent) </a:t>
            </a:r>
            <a:endParaRPr lang="en-US" sz="2000" dirty="0"/>
          </a:p>
          <a:p>
            <a:pPr marL="914400" lvl="1" indent="-457200">
              <a:buFont typeface="+mj-lt"/>
              <a:buAutoNum type="arabicPeriod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02893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" name="Group 66">
            <a:extLst>
              <a:ext uri="{FF2B5EF4-FFF2-40B4-BE49-F238E27FC236}">
                <a16:creationId xmlns:a16="http://schemas.microsoft.com/office/drawing/2014/main" id="{C36404CB-791B-2A14-645C-0DE4B1B755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6981742">
            <a:off x="-5667041" y="-2680355"/>
            <a:ext cx="8334992" cy="7408967"/>
            <a:chOff x="-1641318" y="-299489"/>
            <a:chExt cx="8683276" cy="7718554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3AF88E90-FCD6-3A25-7025-20947C8FF13C}"/>
                </a:ext>
              </a:extLst>
            </p:cNvPr>
            <p:cNvGrpSpPr/>
            <p:nvPr/>
          </p:nvGrpSpPr>
          <p:grpSpPr>
            <a:xfrm rot="13963223">
              <a:off x="-1235110" y="-252874"/>
              <a:ext cx="7671937" cy="7671942"/>
              <a:chOff x="-13073550" y="260470"/>
              <a:chExt cx="10868115" cy="10868116"/>
            </a:xfrm>
            <a:solidFill>
              <a:schemeClr val="bg1">
                <a:lumMod val="85000"/>
              </a:schemeClr>
            </a:solidFill>
          </p:grpSpPr>
          <p:grpSp>
            <p:nvGrpSpPr>
              <p:cNvPr id="121" name="Group 120">
                <a:extLst>
                  <a:ext uri="{FF2B5EF4-FFF2-40B4-BE49-F238E27FC236}">
                    <a16:creationId xmlns:a16="http://schemas.microsoft.com/office/drawing/2014/main" id="{024B4A38-1462-A812-E99B-A0F5932A456D}"/>
                  </a:ext>
                </a:extLst>
              </p:cNvPr>
              <p:cNvGrpSpPr/>
              <p:nvPr/>
            </p:nvGrpSpPr>
            <p:grpSpPr>
              <a:xfrm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28" name="Graphic 127">
                  <a:extLst>
                    <a:ext uri="{FF2B5EF4-FFF2-40B4-BE49-F238E27FC236}">
                      <a16:creationId xmlns:a16="http://schemas.microsoft.com/office/drawing/2014/main" id="{76128919-4AC6-306C-2E5B-906233D441A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29" name="Graphic 128">
                  <a:extLst>
                    <a:ext uri="{FF2B5EF4-FFF2-40B4-BE49-F238E27FC236}">
                      <a16:creationId xmlns:a16="http://schemas.microsoft.com/office/drawing/2014/main" id="{F269FD3F-51E5-B872-060F-EFBD3F8D3BC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id="{C146B071-A3EF-DC77-5060-B54211C1B446}"/>
                  </a:ext>
                </a:extLst>
              </p:cNvPr>
              <p:cNvGrpSpPr/>
              <p:nvPr/>
            </p:nvGrpSpPr>
            <p:grpSpPr>
              <a:xfrm rot="18000000"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26" name="Graphic 125">
                  <a:extLst>
                    <a:ext uri="{FF2B5EF4-FFF2-40B4-BE49-F238E27FC236}">
                      <a16:creationId xmlns:a16="http://schemas.microsoft.com/office/drawing/2014/main" id="{90E5E8D3-B3A2-A016-EC3C-1BAAE483B30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27" name="Graphic 126">
                  <a:extLst>
                    <a:ext uri="{FF2B5EF4-FFF2-40B4-BE49-F238E27FC236}">
                      <a16:creationId xmlns:a16="http://schemas.microsoft.com/office/drawing/2014/main" id="{8C4E0A92-6563-E186-8E28-F93EB4168DE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123" name="Group 122">
                <a:extLst>
                  <a:ext uri="{FF2B5EF4-FFF2-40B4-BE49-F238E27FC236}">
                    <a16:creationId xmlns:a16="http://schemas.microsoft.com/office/drawing/2014/main" id="{92CC583A-8E63-8AD3-DB0B-4B7652A3A46B}"/>
                  </a:ext>
                </a:extLst>
              </p:cNvPr>
              <p:cNvGrpSpPr/>
              <p:nvPr/>
            </p:nvGrpSpPr>
            <p:grpSpPr>
              <a:xfrm rot="3600000">
                <a:off x="-13073550" y="3398291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24" name="Graphic 123">
                  <a:extLst>
                    <a:ext uri="{FF2B5EF4-FFF2-40B4-BE49-F238E27FC236}">
                      <a16:creationId xmlns:a16="http://schemas.microsoft.com/office/drawing/2014/main" id="{9F67E01D-702E-1DE7-0112-0C41B69CD12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25" name="Graphic 124">
                  <a:extLst>
                    <a:ext uri="{FF2B5EF4-FFF2-40B4-BE49-F238E27FC236}">
                      <a16:creationId xmlns:a16="http://schemas.microsoft.com/office/drawing/2014/main" id="{A86726C0-4E8E-6304-DEA8-453317172CB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69" name="Graphic 5">
              <a:extLst>
                <a:ext uri="{FF2B5EF4-FFF2-40B4-BE49-F238E27FC236}">
                  <a16:creationId xmlns:a16="http://schemas.microsoft.com/office/drawing/2014/main" id="{6C9CB487-5CDA-7A8F-9795-A2A3FF518FEA}"/>
                </a:ext>
              </a:extLst>
            </p:cNvPr>
            <p:cNvGrpSpPr/>
            <p:nvPr/>
          </p:nvGrpSpPr>
          <p:grpSpPr>
            <a:xfrm rot="15746055">
              <a:off x="-177888" y="1123433"/>
              <a:ext cx="5330696" cy="5499097"/>
              <a:chOff x="4071312" y="2489702"/>
              <a:chExt cx="3527293" cy="3638722"/>
            </a:xfrm>
            <a:noFill/>
          </p:grpSpPr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A9FF94A9-6F3F-1E06-CCEE-FD32C1583FA2}"/>
                  </a:ext>
                </a:extLst>
              </p:cNvPr>
              <p:cNvSpPr/>
              <p:nvPr/>
            </p:nvSpPr>
            <p:spPr>
              <a:xfrm>
                <a:off x="4071312" y="2489702"/>
                <a:ext cx="3259151" cy="3638722"/>
              </a:xfrm>
              <a:custGeom>
                <a:avLst/>
                <a:gdLst>
                  <a:gd name="connsiteX0" fmla="*/ 3079707 w 3259151"/>
                  <a:gd name="connsiteY0" fmla="*/ 3021953 h 3638722"/>
                  <a:gd name="connsiteX1" fmla="*/ 3132080 w 3259151"/>
                  <a:gd name="connsiteY1" fmla="*/ 1787369 h 3638722"/>
                  <a:gd name="connsiteX2" fmla="*/ 3107243 w 3259151"/>
                  <a:gd name="connsiteY2" fmla="*/ 829383 h 3638722"/>
                  <a:gd name="connsiteX3" fmla="*/ 1658848 w 3259151"/>
                  <a:gd name="connsiteY3" fmla="*/ 4990 h 3638722"/>
                  <a:gd name="connsiteX4" fmla="*/ 849418 w 3259151"/>
                  <a:gd name="connsiteY4" fmla="*/ 1005939 h 3638722"/>
                  <a:gd name="connsiteX5" fmla="*/ 4585 w 3259151"/>
                  <a:gd name="connsiteY5" fmla="*/ 2043526 h 3638722"/>
                  <a:gd name="connsiteX6" fmla="*/ 820725 w 3259151"/>
                  <a:gd name="connsiteY6" fmla="*/ 2918441 h 3638722"/>
                  <a:gd name="connsiteX7" fmla="*/ 2033249 w 3259151"/>
                  <a:gd name="connsiteY7" fmla="*/ 3633846 h 3638722"/>
                  <a:gd name="connsiteX8" fmla="*/ 3079785 w 3259151"/>
                  <a:gd name="connsiteY8" fmla="*/ 3022030 h 3638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59151" h="3638722">
                    <a:moveTo>
                      <a:pt x="3079707" y="3021953"/>
                    </a:moveTo>
                    <a:cubicBezTo>
                      <a:pt x="3412226" y="2666372"/>
                      <a:pt x="3192167" y="2234970"/>
                      <a:pt x="3132080" y="1787369"/>
                    </a:cubicBezTo>
                    <a:cubicBezTo>
                      <a:pt x="3085955" y="1443358"/>
                      <a:pt x="3380525" y="1084923"/>
                      <a:pt x="3107243" y="829383"/>
                    </a:cubicBezTo>
                    <a:cubicBezTo>
                      <a:pt x="2749194" y="494473"/>
                      <a:pt x="2109225" y="-58259"/>
                      <a:pt x="1658848" y="4990"/>
                    </a:cubicBezTo>
                    <a:cubicBezTo>
                      <a:pt x="1318153" y="52812"/>
                      <a:pt x="1102645" y="735127"/>
                      <a:pt x="849418" y="1005939"/>
                    </a:cubicBezTo>
                    <a:cubicBezTo>
                      <a:pt x="515743" y="1362755"/>
                      <a:pt x="-56967" y="1594538"/>
                      <a:pt x="4585" y="2043526"/>
                    </a:cubicBezTo>
                    <a:cubicBezTo>
                      <a:pt x="51559" y="2385918"/>
                      <a:pt x="548678" y="2663981"/>
                      <a:pt x="820725" y="2918441"/>
                    </a:cubicBezTo>
                    <a:cubicBezTo>
                      <a:pt x="1173298" y="3248183"/>
                      <a:pt x="1589043" y="3690075"/>
                      <a:pt x="2033249" y="3633846"/>
                    </a:cubicBezTo>
                    <a:cubicBezTo>
                      <a:pt x="2381349" y="3589726"/>
                      <a:pt x="2821390" y="3298397"/>
                      <a:pt x="3079785" y="302203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8AF38560-A53A-C16B-81E6-8EEDF4D1A0D9}"/>
                  </a:ext>
                </a:extLst>
              </p:cNvPr>
              <p:cNvSpPr/>
              <p:nvPr/>
            </p:nvSpPr>
            <p:spPr>
              <a:xfrm>
                <a:off x="4109618" y="2534620"/>
                <a:ext cx="3220782" cy="3579817"/>
              </a:xfrm>
              <a:custGeom>
                <a:avLst/>
                <a:gdLst>
                  <a:gd name="connsiteX0" fmla="*/ 791058 w 3220782"/>
                  <a:gd name="connsiteY0" fmla="*/ 2907154 h 3579817"/>
                  <a:gd name="connsiteX1" fmla="*/ 2002194 w 3220782"/>
                  <a:gd name="connsiteY1" fmla="*/ 3574659 h 3579817"/>
                  <a:gd name="connsiteX2" fmla="*/ 3028289 w 3220782"/>
                  <a:gd name="connsiteY2" fmla="*/ 2934613 h 3579817"/>
                  <a:gd name="connsiteX3" fmla="*/ 3129333 w 3220782"/>
                  <a:gd name="connsiteY3" fmla="*/ 1743455 h 3579817"/>
                  <a:gd name="connsiteX4" fmla="*/ 3052277 w 3220782"/>
                  <a:gd name="connsiteY4" fmla="*/ 731167 h 3579817"/>
                  <a:gd name="connsiteX5" fmla="*/ 1620928 w 3220782"/>
                  <a:gd name="connsiteY5" fmla="*/ 5581 h 3579817"/>
                  <a:gd name="connsiteX6" fmla="*/ 765913 w 3220782"/>
                  <a:gd name="connsiteY6" fmla="*/ 939888 h 3579817"/>
                  <a:gd name="connsiteX7" fmla="*/ 5000 w 3220782"/>
                  <a:gd name="connsiteY7" fmla="*/ 1991745 h 3579817"/>
                  <a:gd name="connsiteX8" fmla="*/ 791058 w 3220782"/>
                  <a:gd name="connsiteY8" fmla="*/ 2907231 h 3579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782" h="3579817">
                    <a:moveTo>
                      <a:pt x="791058" y="2907154"/>
                    </a:moveTo>
                    <a:cubicBezTo>
                      <a:pt x="1139775" y="3222549"/>
                      <a:pt x="1564312" y="3630426"/>
                      <a:pt x="2002194" y="3574659"/>
                    </a:cubicBezTo>
                    <a:cubicBezTo>
                      <a:pt x="2362558" y="3528688"/>
                      <a:pt x="2770743" y="3219772"/>
                      <a:pt x="3028289" y="2934613"/>
                    </a:cubicBezTo>
                    <a:cubicBezTo>
                      <a:pt x="3345767" y="2583197"/>
                      <a:pt x="3188417" y="2184113"/>
                      <a:pt x="3129333" y="1743455"/>
                    </a:cubicBezTo>
                    <a:cubicBezTo>
                      <a:pt x="3081433" y="1386485"/>
                      <a:pt x="3334968" y="986244"/>
                      <a:pt x="3052277" y="731167"/>
                    </a:cubicBezTo>
                    <a:cubicBezTo>
                      <a:pt x="2698624" y="412069"/>
                      <a:pt x="2063823" y="-56434"/>
                      <a:pt x="1620928" y="5581"/>
                    </a:cubicBezTo>
                    <a:cubicBezTo>
                      <a:pt x="1267198" y="54946"/>
                      <a:pt x="1018908" y="659665"/>
                      <a:pt x="765913" y="939888"/>
                    </a:cubicBezTo>
                    <a:cubicBezTo>
                      <a:pt x="447664" y="1292461"/>
                      <a:pt x="-55549" y="1549929"/>
                      <a:pt x="5000" y="1991745"/>
                    </a:cubicBezTo>
                    <a:cubicBezTo>
                      <a:pt x="53516" y="2346477"/>
                      <a:pt x="510218" y="2653234"/>
                      <a:pt x="791058" y="290723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017A274A-B1A3-42DE-6A29-B862BC5B9AA6}"/>
                  </a:ext>
                </a:extLst>
              </p:cNvPr>
              <p:cNvSpPr/>
              <p:nvPr/>
            </p:nvSpPr>
            <p:spPr>
              <a:xfrm>
                <a:off x="4147825" y="2579175"/>
                <a:ext cx="3187979" cy="3521387"/>
              </a:xfrm>
              <a:custGeom>
                <a:avLst/>
                <a:gdLst>
                  <a:gd name="connsiteX0" fmla="*/ 761567 w 3187979"/>
                  <a:gd name="connsiteY0" fmla="*/ 2896229 h 3521387"/>
                  <a:gd name="connsiteX1" fmla="*/ 1971315 w 3187979"/>
                  <a:gd name="connsiteY1" fmla="*/ 3515912 h 3521387"/>
                  <a:gd name="connsiteX2" fmla="*/ 2977047 w 3187979"/>
                  <a:gd name="connsiteY2" fmla="*/ 2847635 h 3521387"/>
                  <a:gd name="connsiteX3" fmla="*/ 3126683 w 3187979"/>
                  <a:gd name="connsiteY3" fmla="*/ 1699825 h 3521387"/>
                  <a:gd name="connsiteX4" fmla="*/ 2997409 w 3187979"/>
                  <a:gd name="connsiteY4" fmla="*/ 633236 h 3521387"/>
                  <a:gd name="connsiteX5" fmla="*/ 1583183 w 3187979"/>
                  <a:gd name="connsiteY5" fmla="*/ 6380 h 3521387"/>
                  <a:gd name="connsiteX6" fmla="*/ 682583 w 3187979"/>
                  <a:gd name="connsiteY6" fmla="*/ 874121 h 3521387"/>
                  <a:gd name="connsiteX7" fmla="*/ 5513 w 3187979"/>
                  <a:gd name="connsiteY7" fmla="*/ 1940171 h 3521387"/>
                  <a:gd name="connsiteX8" fmla="*/ 761567 w 3187979"/>
                  <a:gd name="connsiteY8" fmla="*/ 2896229 h 3521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87979" h="3521387">
                    <a:moveTo>
                      <a:pt x="761567" y="2896229"/>
                    </a:moveTo>
                    <a:cubicBezTo>
                      <a:pt x="1106195" y="3197508"/>
                      <a:pt x="1539681" y="3571139"/>
                      <a:pt x="1971315" y="3515912"/>
                    </a:cubicBezTo>
                    <a:cubicBezTo>
                      <a:pt x="2343865" y="3468090"/>
                      <a:pt x="2720426" y="3141742"/>
                      <a:pt x="2977047" y="2847635"/>
                    </a:cubicBezTo>
                    <a:cubicBezTo>
                      <a:pt x="3279715" y="2500770"/>
                      <a:pt x="3184842" y="2133542"/>
                      <a:pt x="3126683" y="1699825"/>
                    </a:cubicBezTo>
                    <a:cubicBezTo>
                      <a:pt x="3077087" y="1329975"/>
                      <a:pt x="3289665" y="887620"/>
                      <a:pt x="2997409" y="633236"/>
                    </a:cubicBezTo>
                    <a:cubicBezTo>
                      <a:pt x="2648539" y="329565"/>
                      <a:pt x="2018520" y="-54246"/>
                      <a:pt x="1583183" y="6380"/>
                    </a:cubicBezTo>
                    <a:cubicBezTo>
                      <a:pt x="1216418" y="57287"/>
                      <a:pt x="935115" y="584257"/>
                      <a:pt x="682583" y="874121"/>
                    </a:cubicBezTo>
                    <a:cubicBezTo>
                      <a:pt x="379529" y="1222066"/>
                      <a:pt x="-53879" y="1505683"/>
                      <a:pt x="5513" y="1940171"/>
                    </a:cubicBezTo>
                    <a:cubicBezTo>
                      <a:pt x="55572" y="2307322"/>
                      <a:pt x="471703" y="2642848"/>
                      <a:pt x="761567" y="28962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DEAAFDAB-28D9-7D14-1156-1652DB8702BB}"/>
                  </a:ext>
                </a:extLst>
              </p:cNvPr>
              <p:cNvSpPr/>
              <p:nvPr/>
            </p:nvSpPr>
            <p:spPr>
              <a:xfrm>
                <a:off x="4185926" y="2623532"/>
                <a:ext cx="3162650" cy="3463280"/>
              </a:xfrm>
              <a:custGeom>
                <a:avLst/>
                <a:gdLst>
                  <a:gd name="connsiteX0" fmla="*/ 732182 w 3162650"/>
                  <a:gd name="connsiteY0" fmla="*/ 2885579 h 3463280"/>
                  <a:gd name="connsiteX1" fmla="*/ 1940541 w 3162650"/>
                  <a:gd name="connsiteY1" fmla="*/ 3457440 h 3463280"/>
                  <a:gd name="connsiteX2" fmla="*/ 2925910 w 3162650"/>
                  <a:gd name="connsiteY2" fmla="*/ 2760933 h 3463280"/>
                  <a:gd name="connsiteX3" fmla="*/ 3124217 w 3162650"/>
                  <a:gd name="connsiteY3" fmla="*/ 1656549 h 3463280"/>
                  <a:gd name="connsiteX4" fmla="*/ 2942725 w 3162650"/>
                  <a:gd name="connsiteY4" fmla="*/ 535658 h 3463280"/>
                  <a:gd name="connsiteX5" fmla="*/ 1545622 w 3162650"/>
                  <a:gd name="connsiteY5" fmla="*/ 7609 h 3463280"/>
                  <a:gd name="connsiteX6" fmla="*/ 599436 w 3162650"/>
                  <a:gd name="connsiteY6" fmla="*/ 808708 h 3463280"/>
                  <a:gd name="connsiteX7" fmla="*/ 6210 w 3162650"/>
                  <a:gd name="connsiteY7" fmla="*/ 1888949 h 3463280"/>
                  <a:gd name="connsiteX8" fmla="*/ 732182 w 3162650"/>
                  <a:gd name="connsiteY8" fmla="*/ 2885579 h 3463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62650" h="3463280">
                    <a:moveTo>
                      <a:pt x="732182" y="2885579"/>
                    </a:moveTo>
                    <a:cubicBezTo>
                      <a:pt x="1072413" y="3173052"/>
                      <a:pt x="1515232" y="3512050"/>
                      <a:pt x="1940541" y="3457440"/>
                    </a:cubicBezTo>
                    <a:cubicBezTo>
                      <a:pt x="2325355" y="3407689"/>
                      <a:pt x="2670370" y="3064218"/>
                      <a:pt x="2925910" y="2760933"/>
                    </a:cubicBezTo>
                    <a:cubicBezTo>
                      <a:pt x="3214077" y="2418850"/>
                      <a:pt x="3181450" y="2083246"/>
                      <a:pt x="3124217" y="1656549"/>
                    </a:cubicBezTo>
                    <a:cubicBezTo>
                      <a:pt x="3072847" y="1273817"/>
                      <a:pt x="3244776" y="789270"/>
                      <a:pt x="2942725" y="535658"/>
                    </a:cubicBezTo>
                    <a:cubicBezTo>
                      <a:pt x="2599022" y="247105"/>
                      <a:pt x="1973399" y="-51783"/>
                      <a:pt x="1545622" y="7609"/>
                    </a:cubicBezTo>
                    <a:cubicBezTo>
                      <a:pt x="1165821" y="60059"/>
                      <a:pt x="851352" y="508970"/>
                      <a:pt x="599436" y="808708"/>
                    </a:cubicBezTo>
                    <a:cubicBezTo>
                      <a:pt x="311192" y="1151639"/>
                      <a:pt x="-52025" y="1461712"/>
                      <a:pt x="6210" y="1888949"/>
                    </a:cubicBezTo>
                    <a:cubicBezTo>
                      <a:pt x="57888" y="2268441"/>
                      <a:pt x="433139" y="2632970"/>
                      <a:pt x="732182" y="28855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CFC689DA-7DD0-7630-6B65-B36AB76D7128}"/>
                  </a:ext>
                </a:extLst>
              </p:cNvPr>
              <p:cNvSpPr/>
              <p:nvPr/>
            </p:nvSpPr>
            <p:spPr>
              <a:xfrm>
                <a:off x="4223622" y="2666959"/>
                <a:ext cx="3145783" cy="3406134"/>
              </a:xfrm>
              <a:custGeom>
                <a:avLst/>
                <a:gdLst>
                  <a:gd name="connsiteX0" fmla="*/ 703202 w 3145783"/>
                  <a:gd name="connsiteY0" fmla="*/ 2875858 h 3406134"/>
                  <a:gd name="connsiteX1" fmla="*/ 1910173 w 3145783"/>
                  <a:gd name="connsiteY1" fmla="*/ 3399820 h 3406134"/>
                  <a:gd name="connsiteX2" fmla="*/ 2875101 w 3145783"/>
                  <a:gd name="connsiteY2" fmla="*/ 2675082 h 3406134"/>
                  <a:gd name="connsiteX3" fmla="*/ 3122003 w 3145783"/>
                  <a:gd name="connsiteY3" fmla="*/ 1614047 h 3406134"/>
                  <a:gd name="connsiteX4" fmla="*/ 2888291 w 3145783"/>
                  <a:gd name="connsiteY4" fmla="*/ 438855 h 3406134"/>
                  <a:gd name="connsiteX5" fmla="*/ 1508312 w 3145783"/>
                  <a:gd name="connsiteY5" fmla="*/ 9612 h 3406134"/>
                  <a:gd name="connsiteX6" fmla="*/ 516541 w 3145783"/>
                  <a:gd name="connsiteY6" fmla="*/ 744146 h 3406134"/>
                  <a:gd name="connsiteX7" fmla="*/ 7234 w 3145783"/>
                  <a:gd name="connsiteY7" fmla="*/ 1838580 h 3406134"/>
                  <a:gd name="connsiteX8" fmla="*/ 703125 w 3145783"/>
                  <a:gd name="connsiteY8" fmla="*/ 2875858 h 340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45783" h="3406134">
                    <a:moveTo>
                      <a:pt x="703202" y="2875858"/>
                    </a:moveTo>
                    <a:cubicBezTo>
                      <a:pt x="1038729" y="3149756"/>
                      <a:pt x="1491188" y="3453967"/>
                      <a:pt x="1910173" y="3399820"/>
                    </a:cubicBezTo>
                    <a:cubicBezTo>
                      <a:pt x="2307174" y="3348218"/>
                      <a:pt x="2620872" y="2987778"/>
                      <a:pt x="2875101" y="2675082"/>
                    </a:cubicBezTo>
                    <a:cubicBezTo>
                      <a:pt x="3149077" y="2338167"/>
                      <a:pt x="3178310" y="2033802"/>
                      <a:pt x="3122003" y="1614047"/>
                    </a:cubicBezTo>
                    <a:cubicBezTo>
                      <a:pt x="3068936" y="1218434"/>
                      <a:pt x="3200369" y="691464"/>
                      <a:pt x="2888291" y="438855"/>
                    </a:cubicBezTo>
                    <a:cubicBezTo>
                      <a:pt x="2549988" y="165034"/>
                      <a:pt x="1928530" y="-48546"/>
                      <a:pt x="1508312" y="9612"/>
                    </a:cubicBezTo>
                    <a:cubicBezTo>
                      <a:pt x="1115476" y="63605"/>
                      <a:pt x="767685" y="434304"/>
                      <a:pt x="516541" y="744146"/>
                    </a:cubicBezTo>
                    <a:cubicBezTo>
                      <a:pt x="242797" y="1081832"/>
                      <a:pt x="-49998" y="1418593"/>
                      <a:pt x="7234" y="1838580"/>
                    </a:cubicBezTo>
                    <a:cubicBezTo>
                      <a:pt x="60456" y="2230413"/>
                      <a:pt x="394749" y="2624098"/>
                      <a:pt x="703125" y="287585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B3274E0C-B58D-8DBB-2D28-97D51B47A299}"/>
                  </a:ext>
                </a:extLst>
              </p:cNvPr>
              <p:cNvSpPr/>
              <p:nvPr/>
            </p:nvSpPr>
            <p:spPr>
              <a:xfrm>
                <a:off x="4260986" y="2709255"/>
                <a:ext cx="3135893" cy="3350272"/>
              </a:xfrm>
              <a:custGeom>
                <a:avLst/>
                <a:gdLst>
                  <a:gd name="connsiteX0" fmla="*/ 674554 w 3135893"/>
                  <a:gd name="connsiteY0" fmla="*/ 2867269 h 3350272"/>
                  <a:gd name="connsiteX1" fmla="*/ 1880214 w 3135893"/>
                  <a:gd name="connsiteY1" fmla="*/ 3343408 h 3350272"/>
                  <a:gd name="connsiteX2" fmla="*/ 2824779 w 3135893"/>
                  <a:gd name="connsiteY2" fmla="*/ 2590440 h 3350272"/>
                  <a:gd name="connsiteX3" fmla="*/ 3120352 w 3135893"/>
                  <a:gd name="connsiteY3" fmla="*/ 1572830 h 3350272"/>
                  <a:gd name="connsiteX4" fmla="*/ 2834498 w 3135893"/>
                  <a:gd name="connsiteY4" fmla="*/ 343337 h 3350272"/>
                  <a:gd name="connsiteX5" fmla="*/ 1471565 w 3135893"/>
                  <a:gd name="connsiteY5" fmla="*/ 12824 h 3350272"/>
                  <a:gd name="connsiteX6" fmla="*/ 434209 w 3135893"/>
                  <a:gd name="connsiteY6" fmla="*/ 680715 h 3350272"/>
                  <a:gd name="connsiteX7" fmla="*/ 8746 w 3135893"/>
                  <a:gd name="connsiteY7" fmla="*/ 1789341 h 3350272"/>
                  <a:gd name="connsiteX8" fmla="*/ 674631 w 3135893"/>
                  <a:gd name="connsiteY8" fmla="*/ 2867192 h 3350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893" h="3350272">
                    <a:moveTo>
                      <a:pt x="674554" y="2867269"/>
                    </a:moveTo>
                    <a:cubicBezTo>
                      <a:pt x="1005144" y="3127900"/>
                      <a:pt x="1467477" y="3396938"/>
                      <a:pt x="1880214" y="3343408"/>
                    </a:cubicBezTo>
                    <a:cubicBezTo>
                      <a:pt x="2289402" y="3289956"/>
                      <a:pt x="2572016" y="2912777"/>
                      <a:pt x="2824779" y="2590440"/>
                    </a:cubicBezTo>
                    <a:cubicBezTo>
                      <a:pt x="3084794" y="2258847"/>
                      <a:pt x="3175656" y="1985567"/>
                      <a:pt x="3120352" y="1572830"/>
                    </a:cubicBezTo>
                    <a:cubicBezTo>
                      <a:pt x="3065587" y="1164336"/>
                      <a:pt x="3156758" y="594635"/>
                      <a:pt x="2834498" y="343337"/>
                    </a:cubicBezTo>
                    <a:cubicBezTo>
                      <a:pt x="2512238" y="92039"/>
                      <a:pt x="1884302" y="-44023"/>
                      <a:pt x="1471565" y="12824"/>
                    </a:cubicBezTo>
                    <a:cubicBezTo>
                      <a:pt x="1065694" y="68359"/>
                      <a:pt x="684273" y="360692"/>
                      <a:pt x="434209" y="680715"/>
                    </a:cubicBezTo>
                    <a:cubicBezTo>
                      <a:pt x="174658" y="1012848"/>
                      <a:pt x="-47330" y="1376605"/>
                      <a:pt x="8746" y="1789341"/>
                    </a:cubicBezTo>
                    <a:cubicBezTo>
                      <a:pt x="63510" y="2193593"/>
                      <a:pt x="356691" y="2616588"/>
                      <a:pt x="674631" y="286719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F681A386-028E-4377-5FC5-97DDA0E3A5F9}"/>
                  </a:ext>
                </a:extLst>
              </p:cNvPr>
              <p:cNvSpPr/>
              <p:nvPr/>
            </p:nvSpPr>
            <p:spPr>
              <a:xfrm>
                <a:off x="4297185" y="2745782"/>
                <a:ext cx="3130741" cy="3300265"/>
              </a:xfrm>
              <a:custGeom>
                <a:avLst/>
                <a:gdLst>
                  <a:gd name="connsiteX0" fmla="*/ 647071 w 3130741"/>
                  <a:gd name="connsiteY0" fmla="*/ 2864372 h 3300265"/>
                  <a:gd name="connsiteX1" fmla="*/ 1851342 w 3130741"/>
                  <a:gd name="connsiteY1" fmla="*/ 3292689 h 3300265"/>
                  <a:gd name="connsiteX2" fmla="*/ 2775545 w 3130741"/>
                  <a:gd name="connsiteY2" fmla="*/ 2511491 h 3300265"/>
                  <a:gd name="connsiteX3" fmla="*/ 3119711 w 3130741"/>
                  <a:gd name="connsiteY3" fmla="*/ 1537229 h 3300265"/>
                  <a:gd name="connsiteX4" fmla="*/ 2781639 w 3130741"/>
                  <a:gd name="connsiteY4" fmla="*/ 253435 h 3300265"/>
                  <a:gd name="connsiteX5" fmla="*/ 1435829 w 3130741"/>
                  <a:gd name="connsiteY5" fmla="*/ 21729 h 3300265"/>
                  <a:gd name="connsiteX6" fmla="*/ 352887 w 3130741"/>
                  <a:gd name="connsiteY6" fmla="*/ 622977 h 3300265"/>
                  <a:gd name="connsiteX7" fmla="*/ 11267 w 3130741"/>
                  <a:gd name="connsiteY7" fmla="*/ 1745873 h 3300265"/>
                  <a:gd name="connsiteX8" fmla="*/ 647071 w 3130741"/>
                  <a:gd name="connsiteY8" fmla="*/ 2864295 h 3300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0741" h="3300265">
                    <a:moveTo>
                      <a:pt x="647071" y="2864372"/>
                    </a:moveTo>
                    <a:cubicBezTo>
                      <a:pt x="972571" y="3111968"/>
                      <a:pt x="1444853" y="3345679"/>
                      <a:pt x="1851342" y="3292689"/>
                    </a:cubicBezTo>
                    <a:cubicBezTo>
                      <a:pt x="2272795" y="3237385"/>
                      <a:pt x="2524556" y="2843624"/>
                      <a:pt x="2775545" y="2511491"/>
                    </a:cubicBezTo>
                    <a:cubicBezTo>
                      <a:pt x="3021907" y="2185529"/>
                      <a:pt x="3174166" y="1943024"/>
                      <a:pt x="3119711" y="1537229"/>
                    </a:cubicBezTo>
                    <a:cubicBezTo>
                      <a:pt x="3063172" y="1115777"/>
                      <a:pt x="3114388" y="503190"/>
                      <a:pt x="2781639" y="253435"/>
                    </a:cubicBezTo>
                    <a:cubicBezTo>
                      <a:pt x="2455059" y="8308"/>
                      <a:pt x="1841007" y="-33884"/>
                      <a:pt x="1435829" y="21729"/>
                    </a:cubicBezTo>
                    <a:cubicBezTo>
                      <a:pt x="1016845" y="78884"/>
                      <a:pt x="601640" y="292464"/>
                      <a:pt x="352887" y="622977"/>
                    </a:cubicBezTo>
                    <a:cubicBezTo>
                      <a:pt x="107297" y="949325"/>
                      <a:pt x="-43651" y="1340387"/>
                      <a:pt x="11267" y="1745873"/>
                    </a:cubicBezTo>
                    <a:cubicBezTo>
                      <a:pt x="67574" y="2162466"/>
                      <a:pt x="319412" y="2615080"/>
                      <a:pt x="647071" y="286429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FC2EBB3A-E952-72E8-3017-D912FA550B3C}"/>
                  </a:ext>
                </a:extLst>
              </p:cNvPr>
              <p:cNvSpPr/>
              <p:nvPr/>
            </p:nvSpPr>
            <p:spPr>
              <a:xfrm>
                <a:off x="4331073" y="2769810"/>
                <a:ext cx="3129679" cy="3263042"/>
              </a:xfrm>
              <a:custGeom>
                <a:avLst/>
                <a:gdLst>
                  <a:gd name="connsiteX0" fmla="*/ 621899 w 3129679"/>
                  <a:gd name="connsiteY0" fmla="*/ 2874051 h 3263042"/>
                  <a:gd name="connsiteX1" fmla="*/ 1824782 w 3129679"/>
                  <a:gd name="connsiteY1" fmla="*/ 3254546 h 3263042"/>
                  <a:gd name="connsiteX2" fmla="*/ 2728544 w 3129679"/>
                  <a:gd name="connsiteY2" fmla="*/ 2445116 h 3263042"/>
                  <a:gd name="connsiteX3" fmla="*/ 3121380 w 3129679"/>
                  <a:gd name="connsiteY3" fmla="*/ 1514281 h 3263042"/>
                  <a:gd name="connsiteX4" fmla="*/ 2731090 w 3129679"/>
                  <a:gd name="connsiteY4" fmla="*/ 176262 h 3263042"/>
                  <a:gd name="connsiteX5" fmla="*/ 1402404 w 3129679"/>
                  <a:gd name="connsiteY5" fmla="*/ 43363 h 3263042"/>
                  <a:gd name="connsiteX6" fmla="*/ 273877 w 3129679"/>
                  <a:gd name="connsiteY6" fmla="*/ 578045 h 3263042"/>
                  <a:gd name="connsiteX7" fmla="*/ 16177 w 3129679"/>
                  <a:gd name="connsiteY7" fmla="*/ 1715134 h 3263042"/>
                  <a:gd name="connsiteX8" fmla="*/ 621899 w 3129679"/>
                  <a:gd name="connsiteY8" fmla="*/ 2874205 h 3263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29679" h="3263042">
                    <a:moveTo>
                      <a:pt x="621899" y="2874051"/>
                    </a:moveTo>
                    <a:cubicBezTo>
                      <a:pt x="941999" y="3108842"/>
                      <a:pt x="1424618" y="3306996"/>
                      <a:pt x="1824782" y="3254546"/>
                    </a:cubicBezTo>
                    <a:cubicBezTo>
                      <a:pt x="2258421" y="3197313"/>
                      <a:pt x="2479637" y="2787277"/>
                      <a:pt x="2728544" y="2445116"/>
                    </a:cubicBezTo>
                    <a:cubicBezTo>
                      <a:pt x="2961485" y="2124939"/>
                      <a:pt x="3174833" y="1913056"/>
                      <a:pt x="3121380" y="1514281"/>
                    </a:cubicBezTo>
                    <a:cubicBezTo>
                      <a:pt x="3063145" y="1079947"/>
                      <a:pt x="3074561" y="424089"/>
                      <a:pt x="2731090" y="176262"/>
                    </a:cubicBezTo>
                    <a:cubicBezTo>
                      <a:pt x="2410681" y="-54982"/>
                      <a:pt x="1800022" y="-10939"/>
                      <a:pt x="1402404" y="43363"/>
                    </a:cubicBezTo>
                    <a:cubicBezTo>
                      <a:pt x="970384" y="102060"/>
                      <a:pt x="521009" y="236734"/>
                      <a:pt x="273877" y="578045"/>
                    </a:cubicBezTo>
                    <a:cubicBezTo>
                      <a:pt x="41862" y="898377"/>
                      <a:pt x="-37739" y="1316898"/>
                      <a:pt x="16177" y="1715134"/>
                    </a:cubicBezTo>
                    <a:cubicBezTo>
                      <a:pt x="74026" y="2144068"/>
                      <a:pt x="284289" y="2626532"/>
                      <a:pt x="621899" y="287420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916B0558-1EF7-EFE8-43C3-CD308EE8FE29}"/>
                  </a:ext>
                </a:extLst>
              </p:cNvPr>
              <p:cNvSpPr/>
              <p:nvPr/>
            </p:nvSpPr>
            <p:spPr>
              <a:xfrm>
                <a:off x="4358871" y="2771233"/>
                <a:ext cx="3135688" cy="3248662"/>
              </a:xfrm>
              <a:custGeom>
                <a:avLst/>
                <a:gdLst>
                  <a:gd name="connsiteX0" fmla="*/ 602817 w 3135688"/>
                  <a:gd name="connsiteY0" fmla="*/ 2906335 h 3248662"/>
                  <a:gd name="connsiteX1" fmla="*/ 1804311 w 3135688"/>
                  <a:gd name="connsiteY1" fmla="*/ 3238930 h 3248662"/>
                  <a:gd name="connsiteX2" fmla="*/ 2687711 w 3135688"/>
                  <a:gd name="connsiteY2" fmla="*/ 2401271 h 3248662"/>
                  <a:gd name="connsiteX3" fmla="*/ 3129140 w 3135688"/>
                  <a:gd name="connsiteY3" fmla="*/ 1513860 h 3248662"/>
                  <a:gd name="connsiteX4" fmla="*/ 2686631 w 3135688"/>
                  <a:gd name="connsiteY4" fmla="*/ 121540 h 3248662"/>
                  <a:gd name="connsiteX5" fmla="*/ 1375068 w 3135688"/>
                  <a:gd name="connsiteY5" fmla="*/ 87448 h 3248662"/>
                  <a:gd name="connsiteX6" fmla="*/ 200956 w 3135688"/>
                  <a:gd name="connsiteY6" fmla="*/ 555488 h 3248662"/>
                  <a:gd name="connsiteX7" fmla="*/ 27099 w 3135688"/>
                  <a:gd name="connsiteY7" fmla="*/ 1706769 h 3248662"/>
                  <a:gd name="connsiteX8" fmla="*/ 602817 w 3135688"/>
                  <a:gd name="connsiteY8" fmla="*/ 2906412 h 3248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688" h="3248662">
                    <a:moveTo>
                      <a:pt x="602817" y="2906335"/>
                    </a:moveTo>
                    <a:cubicBezTo>
                      <a:pt x="917441" y="3128631"/>
                      <a:pt x="1410472" y="3290840"/>
                      <a:pt x="1804311" y="3238930"/>
                    </a:cubicBezTo>
                    <a:cubicBezTo>
                      <a:pt x="2250214" y="3179847"/>
                      <a:pt x="2441195" y="2753612"/>
                      <a:pt x="2687711" y="2401271"/>
                    </a:cubicBezTo>
                    <a:cubicBezTo>
                      <a:pt x="2907538" y="2087032"/>
                      <a:pt x="3181668" y="1905617"/>
                      <a:pt x="3129140" y="1513860"/>
                    </a:cubicBezTo>
                    <a:cubicBezTo>
                      <a:pt x="3069209" y="1066646"/>
                      <a:pt x="3040978" y="367208"/>
                      <a:pt x="2686631" y="121540"/>
                    </a:cubicBezTo>
                    <a:cubicBezTo>
                      <a:pt x="2372624" y="-96128"/>
                      <a:pt x="1765128" y="34381"/>
                      <a:pt x="1375068" y="87448"/>
                    </a:cubicBezTo>
                    <a:cubicBezTo>
                      <a:pt x="930013" y="147688"/>
                      <a:pt x="446083" y="203301"/>
                      <a:pt x="200956" y="555488"/>
                    </a:cubicBezTo>
                    <a:cubicBezTo>
                      <a:pt x="-17715" y="869649"/>
                      <a:pt x="-25660" y="1315784"/>
                      <a:pt x="27099" y="1706769"/>
                    </a:cubicBezTo>
                    <a:cubicBezTo>
                      <a:pt x="86568" y="2148122"/>
                      <a:pt x="255026" y="2660667"/>
                      <a:pt x="602817" y="290641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15E02509-2FD5-5075-8104-C839F3B6ECE9}"/>
                  </a:ext>
                </a:extLst>
              </p:cNvPr>
              <p:cNvSpPr/>
              <p:nvPr/>
            </p:nvSpPr>
            <p:spPr>
              <a:xfrm>
                <a:off x="4372952" y="2753381"/>
                <a:ext cx="3156027" cy="3254119"/>
              </a:xfrm>
              <a:custGeom>
                <a:avLst/>
                <a:gdLst>
                  <a:gd name="connsiteX0" fmla="*/ 597452 w 3156027"/>
                  <a:gd name="connsiteY0" fmla="*/ 2957894 h 3254119"/>
                  <a:gd name="connsiteX1" fmla="*/ 1797558 w 3156027"/>
                  <a:gd name="connsiteY1" fmla="*/ 3242667 h 3254119"/>
                  <a:gd name="connsiteX2" fmla="*/ 2660594 w 3156027"/>
                  <a:gd name="connsiteY2" fmla="*/ 2376700 h 3254119"/>
                  <a:gd name="connsiteX3" fmla="*/ 3150695 w 3156027"/>
                  <a:gd name="connsiteY3" fmla="*/ 1532638 h 3254119"/>
                  <a:gd name="connsiteX4" fmla="*/ 2655966 w 3156027"/>
                  <a:gd name="connsiteY4" fmla="*/ 86017 h 3254119"/>
                  <a:gd name="connsiteX5" fmla="*/ 1361450 w 3156027"/>
                  <a:gd name="connsiteY5" fmla="*/ 150654 h 3254119"/>
                  <a:gd name="connsiteX6" fmla="*/ 141752 w 3156027"/>
                  <a:gd name="connsiteY6" fmla="*/ 552129 h 3254119"/>
                  <a:gd name="connsiteX7" fmla="*/ 51738 w 3156027"/>
                  <a:gd name="connsiteY7" fmla="*/ 1717602 h 3254119"/>
                  <a:gd name="connsiteX8" fmla="*/ 597374 w 3156027"/>
                  <a:gd name="connsiteY8" fmla="*/ 2957816 h 3254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56027" h="3254119">
                    <a:moveTo>
                      <a:pt x="597452" y="2957894"/>
                    </a:moveTo>
                    <a:cubicBezTo>
                      <a:pt x="906445" y="3167925"/>
                      <a:pt x="1410044" y="3294037"/>
                      <a:pt x="1797558" y="3242667"/>
                    </a:cubicBezTo>
                    <a:cubicBezTo>
                      <a:pt x="2255648" y="3181732"/>
                      <a:pt x="2416778" y="2739608"/>
                      <a:pt x="2660594" y="2376700"/>
                    </a:cubicBezTo>
                    <a:cubicBezTo>
                      <a:pt x="2867541" y="2068555"/>
                      <a:pt x="3202297" y="1917452"/>
                      <a:pt x="3150695" y="1532638"/>
                    </a:cubicBezTo>
                    <a:cubicBezTo>
                      <a:pt x="3088989" y="1072542"/>
                      <a:pt x="3021574" y="329061"/>
                      <a:pt x="2655966" y="86017"/>
                    </a:cubicBezTo>
                    <a:cubicBezTo>
                      <a:pt x="2348516" y="-118385"/>
                      <a:pt x="1744028" y="98898"/>
                      <a:pt x="1361450" y="150654"/>
                    </a:cubicBezTo>
                    <a:cubicBezTo>
                      <a:pt x="903359" y="212437"/>
                      <a:pt x="384566" y="188680"/>
                      <a:pt x="141752" y="552129"/>
                    </a:cubicBezTo>
                    <a:cubicBezTo>
                      <a:pt x="-63883" y="859965"/>
                      <a:pt x="60" y="1333867"/>
                      <a:pt x="51738" y="1717602"/>
                    </a:cubicBezTo>
                    <a:cubicBezTo>
                      <a:pt x="112750" y="2171296"/>
                      <a:pt x="239248" y="2714386"/>
                      <a:pt x="597374" y="2957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1938886F-3576-EAC4-D300-524FCFAE77C4}"/>
                  </a:ext>
                </a:extLst>
              </p:cNvPr>
              <p:cNvSpPr/>
              <p:nvPr/>
            </p:nvSpPr>
            <p:spPr>
              <a:xfrm>
                <a:off x="4369454" y="2723578"/>
                <a:ext cx="3194199" cy="3272228"/>
              </a:xfrm>
              <a:custGeom>
                <a:avLst/>
                <a:gdLst>
                  <a:gd name="connsiteX0" fmla="*/ 609666 w 3194199"/>
                  <a:gd name="connsiteY0" fmla="*/ 3021327 h 3272228"/>
                  <a:gd name="connsiteX1" fmla="*/ 1808461 w 3194199"/>
                  <a:gd name="connsiteY1" fmla="*/ 3258278 h 3272228"/>
                  <a:gd name="connsiteX2" fmla="*/ 2651057 w 3194199"/>
                  <a:gd name="connsiteY2" fmla="*/ 2364080 h 3272228"/>
                  <a:gd name="connsiteX3" fmla="*/ 3189751 w 3194199"/>
                  <a:gd name="connsiteY3" fmla="*/ 1563444 h 3272228"/>
                  <a:gd name="connsiteX4" fmla="*/ 2642804 w 3194199"/>
                  <a:gd name="connsiteY4" fmla="*/ 62522 h 3272228"/>
                  <a:gd name="connsiteX5" fmla="*/ 1365411 w 3194199"/>
                  <a:gd name="connsiteY5" fmla="*/ 225965 h 3272228"/>
                  <a:gd name="connsiteX6" fmla="*/ 100128 w 3194199"/>
                  <a:gd name="connsiteY6" fmla="*/ 560798 h 3272228"/>
                  <a:gd name="connsiteX7" fmla="*/ 94034 w 3194199"/>
                  <a:gd name="connsiteY7" fmla="*/ 1740540 h 3272228"/>
                  <a:gd name="connsiteX8" fmla="*/ 609589 w 3194199"/>
                  <a:gd name="connsiteY8" fmla="*/ 3021327 h 3272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94199" h="3272228">
                    <a:moveTo>
                      <a:pt x="609666" y="3021327"/>
                    </a:moveTo>
                    <a:cubicBezTo>
                      <a:pt x="912874" y="3219326"/>
                      <a:pt x="1427194" y="3309031"/>
                      <a:pt x="1808461" y="3258278"/>
                    </a:cubicBezTo>
                    <a:cubicBezTo>
                      <a:pt x="2278815" y="3195492"/>
                      <a:pt x="2410481" y="2737710"/>
                      <a:pt x="2651057" y="2364080"/>
                    </a:cubicBezTo>
                    <a:cubicBezTo>
                      <a:pt x="2845431" y="2062183"/>
                      <a:pt x="3240427" y="1941240"/>
                      <a:pt x="3189751" y="1563444"/>
                    </a:cubicBezTo>
                    <a:cubicBezTo>
                      <a:pt x="3126348" y="1090390"/>
                      <a:pt x="3019828" y="302481"/>
                      <a:pt x="2642804" y="62522"/>
                    </a:cubicBezTo>
                    <a:cubicBezTo>
                      <a:pt x="2342064" y="-128844"/>
                      <a:pt x="1740430" y="175444"/>
                      <a:pt x="1365411" y="225965"/>
                    </a:cubicBezTo>
                    <a:cubicBezTo>
                      <a:pt x="894285" y="289291"/>
                      <a:pt x="340087" y="185934"/>
                      <a:pt x="100128" y="560798"/>
                    </a:cubicBezTo>
                    <a:cubicBezTo>
                      <a:pt x="-92781" y="862155"/>
                      <a:pt x="43435" y="1364056"/>
                      <a:pt x="94034" y="1740540"/>
                    </a:cubicBezTo>
                    <a:cubicBezTo>
                      <a:pt x="156589" y="2206653"/>
                      <a:pt x="240972" y="2780596"/>
                      <a:pt x="609589" y="302132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CAD8D52-F792-A233-C3B8-49C427D2E2BD}"/>
                  </a:ext>
                </a:extLst>
              </p:cNvPr>
              <p:cNvSpPr/>
              <p:nvPr/>
            </p:nvSpPr>
            <p:spPr>
              <a:xfrm>
                <a:off x="4352455" y="2686397"/>
                <a:ext cx="3246150" cy="3299210"/>
              </a:xfrm>
              <a:custGeom>
                <a:avLst/>
                <a:gdLst>
                  <a:gd name="connsiteX0" fmla="*/ 1832787 w 3246150"/>
                  <a:gd name="connsiteY0" fmla="*/ 3281344 h 3299210"/>
                  <a:gd name="connsiteX1" fmla="*/ 2655021 w 3246150"/>
                  <a:gd name="connsiteY1" fmla="*/ 2358915 h 3299210"/>
                  <a:gd name="connsiteX2" fmla="*/ 3242385 w 3246150"/>
                  <a:gd name="connsiteY2" fmla="*/ 1601628 h 3299210"/>
                  <a:gd name="connsiteX3" fmla="*/ 2643296 w 3246150"/>
                  <a:gd name="connsiteY3" fmla="*/ 46404 h 3299210"/>
                  <a:gd name="connsiteX4" fmla="*/ 1383027 w 3246150"/>
                  <a:gd name="connsiteY4" fmla="*/ 308655 h 3299210"/>
                  <a:gd name="connsiteX5" fmla="*/ 72158 w 3246150"/>
                  <a:gd name="connsiteY5" fmla="*/ 576844 h 3299210"/>
                  <a:gd name="connsiteX6" fmla="*/ 149908 w 3246150"/>
                  <a:gd name="connsiteY6" fmla="*/ 1770779 h 3299210"/>
                  <a:gd name="connsiteX7" fmla="*/ 635458 w 3246150"/>
                  <a:gd name="connsiteY7" fmla="*/ 3092214 h 3299210"/>
                  <a:gd name="connsiteX8" fmla="*/ 1832864 w 3246150"/>
                  <a:gd name="connsiteY8" fmla="*/ 3281266 h 3299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6150" h="3299210">
                    <a:moveTo>
                      <a:pt x="1832787" y="3281344"/>
                    </a:moveTo>
                    <a:cubicBezTo>
                      <a:pt x="2315329" y="3216707"/>
                      <a:pt x="2418069" y="2743421"/>
                      <a:pt x="2655021" y="2358915"/>
                    </a:cubicBezTo>
                    <a:cubicBezTo>
                      <a:pt x="2837131" y="2063420"/>
                      <a:pt x="3292059" y="1972558"/>
                      <a:pt x="3242385" y="1601628"/>
                    </a:cubicBezTo>
                    <a:cubicBezTo>
                      <a:pt x="3177285" y="1115693"/>
                      <a:pt x="3031967" y="282661"/>
                      <a:pt x="2643296" y="46404"/>
                    </a:cubicBezTo>
                    <a:cubicBezTo>
                      <a:pt x="2349344" y="-132312"/>
                      <a:pt x="1750487" y="259367"/>
                      <a:pt x="1383027" y="308655"/>
                    </a:cubicBezTo>
                    <a:cubicBezTo>
                      <a:pt x="898866" y="373523"/>
                      <a:pt x="308801" y="190333"/>
                      <a:pt x="72158" y="576844"/>
                    </a:cubicBezTo>
                    <a:cubicBezTo>
                      <a:pt x="-108255" y="871568"/>
                      <a:pt x="100466" y="1401546"/>
                      <a:pt x="149908" y="1770779"/>
                    </a:cubicBezTo>
                    <a:cubicBezTo>
                      <a:pt x="214005" y="2249233"/>
                      <a:pt x="255965" y="2854492"/>
                      <a:pt x="635458" y="3092214"/>
                    </a:cubicBezTo>
                    <a:cubicBezTo>
                      <a:pt x="932804" y="3278490"/>
                      <a:pt x="1457845" y="3331557"/>
                      <a:pt x="1832864" y="328126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70" name="Graphic 5">
              <a:extLst>
                <a:ext uri="{FF2B5EF4-FFF2-40B4-BE49-F238E27FC236}">
                  <a16:creationId xmlns:a16="http://schemas.microsoft.com/office/drawing/2014/main" id="{707989FC-9CB7-39B5-70C8-08320FA55F59}"/>
                </a:ext>
              </a:extLst>
            </p:cNvPr>
            <p:cNvGrpSpPr/>
            <p:nvPr/>
          </p:nvGrpSpPr>
          <p:grpSpPr>
            <a:xfrm rot="180525">
              <a:off x="-597053" y="441139"/>
              <a:ext cx="6472770" cy="6313556"/>
              <a:chOff x="4270587" y="2574268"/>
              <a:chExt cx="3544376" cy="3457192"/>
            </a:xfrm>
            <a:noFill/>
          </p:grpSpPr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3B4CA93E-078F-FE3C-684A-3562ABE540AE}"/>
                  </a:ext>
                </a:extLst>
              </p:cNvPr>
              <p:cNvSpPr/>
              <p:nvPr/>
            </p:nvSpPr>
            <p:spPr>
              <a:xfrm>
                <a:off x="4270587" y="2606803"/>
                <a:ext cx="3544376" cy="3424657"/>
              </a:xfrm>
              <a:custGeom>
                <a:avLst/>
                <a:gdLst>
                  <a:gd name="connsiteX0" fmla="*/ 3338832 w 3544376"/>
                  <a:gd name="connsiteY0" fmla="*/ 932573 h 3424657"/>
                  <a:gd name="connsiteX1" fmla="*/ 2419102 w 3544376"/>
                  <a:gd name="connsiteY1" fmla="*/ 117205 h 3424657"/>
                  <a:gd name="connsiteX2" fmla="*/ 1318575 w 3544376"/>
                  <a:gd name="connsiteY2" fmla="*/ 80027 h 3424657"/>
                  <a:gd name="connsiteX3" fmla="*/ 8709 w 3544376"/>
                  <a:gd name="connsiteY3" fmla="*/ 1110518 h 3424657"/>
                  <a:gd name="connsiteX4" fmla="*/ 630398 w 3544376"/>
                  <a:gd name="connsiteY4" fmla="*/ 2237733 h 3424657"/>
                  <a:gd name="connsiteX5" fmla="*/ 1272758 w 3544376"/>
                  <a:gd name="connsiteY5" fmla="*/ 3411536 h 3424657"/>
                  <a:gd name="connsiteX6" fmla="*/ 2390872 w 3544376"/>
                  <a:gd name="connsiteY6" fmla="*/ 2985687 h 3424657"/>
                  <a:gd name="connsiteX7" fmla="*/ 3510760 w 3544376"/>
                  <a:gd name="connsiteY7" fmla="*/ 2132601 h 3424657"/>
                  <a:gd name="connsiteX8" fmla="*/ 3338908 w 3544376"/>
                  <a:gd name="connsiteY8" fmla="*/ 932650 h 342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44376" h="3424657">
                    <a:moveTo>
                      <a:pt x="3338832" y="932573"/>
                    </a:moveTo>
                    <a:cubicBezTo>
                      <a:pt x="3134970" y="490449"/>
                      <a:pt x="2856290" y="230435"/>
                      <a:pt x="2419102" y="117205"/>
                    </a:cubicBezTo>
                    <a:cubicBezTo>
                      <a:pt x="2083036" y="30199"/>
                      <a:pt x="1658344" y="-76630"/>
                      <a:pt x="1318575" y="80027"/>
                    </a:cubicBezTo>
                    <a:cubicBezTo>
                      <a:pt x="873365" y="285354"/>
                      <a:pt x="120088" y="669551"/>
                      <a:pt x="8709" y="1110518"/>
                    </a:cubicBezTo>
                    <a:cubicBezTo>
                      <a:pt x="-75520" y="1444039"/>
                      <a:pt x="475130" y="1900972"/>
                      <a:pt x="630398" y="2237733"/>
                    </a:cubicBezTo>
                    <a:cubicBezTo>
                      <a:pt x="834953" y="2681323"/>
                      <a:pt x="833642" y="3299231"/>
                      <a:pt x="1272758" y="3411536"/>
                    </a:cubicBezTo>
                    <a:cubicBezTo>
                      <a:pt x="1607591" y="3497153"/>
                      <a:pt x="2052568" y="3141650"/>
                      <a:pt x="2390872" y="2985687"/>
                    </a:cubicBezTo>
                    <a:cubicBezTo>
                      <a:pt x="2829217" y="2783523"/>
                      <a:pt x="3395293" y="2565161"/>
                      <a:pt x="3510760" y="2132601"/>
                    </a:cubicBezTo>
                    <a:cubicBezTo>
                      <a:pt x="3601236" y="1793527"/>
                      <a:pt x="3497339" y="1276198"/>
                      <a:pt x="3338908" y="93265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6A8BD461-C29C-F2C3-9B3D-07F41E9FFAE1}"/>
                  </a:ext>
                </a:extLst>
              </p:cNvPr>
              <p:cNvSpPr/>
              <p:nvPr/>
            </p:nvSpPr>
            <p:spPr>
              <a:xfrm>
                <a:off x="4311149" y="2610445"/>
                <a:ext cx="3481515" cy="3380560"/>
              </a:xfrm>
              <a:custGeom>
                <a:avLst/>
                <a:gdLst>
                  <a:gd name="connsiteX0" fmla="*/ 2384788 w 3481515"/>
                  <a:gd name="connsiteY0" fmla="*/ 2986674 h 3380560"/>
                  <a:gd name="connsiteX1" fmla="*/ 3435796 w 3481515"/>
                  <a:gd name="connsiteY1" fmla="*/ 2123946 h 3380560"/>
                  <a:gd name="connsiteX2" fmla="*/ 3309068 w 3481515"/>
                  <a:gd name="connsiteY2" fmla="*/ 911268 h 3380560"/>
                  <a:gd name="connsiteX3" fmla="*/ 2359797 w 3481515"/>
                  <a:gd name="connsiteY3" fmla="*/ 156988 h 3380560"/>
                  <a:gd name="connsiteX4" fmla="*/ 1222399 w 3481515"/>
                  <a:gd name="connsiteY4" fmla="*/ 71757 h 3380560"/>
                  <a:gd name="connsiteX5" fmla="*/ 10492 w 3481515"/>
                  <a:gd name="connsiteY5" fmla="*/ 1123691 h 3380560"/>
                  <a:gd name="connsiteX6" fmla="*/ 573097 w 3481515"/>
                  <a:gd name="connsiteY6" fmla="*/ 2302662 h 3380560"/>
                  <a:gd name="connsiteX7" fmla="*/ 1256646 w 3481515"/>
                  <a:gd name="connsiteY7" fmla="*/ 3364546 h 3380560"/>
                  <a:gd name="connsiteX8" fmla="*/ 2384788 w 3481515"/>
                  <a:gd name="connsiteY8" fmla="*/ 2986674 h 3380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1515" h="3380560">
                    <a:moveTo>
                      <a:pt x="2384788" y="2986674"/>
                    </a:moveTo>
                    <a:cubicBezTo>
                      <a:pt x="2808400" y="2782658"/>
                      <a:pt x="3322257" y="2550489"/>
                      <a:pt x="3435796" y="2123946"/>
                    </a:cubicBezTo>
                    <a:cubicBezTo>
                      <a:pt x="3529127" y="1772916"/>
                      <a:pt x="3475983" y="1257439"/>
                      <a:pt x="3309068" y="911268"/>
                    </a:cubicBezTo>
                    <a:cubicBezTo>
                      <a:pt x="3103355" y="484725"/>
                      <a:pt x="2790197" y="268368"/>
                      <a:pt x="2359797" y="156988"/>
                    </a:cubicBezTo>
                    <a:cubicBezTo>
                      <a:pt x="2011157" y="66743"/>
                      <a:pt x="1565254" y="-93770"/>
                      <a:pt x="1222399" y="71757"/>
                    </a:cubicBezTo>
                    <a:cubicBezTo>
                      <a:pt x="793465" y="278935"/>
                      <a:pt x="120175" y="690129"/>
                      <a:pt x="10492" y="1123691"/>
                    </a:cubicBezTo>
                    <a:cubicBezTo>
                      <a:pt x="-77208" y="1469862"/>
                      <a:pt x="408959" y="1962662"/>
                      <a:pt x="573097" y="2302662"/>
                    </a:cubicBezTo>
                    <a:cubicBezTo>
                      <a:pt x="779581" y="2730362"/>
                      <a:pt x="824704" y="3254015"/>
                      <a:pt x="1256646" y="3364546"/>
                    </a:cubicBezTo>
                    <a:cubicBezTo>
                      <a:pt x="1603512" y="3453403"/>
                      <a:pt x="2043630" y="3150966"/>
                      <a:pt x="2384788" y="298667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5E9CA933-6F45-F187-A7FF-7247E35C5C60}"/>
                  </a:ext>
                </a:extLst>
              </p:cNvPr>
              <p:cNvSpPr/>
              <p:nvPr/>
            </p:nvSpPr>
            <p:spPr>
              <a:xfrm>
                <a:off x="4351228" y="2611075"/>
                <a:ext cx="3424905" cy="3340311"/>
              </a:xfrm>
              <a:custGeom>
                <a:avLst/>
                <a:gdLst>
                  <a:gd name="connsiteX0" fmla="*/ 2379187 w 3424905"/>
                  <a:gd name="connsiteY0" fmla="*/ 2990672 h 3340311"/>
                  <a:gd name="connsiteX1" fmla="*/ 3361317 w 3424905"/>
                  <a:gd name="connsiteY1" fmla="*/ 2118303 h 3340311"/>
                  <a:gd name="connsiteX2" fmla="*/ 3279788 w 3424905"/>
                  <a:gd name="connsiteY2" fmla="*/ 892974 h 3340311"/>
                  <a:gd name="connsiteX3" fmla="*/ 2300975 w 3424905"/>
                  <a:gd name="connsiteY3" fmla="*/ 199707 h 3340311"/>
                  <a:gd name="connsiteX4" fmla="*/ 1126708 w 3424905"/>
                  <a:gd name="connsiteY4" fmla="*/ 66422 h 3340311"/>
                  <a:gd name="connsiteX5" fmla="*/ 12759 w 3424905"/>
                  <a:gd name="connsiteY5" fmla="*/ 1139722 h 3340311"/>
                  <a:gd name="connsiteX6" fmla="*/ 516204 w 3424905"/>
                  <a:gd name="connsiteY6" fmla="*/ 2370449 h 3340311"/>
                  <a:gd name="connsiteX7" fmla="*/ 1241019 w 3424905"/>
                  <a:gd name="connsiteY7" fmla="*/ 3320491 h 3340311"/>
                  <a:gd name="connsiteX8" fmla="*/ 2379265 w 3424905"/>
                  <a:gd name="connsiteY8" fmla="*/ 2990594 h 3340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24905" h="3340311">
                    <a:moveTo>
                      <a:pt x="2379187" y="2990672"/>
                    </a:moveTo>
                    <a:cubicBezTo>
                      <a:pt x="2788222" y="2785113"/>
                      <a:pt x="3249628" y="2538829"/>
                      <a:pt x="3361317" y="2118303"/>
                    </a:cubicBezTo>
                    <a:cubicBezTo>
                      <a:pt x="3457501" y="1755239"/>
                      <a:pt x="3455341" y="1241614"/>
                      <a:pt x="3279788" y="892974"/>
                    </a:cubicBezTo>
                    <a:cubicBezTo>
                      <a:pt x="3072686" y="481781"/>
                      <a:pt x="2724587" y="309389"/>
                      <a:pt x="2300975" y="199707"/>
                    </a:cubicBezTo>
                    <a:cubicBezTo>
                      <a:pt x="1939763" y="106145"/>
                      <a:pt x="1472571" y="-108206"/>
                      <a:pt x="1126708" y="66422"/>
                    </a:cubicBezTo>
                    <a:cubicBezTo>
                      <a:pt x="713895" y="274988"/>
                      <a:pt x="120745" y="713641"/>
                      <a:pt x="12759" y="1139722"/>
                    </a:cubicBezTo>
                    <a:cubicBezTo>
                      <a:pt x="-78411" y="1498619"/>
                      <a:pt x="342964" y="2027286"/>
                      <a:pt x="516204" y="2370449"/>
                    </a:cubicBezTo>
                    <a:cubicBezTo>
                      <a:pt x="724076" y="2782414"/>
                      <a:pt x="816250" y="3211657"/>
                      <a:pt x="1241019" y="3320491"/>
                    </a:cubicBezTo>
                    <a:cubicBezTo>
                      <a:pt x="1599917" y="3412587"/>
                      <a:pt x="2035176" y="3163449"/>
                      <a:pt x="2379265" y="299059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BD7CD99C-00B4-0EE0-E4BA-3B9A215B0CF2}"/>
                  </a:ext>
                </a:extLst>
              </p:cNvPr>
              <p:cNvSpPr/>
              <p:nvPr/>
            </p:nvSpPr>
            <p:spPr>
              <a:xfrm>
                <a:off x="4390546" y="2609845"/>
                <a:ext cx="3375801" cy="3303429"/>
              </a:xfrm>
              <a:custGeom>
                <a:avLst/>
                <a:gdLst>
                  <a:gd name="connsiteX0" fmla="*/ 2374347 w 3375801"/>
                  <a:gd name="connsiteY0" fmla="*/ 2996529 h 3303429"/>
                  <a:gd name="connsiteX1" fmla="*/ 3287597 w 3375801"/>
                  <a:gd name="connsiteY1" fmla="*/ 2114518 h 3303429"/>
                  <a:gd name="connsiteX2" fmla="*/ 3251191 w 3375801"/>
                  <a:gd name="connsiteY2" fmla="*/ 876541 h 3303429"/>
                  <a:gd name="connsiteX3" fmla="*/ 2242836 w 3375801"/>
                  <a:gd name="connsiteY3" fmla="*/ 244285 h 3303429"/>
                  <a:gd name="connsiteX4" fmla="*/ 1031700 w 3375801"/>
                  <a:gd name="connsiteY4" fmla="*/ 62946 h 3303429"/>
                  <a:gd name="connsiteX5" fmla="*/ 15710 w 3375801"/>
                  <a:gd name="connsiteY5" fmla="*/ 1157689 h 3303429"/>
                  <a:gd name="connsiteX6" fmla="*/ 459993 w 3375801"/>
                  <a:gd name="connsiteY6" fmla="*/ 2440249 h 3303429"/>
                  <a:gd name="connsiteX7" fmla="*/ 1226074 w 3375801"/>
                  <a:gd name="connsiteY7" fmla="*/ 3278449 h 3303429"/>
                  <a:gd name="connsiteX8" fmla="*/ 2374347 w 3375801"/>
                  <a:gd name="connsiteY8" fmla="*/ 2996529 h 330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5801" h="3303429">
                    <a:moveTo>
                      <a:pt x="2374347" y="2996529"/>
                    </a:moveTo>
                    <a:cubicBezTo>
                      <a:pt x="2768881" y="2789891"/>
                      <a:pt x="3177760" y="2529029"/>
                      <a:pt x="3287597" y="2114518"/>
                    </a:cubicBezTo>
                    <a:cubicBezTo>
                      <a:pt x="3386712" y="1739423"/>
                      <a:pt x="3435692" y="1227571"/>
                      <a:pt x="3251191" y="876541"/>
                    </a:cubicBezTo>
                    <a:cubicBezTo>
                      <a:pt x="3043087" y="480619"/>
                      <a:pt x="2659584" y="352193"/>
                      <a:pt x="2242836" y="244285"/>
                    </a:cubicBezTo>
                    <a:cubicBezTo>
                      <a:pt x="1869052" y="147483"/>
                      <a:pt x="1380494" y="-121092"/>
                      <a:pt x="1031700" y="62946"/>
                    </a:cubicBezTo>
                    <a:cubicBezTo>
                      <a:pt x="634776" y="272438"/>
                      <a:pt x="121999" y="739090"/>
                      <a:pt x="15710" y="1157689"/>
                    </a:cubicBezTo>
                    <a:cubicBezTo>
                      <a:pt x="-78932" y="1529236"/>
                      <a:pt x="277421" y="2093847"/>
                      <a:pt x="459993" y="2440249"/>
                    </a:cubicBezTo>
                    <a:cubicBezTo>
                      <a:pt x="668869" y="2836556"/>
                      <a:pt x="808402" y="3171312"/>
                      <a:pt x="1226074" y="3278449"/>
                    </a:cubicBezTo>
                    <a:cubicBezTo>
                      <a:pt x="1597005" y="3373785"/>
                      <a:pt x="2027559" y="3178176"/>
                      <a:pt x="2374347" y="29965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685E811B-1E63-1799-B3A3-B1707B546A90}"/>
                  </a:ext>
                </a:extLst>
              </p:cNvPr>
              <p:cNvSpPr/>
              <p:nvPr/>
            </p:nvSpPr>
            <p:spPr>
              <a:xfrm>
                <a:off x="4428860" y="2607348"/>
                <a:ext cx="3333638" cy="3269772"/>
              </a:xfrm>
              <a:custGeom>
                <a:avLst/>
                <a:gdLst>
                  <a:gd name="connsiteX0" fmla="*/ 2370512 w 3333638"/>
                  <a:gd name="connsiteY0" fmla="*/ 3003654 h 3269772"/>
                  <a:gd name="connsiteX1" fmla="*/ 3214806 w 3333638"/>
                  <a:gd name="connsiteY1" fmla="*/ 2112002 h 3269772"/>
                  <a:gd name="connsiteX2" fmla="*/ 3223522 w 3333638"/>
                  <a:gd name="connsiteY2" fmla="*/ 861297 h 3269772"/>
                  <a:gd name="connsiteX3" fmla="*/ 2185625 w 3333638"/>
                  <a:gd name="connsiteY3" fmla="*/ 290053 h 3269772"/>
                  <a:gd name="connsiteX4" fmla="*/ 937697 w 3333638"/>
                  <a:gd name="connsiteY4" fmla="*/ 60738 h 3269772"/>
                  <a:gd name="connsiteX5" fmla="*/ 19665 w 3333638"/>
                  <a:gd name="connsiteY5" fmla="*/ 1176924 h 3269772"/>
                  <a:gd name="connsiteX6" fmla="*/ 404865 w 3333638"/>
                  <a:gd name="connsiteY6" fmla="*/ 2511240 h 3269772"/>
                  <a:gd name="connsiteX7" fmla="*/ 1212212 w 3333638"/>
                  <a:gd name="connsiteY7" fmla="*/ 3237597 h 3269772"/>
                  <a:gd name="connsiteX8" fmla="*/ 2370512 w 3333638"/>
                  <a:gd name="connsiteY8" fmla="*/ 3003654 h 3269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638" h="3269772">
                    <a:moveTo>
                      <a:pt x="2370512" y="3003654"/>
                    </a:moveTo>
                    <a:cubicBezTo>
                      <a:pt x="2750699" y="2796245"/>
                      <a:pt x="3106897" y="2520419"/>
                      <a:pt x="3214806" y="2112002"/>
                    </a:cubicBezTo>
                    <a:cubicBezTo>
                      <a:pt x="3316775" y="1724873"/>
                      <a:pt x="3417279" y="1214719"/>
                      <a:pt x="3223522" y="861297"/>
                    </a:cubicBezTo>
                    <a:cubicBezTo>
                      <a:pt x="3014800" y="480494"/>
                      <a:pt x="2595585" y="396265"/>
                      <a:pt x="2185625" y="290053"/>
                    </a:cubicBezTo>
                    <a:cubicBezTo>
                      <a:pt x="1799191" y="189935"/>
                      <a:pt x="1289268" y="-133019"/>
                      <a:pt x="937697" y="60738"/>
                    </a:cubicBezTo>
                    <a:cubicBezTo>
                      <a:pt x="556508" y="270770"/>
                      <a:pt x="124334" y="765730"/>
                      <a:pt x="19665" y="1176924"/>
                    </a:cubicBezTo>
                    <a:cubicBezTo>
                      <a:pt x="-78448" y="1561121"/>
                      <a:pt x="212651" y="2161829"/>
                      <a:pt x="404865" y="2511240"/>
                    </a:cubicBezTo>
                    <a:cubicBezTo>
                      <a:pt x="614357" y="2892120"/>
                      <a:pt x="801635" y="3132157"/>
                      <a:pt x="1212212" y="3237597"/>
                    </a:cubicBezTo>
                    <a:cubicBezTo>
                      <a:pt x="1595175" y="3336095"/>
                      <a:pt x="2021102" y="3194326"/>
                      <a:pt x="2370512" y="30036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6D7D9DEA-A877-5672-3FB3-0DE67EE5DC42}"/>
                  </a:ext>
                </a:extLst>
              </p:cNvPr>
              <p:cNvSpPr/>
              <p:nvPr/>
            </p:nvSpPr>
            <p:spPr>
              <a:xfrm>
                <a:off x="4465597" y="2604029"/>
                <a:ext cx="3297610" cy="3240257"/>
              </a:xfrm>
              <a:custGeom>
                <a:avLst/>
                <a:gdLst>
                  <a:gd name="connsiteX0" fmla="*/ 2368253 w 3297610"/>
                  <a:gd name="connsiteY0" fmla="*/ 3011601 h 3240257"/>
                  <a:gd name="connsiteX1" fmla="*/ 3143667 w 3297610"/>
                  <a:gd name="connsiteY1" fmla="*/ 2110307 h 3240257"/>
                  <a:gd name="connsiteX2" fmla="*/ 3197583 w 3297610"/>
                  <a:gd name="connsiteY2" fmla="*/ 846953 h 3240257"/>
                  <a:gd name="connsiteX3" fmla="*/ 2130145 w 3297610"/>
                  <a:gd name="connsiteY3" fmla="*/ 336721 h 3240257"/>
                  <a:gd name="connsiteX4" fmla="*/ 845347 w 3297610"/>
                  <a:gd name="connsiteY4" fmla="*/ 59352 h 3240257"/>
                  <a:gd name="connsiteX5" fmla="*/ 25197 w 3297610"/>
                  <a:gd name="connsiteY5" fmla="*/ 1196981 h 3240257"/>
                  <a:gd name="connsiteX6" fmla="*/ 351236 w 3297610"/>
                  <a:gd name="connsiteY6" fmla="*/ 2583130 h 3240257"/>
                  <a:gd name="connsiteX7" fmla="*/ 1199772 w 3297610"/>
                  <a:gd name="connsiteY7" fmla="*/ 3197645 h 3240257"/>
                  <a:gd name="connsiteX8" fmla="*/ 2368176 w 3297610"/>
                  <a:gd name="connsiteY8" fmla="*/ 3011756 h 3240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7610" h="3240257">
                    <a:moveTo>
                      <a:pt x="2368253" y="3011601"/>
                    </a:moveTo>
                    <a:cubicBezTo>
                      <a:pt x="2734325" y="2803729"/>
                      <a:pt x="3037610" y="2512708"/>
                      <a:pt x="3143667" y="2110307"/>
                    </a:cubicBezTo>
                    <a:cubicBezTo>
                      <a:pt x="3248491" y="1711146"/>
                      <a:pt x="3400750" y="1202611"/>
                      <a:pt x="3197583" y="846953"/>
                    </a:cubicBezTo>
                    <a:cubicBezTo>
                      <a:pt x="2988554" y="481113"/>
                      <a:pt x="2533317" y="441159"/>
                      <a:pt x="2130145" y="336721"/>
                    </a:cubicBezTo>
                    <a:cubicBezTo>
                      <a:pt x="1731138" y="233364"/>
                      <a:pt x="1199617" y="-144355"/>
                      <a:pt x="845347" y="59352"/>
                    </a:cubicBezTo>
                    <a:cubicBezTo>
                      <a:pt x="479739" y="269539"/>
                      <a:pt x="128246" y="793269"/>
                      <a:pt x="25197" y="1196981"/>
                    </a:cubicBezTo>
                    <a:cubicBezTo>
                      <a:pt x="-76464" y="1593828"/>
                      <a:pt x="149149" y="2230788"/>
                      <a:pt x="351236" y="2583130"/>
                    </a:cubicBezTo>
                    <a:cubicBezTo>
                      <a:pt x="560960" y="2948739"/>
                      <a:pt x="796368" y="3093902"/>
                      <a:pt x="1199772" y="3197645"/>
                    </a:cubicBezTo>
                    <a:cubicBezTo>
                      <a:pt x="1594768" y="3299383"/>
                      <a:pt x="2016143" y="3211683"/>
                      <a:pt x="2368176" y="301175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1DCB3E3B-6BD5-4393-1780-ABCFD14DC1F1}"/>
                  </a:ext>
                </a:extLst>
              </p:cNvPr>
              <p:cNvSpPr/>
              <p:nvPr/>
            </p:nvSpPr>
            <p:spPr>
              <a:xfrm>
                <a:off x="4499869" y="2600116"/>
                <a:ext cx="3267148" cy="3216006"/>
              </a:xfrm>
              <a:custGeom>
                <a:avLst/>
                <a:gdLst>
                  <a:gd name="connsiteX0" fmla="*/ 2368459 w 3267148"/>
                  <a:gd name="connsiteY0" fmla="*/ 3020220 h 3216006"/>
                  <a:gd name="connsiteX1" fmla="*/ 3074994 w 3267148"/>
                  <a:gd name="connsiteY1" fmla="*/ 2109207 h 3216006"/>
                  <a:gd name="connsiteX2" fmla="*/ 3174032 w 3267148"/>
                  <a:gd name="connsiteY2" fmla="*/ 833203 h 3216006"/>
                  <a:gd name="connsiteX3" fmla="*/ 2077052 w 3267148"/>
                  <a:gd name="connsiteY3" fmla="*/ 384060 h 3216006"/>
                  <a:gd name="connsiteX4" fmla="*/ 755385 w 3267148"/>
                  <a:gd name="connsiteY4" fmla="*/ 58637 h 3216006"/>
                  <a:gd name="connsiteX5" fmla="*/ 33193 w 3267148"/>
                  <a:gd name="connsiteY5" fmla="*/ 1217631 h 3216006"/>
                  <a:gd name="connsiteX6" fmla="*/ 300072 w 3267148"/>
                  <a:gd name="connsiteY6" fmla="*/ 2655537 h 3216006"/>
                  <a:gd name="connsiteX7" fmla="*/ 1189873 w 3267148"/>
                  <a:gd name="connsiteY7" fmla="*/ 3158209 h 3216006"/>
                  <a:gd name="connsiteX8" fmla="*/ 2368305 w 3267148"/>
                  <a:gd name="connsiteY8" fmla="*/ 3020297 h 3216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7148" h="3216006">
                    <a:moveTo>
                      <a:pt x="2368459" y="3020220"/>
                    </a:moveTo>
                    <a:cubicBezTo>
                      <a:pt x="2720493" y="2812193"/>
                      <a:pt x="2970787" y="2505668"/>
                      <a:pt x="3074994" y="2109207"/>
                    </a:cubicBezTo>
                    <a:cubicBezTo>
                      <a:pt x="3182748" y="1698013"/>
                      <a:pt x="3386995" y="1190866"/>
                      <a:pt x="3174032" y="833203"/>
                    </a:cubicBezTo>
                    <a:cubicBezTo>
                      <a:pt x="2965002" y="482095"/>
                      <a:pt x="2473360" y="486646"/>
                      <a:pt x="2077052" y="384060"/>
                    </a:cubicBezTo>
                    <a:cubicBezTo>
                      <a:pt x="1665473" y="277462"/>
                      <a:pt x="1112201" y="-155406"/>
                      <a:pt x="755385" y="58637"/>
                    </a:cubicBezTo>
                    <a:cubicBezTo>
                      <a:pt x="405203" y="268669"/>
                      <a:pt x="134545" y="821401"/>
                      <a:pt x="33193" y="1217631"/>
                    </a:cubicBezTo>
                    <a:cubicBezTo>
                      <a:pt x="-71939" y="1627205"/>
                      <a:pt x="87803" y="2300495"/>
                      <a:pt x="300072" y="2655537"/>
                    </a:cubicBezTo>
                    <a:cubicBezTo>
                      <a:pt x="509718" y="3006104"/>
                      <a:pt x="793566" y="3056163"/>
                      <a:pt x="1189873" y="3158209"/>
                    </a:cubicBezTo>
                    <a:cubicBezTo>
                      <a:pt x="1596979" y="3263187"/>
                      <a:pt x="2013881" y="3229711"/>
                      <a:pt x="2368305" y="302029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97FF6D8B-441A-49E8-228B-F0CAF3E3244C}"/>
                  </a:ext>
                </a:extLst>
              </p:cNvPr>
              <p:cNvSpPr/>
              <p:nvPr/>
            </p:nvSpPr>
            <p:spPr>
              <a:xfrm>
                <a:off x="4530202" y="2595585"/>
                <a:ext cx="3242767" cy="3198539"/>
              </a:xfrm>
              <a:custGeom>
                <a:avLst/>
                <a:gdLst>
                  <a:gd name="connsiteX0" fmla="*/ 2372604 w 3242767"/>
                  <a:gd name="connsiteY0" fmla="*/ 3029379 h 3198539"/>
                  <a:gd name="connsiteX1" fmla="*/ 3010259 w 3242767"/>
                  <a:gd name="connsiteY1" fmla="*/ 2108724 h 3198539"/>
                  <a:gd name="connsiteX2" fmla="*/ 3154497 w 3242767"/>
                  <a:gd name="connsiteY2" fmla="*/ 819993 h 3198539"/>
                  <a:gd name="connsiteX3" fmla="*/ 2027976 w 3242767"/>
                  <a:gd name="connsiteY3" fmla="*/ 431862 h 3198539"/>
                  <a:gd name="connsiteX4" fmla="*/ 669516 w 3242767"/>
                  <a:gd name="connsiteY4" fmla="*/ 58386 h 3198539"/>
                  <a:gd name="connsiteX5" fmla="*/ 45282 w 3242767"/>
                  <a:gd name="connsiteY5" fmla="*/ 1238823 h 3198539"/>
                  <a:gd name="connsiteX6" fmla="*/ 253078 w 3242767"/>
                  <a:gd name="connsiteY6" fmla="*/ 2728484 h 3198539"/>
                  <a:gd name="connsiteX7" fmla="*/ 1184145 w 3242767"/>
                  <a:gd name="connsiteY7" fmla="*/ 3119315 h 3198539"/>
                  <a:gd name="connsiteX8" fmla="*/ 2372681 w 3242767"/>
                  <a:gd name="connsiteY8" fmla="*/ 3029379 h 319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2767" h="3198539">
                    <a:moveTo>
                      <a:pt x="2372604" y="3029379"/>
                    </a:moveTo>
                    <a:cubicBezTo>
                      <a:pt x="2710831" y="2821429"/>
                      <a:pt x="2907904" y="2499092"/>
                      <a:pt x="3010259" y="2108724"/>
                    </a:cubicBezTo>
                    <a:cubicBezTo>
                      <a:pt x="3120867" y="1685498"/>
                      <a:pt x="3377488" y="1179585"/>
                      <a:pt x="3154497" y="819993"/>
                    </a:cubicBezTo>
                    <a:cubicBezTo>
                      <a:pt x="2945776" y="483464"/>
                      <a:pt x="2417495" y="532752"/>
                      <a:pt x="2027976" y="431862"/>
                    </a:cubicBezTo>
                    <a:cubicBezTo>
                      <a:pt x="1603746" y="321948"/>
                      <a:pt x="1028569" y="-166224"/>
                      <a:pt x="669516" y="58386"/>
                    </a:cubicBezTo>
                    <a:cubicBezTo>
                      <a:pt x="334530" y="267878"/>
                      <a:pt x="144938" y="850075"/>
                      <a:pt x="45282" y="1238823"/>
                    </a:cubicBezTo>
                    <a:cubicBezTo>
                      <a:pt x="-63320" y="1661047"/>
                      <a:pt x="30241" y="2370898"/>
                      <a:pt x="253078" y="2728484"/>
                    </a:cubicBezTo>
                    <a:cubicBezTo>
                      <a:pt x="462261" y="3064165"/>
                      <a:pt x="795011" y="3018966"/>
                      <a:pt x="1184145" y="3119315"/>
                    </a:cubicBezTo>
                    <a:cubicBezTo>
                      <a:pt x="1603283" y="3227532"/>
                      <a:pt x="2015943" y="3248666"/>
                      <a:pt x="2372681" y="30293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F1788A78-43A4-6323-EA17-EADB56DD08D3}"/>
                  </a:ext>
                </a:extLst>
              </p:cNvPr>
              <p:cNvSpPr/>
              <p:nvPr/>
            </p:nvSpPr>
            <p:spPr>
              <a:xfrm>
                <a:off x="4553971" y="2590726"/>
                <a:ext cx="3226504" cy="3187950"/>
              </a:xfrm>
              <a:custGeom>
                <a:avLst/>
                <a:gdLst>
                  <a:gd name="connsiteX0" fmla="*/ 2383391 w 3226504"/>
                  <a:gd name="connsiteY0" fmla="*/ 3038865 h 3187950"/>
                  <a:gd name="connsiteX1" fmla="*/ 2952166 w 3226504"/>
                  <a:gd name="connsiteY1" fmla="*/ 2108570 h 3187950"/>
                  <a:gd name="connsiteX2" fmla="*/ 3141527 w 3226504"/>
                  <a:gd name="connsiteY2" fmla="*/ 807189 h 3187950"/>
                  <a:gd name="connsiteX3" fmla="*/ 1985463 w 3226504"/>
                  <a:gd name="connsiteY3" fmla="*/ 480070 h 3187950"/>
                  <a:gd name="connsiteX4" fmla="*/ 590135 w 3226504"/>
                  <a:gd name="connsiteY4" fmla="*/ 58540 h 3187950"/>
                  <a:gd name="connsiteX5" fmla="*/ 63859 w 3226504"/>
                  <a:gd name="connsiteY5" fmla="*/ 1260420 h 3187950"/>
                  <a:gd name="connsiteX6" fmla="*/ 212494 w 3226504"/>
                  <a:gd name="connsiteY6" fmla="*/ 2801914 h 3187950"/>
                  <a:gd name="connsiteX7" fmla="*/ 1184827 w 3226504"/>
                  <a:gd name="connsiteY7" fmla="*/ 3080825 h 3187950"/>
                  <a:gd name="connsiteX8" fmla="*/ 2383391 w 3226504"/>
                  <a:gd name="connsiteY8" fmla="*/ 3038865 h 3187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6504" h="3187950">
                    <a:moveTo>
                      <a:pt x="2383391" y="3038865"/>
                    </a:moveTo>
                    <a:cubicBezTo>
                      <a:pt x="2707964" y="2831302"/>
                      <a:pt x="2851740" y="2492921"/>
                      <a:pt x="2952166" y="2108570"/>
                    </a:cubicBezTo>
                    <a:cubicBezTo>
                      <a:pt x="3065629" y="1673310"/>
                      <a:pt x="3374930" y="1168401"/>
                      <a:pt x="3141527" y="807189"/>
                    </a:cubicBezTo>
                    <a:cubicBezTo>
                      <a:pt x="2933423" y="485083"/>
                      <a:pt x="2368118" y="579185"/>
                      <a:pt x="1985463" y="480070"/>
                    </a:cubicBezTo>
                    <a:cubicBezTo>
                      <a:pt x="1548662" y="366916"/>
                      <a:pt x="951347" y="-177023"/>
                      <a:pt x="590135" y="58540"/>
                    </a:cubicBezTo>
                    <a:cubicBezTo>
                      <a:pt x="270112" y="267261"/>
                      <a:pt x="161818" y="879077"/>
                      <a:pt x="63859" y="1260420"/>
                    </a:cubicBezTo>
                    <a:cubicBezTo>
                      <a:pt x="-48214" y="1695293"/>
                      <a:pt x="-21218" y="2442014"/>
                      <a:pt x="212494" y="2801914"/>
                    </a:cubicBezTo>
                    <a:cubicBezTo>
                      <a:pt x="420983" y="3122940"/>
                      <a:pt x="802790" y="2982250"/>
                      <a:pt x="1184827" y="3080825"/>
                    </a:cubicBezTo>
                    <a:cubicBezTo>
                      <a:pt x="1615998" y="3192205"/>
                      <a:pt x="2024647" y="3268258"/>
                      <a:pt x="2383391" y="303886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717996C7-A6B8-8780-5CD3-240314297E0C}"/>
                  </a:ext>
                </a:extLst>
              </p:cNvPr>
              <p:cNvSpPr/>
              <p:nvPr/>
            </p:nvSpPr>
            <p:spPr>
              <a:xfrm>
                <a:off x="4568996" y="2585529"/>
                <a:ext cx="3220062" cy="3183237"/>
              </a:xfrm>
              <a:custGeom>
                <a:avLst/>
                <a:gdLst>
                  <a:gd name="connsiteX0" fmla="*/ 2402845 w 3220062"/>
                  <a:gd name="connsiteY0" fmla="*/ 3048690 h 3183237"/>
                  <a:gd name="connsiteX1" fmla="*/ 2902741 w 3220062"/>
                  <a:gd name="connsiteY1" fmla="*/ 2108752 h 3183237"/>
                  <a:gd name="connsiteX2" fmla="*/ 3137301 w 3220062"/>
                  <a:gd name="connsiteY2" fmla="*/ 794722 h 3183237"/>
                  <a:gd name="connsiteX3" fmla="*/ 1951696 w 3220062"/>
                  <a:gd name="connsiteY3" fmla="*/ 528615 h 3183237"/>
                  <a:gd name="connsiteX4" fmla="*/ 519498 w 3220062"/>
                  <a:gd name="connsiteY4" fmla="*/ 59031 h 3183237"/>
                  <a:gd name="connsiteX5" fmla="*/ 91104 w 3220062"/>
                  <a:gd name="connsiteY5" fmla="*/ 1282277 h 3183237"/>
                  <a:gd name="connsiteX6" fmla="*/ 180577 w 3220062"/>
                  <a:gd name="connsiteY6" fmla="*/ 2875527 h 3183237"/>
                  <a:gd name="connsiteX7" fmla="*/ 1194100 w 3220062"/>
                  <a:gd name="connsiteY7" fmla="*/ 3042597 h 3183237"/>
                  <a:gd name="connsiteX8" fmla="*/ 2402690 w 3220062"/>
                  <a:gd name="connsiteY8" fmla="*/ 3048690 h 3183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062" h="3183237">
                    <a:moveTo>
                      <a:pt x="2402845" y="3048690"/>
                    </a:moveTo>
                    <a:cubicBezTo>
                      <a:pt x="2713920" y="2841743"/>
                      <a:pt x="2804166" y="2487088"/>
                      <a:pt x="2902741" y="2108752"/>
                    </a:cubicBezTo>
                    <a:cubicBezTo>
                      <a:pt x="3019057" y="1661538"/>
                      <a:pt x="3381426" y="1157322"/>
                      <a:pt x="3137301" y="794722"/>
                    </a:cubicBezTo>
                    <a:cubicBezTo>
                      <a:pt x="2930046" y="486809"/>
                      <a:pt x="2327563" y="626033"/>
                      <a:pt x="1951696" y="528615"/>
                    </a:cubicBezTo>
                    <a:cubicBezTo>
                      <a:pt x="1502322" y="412221"/>
                      <a:pt x="882484" y="-187870"/>
                      <a:pt x="519498" y="59031"/>
                    </a:cubicBezTo>
                    <a:cubicBezTo>
                      <a:pt x="214284" y="266672"/>
                      <a:pt x="187442" y="908415"/>
                      <a:pt x="91104" y="1282277"/>
                    </a:cubicBezTo>
                    <a:cubicBezTo>
                      <a:pt x="-24441" y="1729877"/>
                      <a:pt x="-64396" y="2513621"/>
                      <a:pt x="180577" y="2875527"/>
                    </a:cubicBezTo>
                    <a:cubicBezTo>
                      <a:pt x="388064" y="3182052"/>
                      <a:pt x="819235" y="2945718"/>
                      <a:pt x="1194100" y="3042597"/>
                    </a:cubicBezTo>
                    <a:cubicBezTo>
                      <a:pt x="1637304" y="3157215"/>
                      <a:pt x="2042173" y="3288495"/>
                      <a:pt x="2402690" y="304869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6F4BFABF-D4DB-4E15-7A68-0994F297482F}"/>
                  </a:ext>
                </a:extLst>
              </p:cNvPr>
              <p:cNvSpPr/>
              <p:nvPr/>
            </p:nvSpPr>
            <p:spPr>
              <a:xfrm>
                <a:off x="4575239" y="2579941"/>
                <a:ext cx="3223194" cy="3183120"/>
              </a:xfrm>
              <a:custGeom>
                <a:avLst/>
                <a:gdLst>
                  <a:gd name="connsiteX0" fmla="*/ 2431079 w 3223194"/>
                  <a:gd name="connsiteY0" fmla="*/ 3058906 h 3183120"/>
                  <a:gd name="connsiteX1" fmla="*/ 2862096 w 3223194"/>
                  <a:gd name="connsiteY1" fmla="*/ 2109327 h 3183120"/>
                  <a:gd name="connsiteX2" fmla="*/ 3141779 w 3223194"/>
                  <a:gd name="connsiteY2" fmla="*/ 782570 h 3183120"/>
                  <a:gd name="connsiteX3" fmla="*/ 1926632 w 3223194"/>
                  <a:gd name="connsiteY3" fmla="*/ 577475 h 3183120"/>
                  <a:gd name="connsiteX4" fmla="*/ 457565 w 3223194"/>
                  <a:gd name="connsiteY4" fmla="*/ 59838 h 3183120"/>
                  <a:gd name="connsiteX5" fmla="*/ 127129 w 3223194"/>
                  <a:gd name="connsiteY5" fmla="*/ 1304526 h 3183120"/>
                  <a:gd name="connsiteX6" fmla="*/ 157519 w 3223194"/>
                  <a:gd name="connsiteY6" fmla="*/ 2949610 h 3183120"/>
                  <a:gd name="connsiteX7" fmla="*/ 1212307 w 3223194"/>
                  <a:gd name="connsiteY7" fmla="*/ 3004836 h 3183120"/>
                  <a:gd name="connsiteX8" fmla="*/ 2431002 w 3223194"/>
                  <a:gd name="connsiteY8" fmla="*/ 3058906 h 318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3194" h="3183120">
                    <a:moveTo>
                      <a:pt x="2431079" y="3058906"/>
                    </a:moveTo>
                    <a:cubicBezTo>
                      <a:pt x="2728888" y="2852731"/>
                      <a:pt x="2765372" y="2481646"/>
                      <a:pt x="2862096" y="2109327"/>
                    </a:cubicBezTo>
                    <a:cubicBezTo>
                      <a:pt x="2981343" y="1650080"/>
                      <a:pt x="3397011" y="1146327"/>
                      <a:pt x="3141779" y="782570"/>
                    </a:cubicBezTo>
                    <a:cubicBezTo>
                      <a:pt x="2935526" y="488695"/>
                      <a:pt x="2295712" y="673119"/>
                      <a:pt x="1926632" y="577475"/>
                    </a:cubicBezTo>
                    <a:cubicBezTo>
                      <a:pt x="1464608" y="457765"/>
                      <a:pt x="822016" y="-198865"/>
                      <a:pt x="457565" y="59838"/>
                    </a:cubicBezTo>
                    <a:cubicBezTo>
                      <a:pt x="166852" y="266168"/>
                      <a:pt x="221848" y="938146"/>
                      <a:pt x="127129" y="1304526"/>
                    </a:cubicBezTo>
                    <a:cubicBezTo>
                      <a:pt x="8113" y="1764776"/>
                      <a:pt x="-99178" y="2585930"/>
                      <a:pt x="157519" y="2949610"/>
                    </a:cubicBezTo>
                    <a:cubicBezTo>
                      <a:pt x="363849" y="3241942"/>
                      <a:pt x="844539" y="2909655"/>
                      <a:pt x="1212307" y="3004836"/>
                    </a:cubicBezTo>
                    <a:cubicBezTo>
                      <a:pt x="1667544" y="3122695"/>
                      <a:pt x="2068942" y="3309510"/>
                      <a:pt x="2431002" y="305890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E82FBDC7-31F0-FE85-C85D-100FA3B83416}"/>
                  </a:ext>
                </a:extLst>
              </p:cNvPr>
              <p:cNvSpPr/>
              <p:nvPr/>
            </p:nvSpPr>
            <p:spPr>
              <a:xfrm>
                <a:off x="4574616" y="2574268"/>
                <a:ext cx="3233910" cy="3186151"/>
              </a:xfrm>
              <a:custGeom>
                <a:avLst/>
                <a:gdLst>
                  <a:gd name="connsiteX0" fmla="*/ 2828318 w 3233910"/>
                  <a:gd name="connsiteY0" fmla="*/ 2109987 h 3186151"/>
                  <a:gd name="connsiteX1" fmla="*/ 3153201 w 3233910"/>
                  <a:gd name="connsiteY1" fmla="*/ 770580 h 3186151"/>
                  <a:gd name="connsiteX2" fmla="*/ 1908512 w 3233910"/>
                  <a:gd name="connsiteY2" fmla="*/ 626573 h 3186151"/>
                  <a:gd name="connsiteX3" fmla="*/ 402652 w 3233910"/>
                  <a:gd name="connsiteY3" fmla="*/ 60883 h 3186151"/>
                  <a:gd name="connsiteX4" fmla="*/ 170175 w 3233910"/>
                  <a:gd name="connsiteY4" fmla="*/ 1327014 h 3186151"/>
                  <a:gd name="connsiteX5" fmla="*/ 141404 w 3233910"/>
                  <a:gd name="connsiteY5" fmla="*/ 3023854 h 3186151"/>
                  <a:gd name="connsiteX6" fmla="*/ 1237458 w 3233910"/>
                  <a:gd name="connsiteY6" fmla="*/ 2967238 h 3186151"/>
                  <a:gd name="connsiteX7" fmla="*/ 2466180 w 3233910"/>
                  <a:gd name="connsiteY7" fmla="*/ 3069285 h 3186151"/>
                  <a:gd name="connsiteX8" fmla="*/ 2828318 w 3233910"/>
                  <a:gd name="connsiteY8" fmla="*/ 2110064 h 3186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3910" h="3186151">
                    <a:moveTo>
                      <a:pt x="2828318" y="2109987"/>
                    </a:moveTo>
                    <a:cubicBezTo>
                      <a:pt x="2950419" y="1638707"/>
                      <a:pt x="3419925" y="1135031"/>
                      <a:pt x="3153201" y="770580"/>
                    </a:cubicBezTo>
                    <a:cubicBezTo>
                      <a:pt x="2948182" y="490434"/>
                      <a:pt x="2270727" y="720366"/>
                      <a:pt x="1908512" y="626573"/>
                    </a:cubicBezTo>
                    <a:cubicBezTo>
                      <a:pt x="1433915" y="503624"/>
                      <a:pt x="768029" y="-210007"/>
                      <a:pt x="402652" y="60883"/>
                    </a:cubicBezTo>
                    <a:cubicBezTo>
                      <a:pt x="126286" y="265747"/>
                      <a:pt x="263197" y="968039"/>
                      <a:pt x="170175" y="1327014"/>
                    </a:cubicBezTo>
                    <a:cubicBezTo>
                      <a:pt x="47611" y="1799914"/>
                      <a:pt x="-127326" y="2658939"/>
                      <a:pt x="141404" y="3023854"/>
                    </a:cubicBezTo>
                    <a:cubicBezTo>
                      <a:pt x="346345" y="3302147"/>
                      <a:pt x="876786" y="2873831"/>
                      <a:pt x="1237458" y="2967238"/>
                    </a:cubicBezTo>
                    <a:cubicBezTo>
                      <a:pt x="1704727" y="3088336"/>
                      <a:pt x="2102963" y="3331072"/>
                      <a:pt x="2466180" y="3069285"/>
                    </a:cubicBezTo>
                    <a:cubicBezTo>
                      <a:pt x="2750877" y="2864112"/>
                      <a:pt x="2733445" y="2476289"/>
                      <a:pt x="2828318" y="21100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71" name="Graphic 5">
              <a:extLst>
                <a:ext uri="{FF2B5EF4-FFF2-40B4-BE49-F238E27FC236}">
                  <a16:creationId xmlns:a16="http://schemas.microsoft.com/office/drawing/2014/main" id="{E06AE579-E9B5-28E0-D875-E5770D01825A}"/>
                </a:ext>
              </a:extLst>
            </p:cNvPr>
            <p:cNvGrpSpPr/>
            <p:nvPr/>
          </p:nvGrpSpPr>
          <p:grpSpPr>
            <a:xfrm rot="20743245">
              <a:off x="-1641318" y="712755"/>
              <a:ext cx="8683276" cy="5650143"/>
              <a:chOff x="3224705" y="2448010"/>
              <a:chExt cx="5745675" cy="3738674"/>
            </a:xfrm>
            <a:noFill/>
          </p:grpSpPr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73117104-BF28-3116-91E4-5F6805D899EA}"/>
                  </a:ext>
                </a:extLst>
              </p:cNvPr>
              <p:cNvSpPr/>
              <p:nvPr/>
            </p:nvSpPr>
            <p:spPr>
              <a:xfrm>
                <a:off x="3224705" y="2973429"/>
                <a:ext cx="4086746" cy="2988613"/>
              </a:xfrm>
              <a:custGeom>
                <a:avLst/>
                <a:gdLst>
                  <a:gd name="connsiteX0" fmla="*/ 3021857 w 4086746"/>
                  <a:gd name="connsiteY0" fmla="*/ 21082 h 2988613"/>
                  <a:gd name="connsiteX1" fmla="*/ 1949714 w 4086746"/>
                  <a:gd name="connsiteY1" fmla="*/ 140561 h 2988613"/>
                  <a:gd name="connsiteX2" fmla="*/ 17620 w 4086746"/>
                  <a:gd name="connsiteY2" fmla="*/ 326759 h 2988613"/>
                  <a:gd name="connsiteX3" fmla="*/ 1162808 w 4086746"/>
                  <a:gd name="connsiteY3" fmla="*/ 2051134 h 2988613"/>
                  <a:gd name="connsiteX4" fmla="*/ 2164991 w 4086746"/>
                  <a:gd name="connsiteY4" fmla="*/ 2546943 h 2988613"/>
                  <a:gd name="connsiteX5" fmla="*/ 3449172 w 4086746"/>
                  <a:gd name="connsiteY5" fmla="*/ 2922733 h 2988613"/>
                  <a:gd name="connsiteX6" fmla="*/ 3803596 w 4086746"/>
                  <a:gd name="connsiteY6" fmla="*/ 1748620 h 2988613"/>
                  <a:gd name="connsiteX7" fmla="*/ 3997970 w 4086746"/>
                  <a:gd name="connsiteY7" fmla="*/ 855117 h 2988613"/>
                  <a:gd name="connsiteX8" fmla="*/ 3021857 w 4086746"/>
                  <a:gd name="connsiteY8" fmla="*/ 21160 h 2988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6746" h="2988613">
                    <a:moveTo>
                      <a:pt x="3021857" y="21082"/>
                    </a:moveTo>
                    <a:cubicBezTo>
                      <a:pt x="2524275" y="34658"/>
                      <a:pt x="2338926" y="-88523"/>
                      <a:pt x="1949714" y="140561"/>
                    </a:cubicBezTo>
                    <a:cubicBezTo>
                      <a:pt x="1650594" y="316654"/>
                      <a:pt x="147126" y="-24349"/>
                      <a:pt x="17620" y="326759"/>
                    </a:cubicBezTo>
                    <a:cubicBezTo>
                      <a:pt x="-151995" y="786777"/>
                      <a:pt x="953624" y="1647191"/>
                      <a:pt x="1162808" y="2051134"/>
                    </a:cubicBezTo>
                    <a:cubicBezTo>
                      <a:pt x="1489850" y="2682542"/>
                      <a:pt x="1817123" y="2418671"/>
                      <a:pt x="2164991" y="2546943"/>
                    </a:cubicBezTo>
                    <a:cubicBezTo>
                      <a:pt x="2623313" y="2715940"/>
                      <a:pt x="3059267" y="3153822"/>
                      <a:pt x="3449172" y="2922733"/>
                    </a:cubicBezTo>
                    <a:cubicBezTo>
                      <a:pt x="3746441" y="2746562"/>
                      <a:pt x="3674708" y="2098108"/>
                      <a:pt x="3803596" y="1748620"/>
                    </a:cubicBezTo>
                    <a:cubicBezTo>
                      <a:pt x="3970588" y="1295698"/>
                      <a:pt x="4222272" y="1242631"/>
                      <a:pt x="3997970" y="855117"/>
                    </a:cubicBezTo>
                    <a:cubicBezTo>
                      <a:pt x="3822185" y="551446"/>
                      <a:pt x="3400038" y="10824"/>
                      <a:pt x="3021857" y="211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67317555-A593-8DB7-35A2-E447F671C01A}"/>
                  </a:ext>
                </a:extLst>
              </p:cNvPr>
              <p:cNvSpPr/>
              <p:nvPr/>
            </p:nvSpPr>
            <p:spPr>
              <a:xfrm>
                <a:off x="3285345" y="2945042"/>
                <a:ext cx="4163768" cy="2979360"/>
              </a:xfrm>
              <a:custGeom>
                <a:avLst/>
                <a:gdLst>
                  <a:gd name="connsiteX0" fmla="*/ 3793170 w 4163768"/>
                  <a:gd name="connsiteY0" fmla="*/ 1782639 h 2979360"/>
                  <a:gd name="connsiteX1" fmla="*/ 4094681 w 4163768"/>
                  <a:gd name="connsiteY1" fmla="*/ 868155 h 2979360"/>
                  <a:gd name="connsiteX2" fmla="*/ 2987366 w 4163768"/>
                  <a:gd name="connsiteY2" fmla="*/ 28 h 2979360"/>
                  <a:gd name="connsiteX3" fmla="*/ 1885912 w 4163768"/>
                  <a:gd name="connsiteY3" fmla="*/ 197641 h 2979360"/>
                  <a:gd name="connsiteX4" fmla="*/ 15678 w 4163768"/>
                  <a:gd name="connsiteY4" fmla="*/ 437446 h 2979360"/>
                  <a:gd name="connsiteX5" fmla="*/ 1132404 w 4163768"/>
                  <a:gd name="connsiteY5" fmla="*/ 2066409 h 2979360"/>
                  <a:gd name="connsiteX6" fmla="*/ 2140990 w 4163768"/>
                  <a:gd name="connsiteY6" fmla="*/ 2635648 h 2979360"/>
                  <a:gd name="connsiteX7" fmla="*/ 3375266 w 4163768"/>
                  <a:gd name="connsiteY7" fmla="*/ 2903143 h 2979360"/>
                  <a:gd name="connsiteX8" fmla="*/ 3793247 w 4163768"/>
                  <a:gd name="connsiteY8" fmla="*/ 1782639 h 2979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63768" h="2979360">
                    <a:moveTo>
                      <a:pt x="3793170" y="1782639"/>
                    </a:moveTo>
                    <a:cubicBezTo>
                      <a:pt x="3948438" y="1338818"/>
                      <a:pt x="4315975" y="1250115"/>
                      <a:pt x="4094681" y="868155"/>
                    </a:cubicBezTo>
                    <a:cubicBezTo>
                      <a:pt x="3912417" y="553917"/>
                      <a:pt x="3371717" y="-4523"/>
                      <a:pt x="2987366" y="28"/>
                    </a:cubicBezTo>
                    <a:cubicBezTo>
                      <a:pt x="2503822" y="5735"/>
                      <a:pt x="2269030" y="-27894"/>
                      <a:pt x="1885912" y="197641"/>
                    </a:cubicBezTo>
                    <a:cubicBezTo>
                      <a:pt x="1575531" y="380291"/>
                      <a:pt x="141019" y="77932"/>
                      <a:pt x="15678" y="437446"/>
                    </a:cubicBezTo>
                    <a:cubicBezTo>
                      <a:pt x="-141132" y="887207"/>
                      <a:pt x="925072" y="1670179"/>
                      <a:pt x="1132404" y="2066409"/>
                    </a:cubicBezTo>
                    <a:cubicBezTo>
                      <a:pt x="1452196" y="2678688"/>
                      <a:pt x="1784560" y="2511310"/>
                      <a:pt x="2140990" y="2635648"/>
                    </a:cubicBezTo>
                    <a:cubicBezTo>
                      <a:pt x="2589439" y="2792072"/>
                      <a:pt x="2991608" y="3130376"/>
                      <a:pt x="3375266" y="2903143"/>
                    </a:cubicBezTo>
                    <a:cubicBezTo>
                      <a:pt x="3683333" y="2720725"/>
                      <a:pt x="3668215" y="2140071"/>
                      <a:pt x="3793247" y="178263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770D9B49-2723-54EA-6612-DD959403F1A4}"/>
                  </a:ext>
                </a:extLst>
              </p:cNvPr>
              <p:cNvSpPr/>
              <p:nvPr/>
            </p:nvSpPr>
            <p:spPr>
              <a:xfrm>
                <a:off x="3345777" y="2895587"/>
                <a:ext cx="4247432" cy="2996098"/>
              </a:xfrm>
              <a:custGeom>
                <a:avLst/>
                <a:gdLst>
                  <a:gd name="connsiteX0" fmla="*/ 3783028 w 4247432"/>
                  <a:gd name="connsiteY0" fmla="*/ 1837724 h 2996098"/>
                  <a:gd name="connsiteX1" fmla="*/ 4191599 w 4247432"/>
                  <a:gd name="connsiteY1" fmla="*/ 902338 h 2996098"/>
                  <a:gd name="connsiteX2" fmla="*/ 2953081 w 4247432"/>
                  <a:gd name="connsiteY2" fmla="*/ 41 h 2996098"/>
                  <a:gd name="connsiteX3" fmla="*/ 1822318 w 4247432"/>
                  <a:gd name="connsiteY3" fmla="*/ 275790 h 2996098"/>
                  <a:gd name="connsiteX4" fmla="*/ 13867 w 4247432"/>
                  <a:gd name="connsiteY4" fmla="*/ 569202 h 2996098"/>
                  <a:gd name="connsiteX5" fmla="*/ 1102053 w 4247432"/>
                  <a:gd name="connsiteY5" fmla="*/ 2102675 h 2996098"/>
                  <a:gd name="connsiteX6" fmla="*/ 2117041 w 4247432"/>
                  <a:gd name="connsiteY6" fmla="*/ 2745420 h 2996098"/>
                  <a:gd name="connsiteX7" fmla="*/ 3301335 w 4247432"/>
                  <a:gd name="connsiteY7" fmla="*/ 2904699 h 2996098"/>
                  <a:gd name="connsiteX8" fmla="*/ 3782951 w 4247432"/>
                  <a:gd name="connsiteY8" fmla="*/ 1837724 h 299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47432" h="2996098">
                    <a:moveTo>
                      <a:pt x="3783028" y="1837724"/>
                    </a:moveTo>
                    <a:cubicBezTo>
                      <a:pt x="3926880" y="1403159"/>
                      <a:pt x="4410039" y="1278667"/>
                      <a:pt x="4191599" y="902338"/>
                    </a:cubicBezTo>
                    <a:cubicBezTo>
                      <a:pt x="4002856" y="577532"/>
                      <a:pt x="3343681" y="1506"/>
                      <a:pt x="2953081" y="41"/>
                    </a:cubicBezTo>
                    <a:cubicBezTo>
                      <a:pt x="2483575" y="-1733"/>
                      <a:pt x="2199342" y="53802"/>
                      <a:pt x="1822318" y="275790"/>
                    </a:cubicBezTo>
                    <a:cubicBezTo>
                      <a:pt x="1500752" y="465073"/>
                      <a:pt x="134888" y="201125"/>
                      <a:pt x="13867" y="569202"/>
                    </a:cubicBezTo>
                    <a:cubicBezTo>
                      <a:pt x="-130603" y="1008626"/>
                      <a:pt x="896726" y="1714158"/>
                      <a:pt x="1102053" y="2102675"/>
                    </a:cubicBezTo>
                    <a:cubicBezTo>
                      <a:pt x="1414672" y="2695824"/>
                      <a:pt x="1751896" y="2625171"/>
                      <a:pt x="2117041" y="2745420"/>
                    </a:cubicBezTo>
                    <a:cubicBezTo>
                      <a:pt x="2555309" y="2889658"/>
                      <a:pt x="2924002" y="3128075"/>
                      <a:pt x="3301335" y="2904699"/>
                    </a:cubicBezTo>
                    <a:cubicBezTo>
                      <a:pt x="3620201" y="2716033"/>
                      <a:pt x="3661930" y="2203256"/>
                      <a:pt x="3782951" y="183772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97F9E054-4EA5-ABFF-97CD-0966266187F9}"/>
                  </a:ext>
                </a:extLst>
              </p:cNvPr>
              <p:cNvSpPr/>
              <p:nvPr/>
            </p:nvSpPr>
            <p:spPr>
              <a:xfrm>
                <a:off x="3406170" y="2845727"/>
                <a:ext cx="4334890" cy="3021757"/>
              </a:xfrm>
              <a:custGeom>
                <a:avLst/>
                <a:gdLst>
                  <a:gd name="connsiteX0" fmla="*/ 3772848 w 4334890"/>
                  <a:gd name="connsiteY0" fmla="*/ 1893214 h 3021757"/>
                  <a:gd name="connsiteX1" fmla="*/ 4288557 w 4334890"/>
                  <a:gd name="connsiteY1" fmla="*/ 936924 h 3021757"/>
                  <a:gd name="connsiteX2" fmla="*/ 2918837 w 4334890"/>
                  <a:gd name="connsiteY2" fmla="*/ 381 h 3021757"/>
                  <a:gd name="connsiteX3" fmla="*/ 1758762 w 4334890"/>
                  <a:gd name="connsiteY3" fmla="*/ 354188 h 3021757"/>
                  <a:gd name="connsiteX4" fmla="*/ 12172 w 4334890"/>
                  <a:gd name="connsiteY4" fmla="*/ 701207 h 3021757"/>
                  <a:gd name="connsiteX5" fmla="*/ 1071897 w 4334890"/>
                  <a:gd name="connsiteY5" fmla="*/ 2139267 h 3021757"/>
                  <a:gd name="connsiteX6" fmla="*/ 2093286 w 4334890"/>
                  <a:gd name="connsiteY6" fmla="*/ 2855443 h 3021757"/>
                  <a:gd name="connsiteX7" fmla="*/ 3227676 w 4334890"/>
                  <a:gd name="connsiteY7" fmla="*/ 2906427 h 3021757"/>
                  <a:gd name="connsiteX8" fmla="*/ 3772926 w 4334890"/>
                  <a:gd name="connsiteY8" fmla="*/ 1893060 h 3021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34890" h="3021757">
                    <a:moveTo>
                      <a:pt x="3772848" y="1893214"/>
                    </a:moveTo>
                    <a:cubicBezTo>
                      <a:pt x="3905671" y="1468137"/>
                      <a:pt x="4503989" y="1307701"/>
                      <a:pt x="4288557" y="936924"/>
                    </a:cubicBezTo>
                    <a:cubicBezTo>
                      <a:pt x="4093411" y="601629"/>
                      <a:pt x="3315684" y="8094"/>
                      <a:pt x="2918837" y="381"/>
                    </a:cubicBezTo>
                    <a:cubicBezTo>
                      <a:pt x="2463446" y="-8412"/>
                      <a:pt x="2129770" y="135826"/>
                      <a:pt x="1758762" y="354188"/>
                    </a:cubicBezTo>
                    <a:cubicBezTo>
                      <a:pt x="1425935" y="550027"/>
                      <a:pt x="128642" y="324415"/>
                      <a:pt x="12172" y="701207"/>
                    </a:cubicBezTo>
                    <a:cubicBezTo>
                      <a:pt x="-120342" y="1129987"/>
                      <a:pt x="868421" y="1758386"/>
                      <a:pt x="1071897" y="2139267"/>
                    </a:cubicBezTo>
                    <a:cubicBezTo>
                      <a:pt x="1377265" y="2713288"/>
                      <a:pt x="1719270" y="2739667"/>
                      <a:pt x="2093286" y="2855443"/>
                    </a:cubicBezTo>
                    <a:cubicBezTo>
                      <a:pt x="2521218" y="2987957"/>
                      <a:pt x="2856591" y="3126024"/>
                      <a:pt x="3227676" y="2906427"/>
                    </a:cubicBezTo>
                    <a:cubicBezTo>
                      <a:pt x="3557340" y="2711514"/>
                      <a:pt x="3656147" y="2266690"/>
                      <a:pt x="3772926" y="18930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FA4D2020-237B-B561-F7CC-ECB5A9AC3532}"/>
                  </a:ext>
                </a:extLst>
              </p:cNvPr>
              <p:cNvSpPr/>
              <p:nvPr/>
            </p:nvSpPr>
            <p:spPr>
              <a:xfrm>
                <a:off x="3466359" y="2795931"/>
                <a:ext cx="4425026" cy="3063471"/>
              </a:xfrm>
              <a:custGeom>
                <a:avLst/>
                <a:gdLst>
                  <a:gd name="connsiteX0" fmla="*/ 3762949 w 4425026"/>
                  <a:gd name="connsiteY0" fmla="*/ 1948641 h 3063471"/>
                  <a:gd name="connsiteX1" fmla="*/ 4385718 w 4425026"/>
                  <a:gd name="connsiteY1" fmla="*/ 971448 h 3063471"/>
                  <a:gd name="connsiteX2" fmla="*/ 2884795 w 4425026"/>
                  <a:gd name="connsiteY2" fmla="*/ 735 h 3063471"/>
                  <a:gd name="connsiteX3" fmla="*/ 1695410 w 4425026"/>
                  <a:gd name="connsiteY3" fmla="*/ 432677 h 3063471"/>
                  <a:gd name="connsiteX4" fmla="*/ 10603 w 4425026"/>
                  <a:gd name="connsiteY4" fmla="*/ 833304 h 3063471"/>
                  <a:gd name="connsiteX5" fmla="*/ 1041789 w 4425026"/>
                  <a:gd name="connsiteY5" fmla="*/ 2175951 h 3063471"/>
                  <a:gd name="connsiteX6" fmla="*/ 2069581 w 4425026"/>
                  <a:gd name="connsiteY6" fmla="*/ 2965634 h 3063471"/>
                  <a:gd name="connsiteX7" fmla="*/ 3154065 w 4425026"/>
                  <a:gd name="connsiteY7" fmla="*/ 2908401 h 3063471"/>
                  <a:gd name="connsiteX8" fmla="*/ 3762949 w 4425026"/>
                  <a:gd name="connsiteY8" fmla="*/ 1948564 h 3063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25026" h="3063471">
                    <a:moveTo>
                      <a:pt x="3762949" y="1948641"/>
                    </a:moveTo>
                    <a:cubicBezTo>
                      <a:pt x="3885128" y="1533127"/>
                      <a:pt x="4598295" y="1336594"/>
                      <a:pt x="4385718" y="971448"/>
                    </a:cubicBezTo>
                    <a:cubicBezTo>
                      <a:pt x="4184094" y="625586"/>
                      <a:pt x="3287967" y="14927"/>
                      <a:pt x="2884795" y="735"/>
                    </a:cubicBezTo>
                    <a:cubicBezTo>
                      <a:pt x="2443596" y="-14769"/>
                      <a:pt x="2060325" y="217863"/>
                      <a:pt x="1695410" y="432677"/>
                    </a:cubicBezTo>
                    <a:cubicBezTo>
                      <a:pt x="1351399" y="635150"/>
                      <a:pt x="122214" y="447718"/>
                      <a:pt x="10603" y="833304"/>
                    </a:cubicBezTo>
                    <a:cubicBezTo>
                      <a:pt x="-110418" y="1251362"/>
                      <a:pt x="840318" y="1802706"/>
                      <a:pt x="1041789" y="2175951"/>
                    </a:cubicBezTo>
                    <a:cubicBezTo>
                      <a:pt x="1339983" y="2730842"/>
                      <a:pt x="1686617" y="2854485"/>
                      <a:pt x="2069581" y="2965634"/>
                    </a:cubicBezTo>
                    <a:cubicBezTo>
                      <a:pt x="2487022" y="3086809"/>
                      <a:pt x="2789228" y="3124141"/>
                      <a:pt x="3154065" y="2908401"/>
                    </a:cubicBezTo>
                    <a:cubicBezTo>
                      <a:pt x="3494528" y="2707240"/>
                      <a:pt x="3650644" y="2330524"/>
                      <a:pt x="3762949" y="19485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3E92FA4E-BCCA-D39F-E227-19BCE4726F7C}"/>
                  </a:ext>
                </a:extLst>
              </p:cNvPr>
              <p:cNvSpPr/>
              <p:nvPr/>
            </p:nvSpPr>
            <p:spPr>
              <a:xfrm>
                <a:off x="3526436" y="2746166"/>
                <a:ext cx="4516838" cy="3129085"/>
              </a:xfrm>
              <a:custGeom>
                <a:avLst/>
                <a:gdLst>
                  <a:gd name="connsiteX0" fmla="*/ 3753086 w 4516838"/>
                  <a:gd name="connsiteY0" fmla="*/ 2004037 h 3129085"/>
                  <a:gd name="connsiteX1" fmla="*/ 4482992 w 4516838"/>
                  <a:gd name="connsiteY1" fmla="*/ 1005942 h 3129085"/>
                  <a:gd name="connsiteX2" fmla="*/ 2850866 w 4516838"/>
                  <a:gd name="connsiteY2" fmla="*/ 1059 h 3129085"/>
                  <a:gd name="connsiteX3" fmla="*/ 1632171 w 4516838"/>
                  <a:gd name="connsiteY3" fmla="*/ 511136 h 3129085"/>
                  <a:gd name="connsiteX4" fmla="*/ 9147 w 4516838"/>
                  <a:gd name="connsiteY4" fmla="*/ 965447 h 3129085"/>
                  <a:gd name="connsiteX5" fmla="*/ 1011871 w 4516838"/>
                  <a:gd name="connsiteY5" fmla="*/ 2212681 h 3129085"/>
                  <a:gd name="connsiteX6" fmla="*/ 2046065 w 4516838"/>
                  <a:gd name="connsiteY6" fmla="*/ 3075871 h 3129085"/>
                  <a:gd name="connsiteX7" fmla="*/ 3080644 w 4516838"/>
                  <a:gd name="connsiteY7" fmla="*/ 2910345 h 3129085"/>
                  <a:gd name="connsiteX8" fmla="*/ 3753163 w 4516838"/>
                  <a:gd name="connsiteY8" fmla="*/ 2004114 h 3129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16838" h="3129085">
                    <a:moveTo>
                      <a:pt x="3753086" y="2004037"/>
                    </a:moveTo>
                    <a:cubicBezTo>
                      <a:pt x="3864928" y="1598166"/>
                      <a:pt x="4692561" y="1365534"/>
                      <a:pt x="4482992" y="1005942"/>
                    </a:cubicBezTo>
                    <a:cubicBezTo>
                      <a:pt x="4274888" y="649589"/>
                      <a:pt x="3260286" y="21962"/>
                      <a:pt x="2850866" y="1059"/>
                    </a:cubicBezTo>
                    <a:cubicBezTo>
                      <a:pt x="2423783" y="-20770"/>
                      <a:pt x="1990992" y="299870"/>
                      <a:pt x="1632171" y="511136"/>
                    </a:cubicBezTo>
                    <a:cubicBezTo>
                      <a:pt x="1276976" y="720166"/>
                      <a:pt x="115667" y="570837"/>
                      <a:pt x="9147" y="965447"/>
                    </a:cubicBezTo>
                    <a:cubicBezTo>
                      <a:pt x="-100767" y="1372553"/>
                      <a:pt x="812252" y="1847149"/>
                      <a:pt x="1011871" y="2212681"/>
                    </a:cubicBezTo>
                    <a:cubicBezTo>
                      <a:pt x="1302892" y="2748444"/>
                      <a:pt x="1654000" y="2969583"/>
                      <a:pt x="2046065" y="3075871"/>
                    </a:cubicBezTo>
                    <a:cubicBezTo>
                      <a:pt x="2452939" y="3186094"/>
                      <a:pt x="2721978" y="3122305"/>
                      <a:pt x="3080644" y="2910345"/>
                    </a:cubicBezTo>
                    <a:cubicBezTo>
                      <a:pt x="3431906" y="2702935"/>
                      <a:pt x="3645563" y="2394405"/>
                      <a:pt x="3753163" y="20041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5DC5D77-D269-5164-08D7-ACDE96FE70B8}"/>
                  </a:ext>
                </a:extLst>
              </p:cNvPr>
              <p:cNvSpPr/>
              <p:nvPr/>
            </p:nvSpPr>
            <p:spPr>
              <a:xfrm>
                <a:off x="3586413" y="2696421"/>
                <a:ext cx="4609879" cy="3215724"/>
              </a:xfrm>
              <a:custGeom>
                <a:avLst/>
                <a:gdLst>
                  <a:gd name="connsiteX0" fmla="*/ 3743322 w 4609879"/>
                  <a:gd name="connsiteY0" fmla="*/ 2059413 h 3215724"/>
                  <a:gd name="connsiteX1" fmla="*/ 4580365 w 4609879"/>
                  <a:gd name="connsiteY1" fmla="*/ 1040414 h 3215724"/>
                  <a:gd name="connsiteX2" fmla="*/ 2817037 w 4609879"/>
                  <a:gd name="connsiteY2" fmla="*/ 1361 h 3215724"/>
                  <a:gd name="connsiteX3" fmla="*/ 1568955 w 4609879"/>
                  <a:gd name="connsiteY3" fmla="*/ 589575 h 3215724"/>
                  <a:gd name="connsiteX4" fmla="*/ 7791 w 4609879"/>
                  <a:gd name="connsiteY4" fmla="*/ 1097493 h 3215724"/>
                  <a:gd name="connsiteX5" fmla="*/ 981976 w 4609879"/>
                  <a:gd name="connsiteY5" fmla="*/ 2249313 h 3215724"/>
                  <a:gd name="connsiteX6" fmla="*/ 2022571 w 4609879"/>
                  <a:gd name="connsiteY6" fmla="*/ 3185934 h 3215724"/>
                  <a:gd name="connsiteX7" fmla="*/ 3007169 w 4609879"/>
                  <a:gd name="connsiteY7" fmla="*/ 2912190 h 3215724"/>
                  <a:gd name="connsiteX8" fmla="*/ 3743322 w 4609879"/>
                  <a:gd name="connsiteY8" fmla="*/ 2059567 h 3215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09879" h="3215724">
                    <a:moveTo>
                      <a:pt x="3743322" y="2059413"/>
                    </a:moveTo>
                    <a:cubicBezTo>
                      <a:pt x="3845138" y="1663337"/>
                      <a:pt x="4786926" y="1394376"/>
                      <a:pt x="4580365" y="1040414"/>
                    </a:cubicBezTo>
                    <a:cubicBezTo>
                      <a:pt x="4365783" y="673495"/>
                      <a:pt x="3232782" y="29284"/>
                      <a:pt x="2817037" y="1361"/>
                    </a:cubicBezTo>
                    <a:cubicBezTo>
                      <a:pt x="2401292" y="-26560"/>
                      <a:pt x="1921836" y="381934"/>
                      <a:pt x="1568955" y="589575"/>
                    </a:cubicBezTo>
                    <a:cubicBezTo>
                      <a:pt x="1202498" y="805237"/>
                      <a:pt x="108757" y="693858"/>
                      <a:pt x="7791" y="1097493"/>
                    </a:cubicBezTo>
                    <a:cubicBezTo>
                      <a:pt x="-91324" y="1493568"/>
                      <a:pt x="784362" y="1891418"/>
                      <a:pt x="981976" y="2249313"/>
                    </a:cubicBezTo>
                    <a:cubicBezTo>
                      <a:pt x="1265746" y="2765947"/>
                      <a:pt x="1621328" y="3084968"/>
                      <a:pt x="2022571" y="3185934"/>
                    </a:cubicBezTo>
                    <a:cubicBezTo>
                      <a:pt x="2418724" y="3285589"/>
                      <a:pt x="2654827" y="3120217"/>
                      <a:pt x="3007169" y="2912190"/>
                    </a:cubicBezTo>
                    <a:cubicBezTo>
                      <a:pt x="3369229" y="2698533"/>
                      <a:pt x="3640813" y="2458265"/>
                      <a:pt x="3743322" y="205956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3DB66606-8E2E-3858-5D52-ACA6F16A6561}"/>
                  </a:ext>
                </a:extLst>
              </p:cNvPr>
              <p:cNvSpPr/>
              <p:nvPr/>
            </p:nvSpPr>
            <p:spPr>
              <a:xfrm>
                <a:off x="3646345" y="2646648"/>
                <a:ext cx="4703818" cy="3313713"/>
              </a:xfrm>
              <a:custGeom>
                <a:avLst/>
                <a:gdLst>
                  <a:gd name="connsiteX0" fmla="*/ 3733681 w 4703818"/>
                  <a:gd name="connsiteY0" fmla="*/ 2114893 h 3313713"/>
                  <a:gd name="connsiteX1" fmla="*/ 4677784 w 4703818"/>
                  <a:gd name="connsiteY1" fmla="*/ 1074915 h 3313713"/>
                  <a:gd name="connsiteX2" fmla="*/ 2783330 w 4703818"/>
                  <a:gd name="connsiteY2" fmla="*/ 1615 h 3313713"/>
                  <a:gd name="connsiteX3" fmla="*/ 1505937 w 4703818"/>
                  <a:gd name="connsiteY3" fmla="*/ 667886 h 3313713"/>
                  <a:gd name="connsiteX4" fmla="*/ 6557 w 4703818"/>
                  <a:gd name="connsiteY4" fmla="*/ 1229411 h 3313713"/>
                  <a:gd name="connsiteX5" fmla="*/ 952280 w 4703818"/>
                  <a:gd name="connsiteY5" fmla="*/ 2285819 h 3313713"/>
                  <a:gd name="connsiteX6" fmla="*/ 1999200 w 4703818"/>
                  <a:gd name="connsiteY6" fmla="*/ 3295947 h 3313713"/>
                  <a:gd name="connsiteX7" fmla="*/ 2933893 w 4703818"/>
                  <a:gd name="connsiteY7" fmla="*/ 2913910 h 3313713"/>
                  <a:gd name="connsiteX8" fmla="*/ 3733681 w 4703818"/>
                  <a:gd name="connsiteY8" fmla="*/ 2114816 h 3313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03818" h="3313713">
                    <a:moveTo>
                      <a:pt x="3733681" y="2114893"/>
                    </a:moveTo>
                    <a:cubicBezTo>
                      <a:pt x="3825777" y="1728690"/>
                      <a:pt x="4881491" y="1423323"/>
                      <a:pt x="4677784" y="1074915"/>
                    </a:cubicBezTo>
                    <a:cubicBezTo>
                      <a:pt x="4456722" y="697428"/>
                      <a:pt x="3205245" y="37019"/>
                      <a:pt x="2783330" y="1615"/>
                    </a:cubicBezTo>
                    <a:cubicBezTo>
                      <a:pt x="2384478" y="-31860"/>
                      <a:pt x="1852725" y="463871"/>
                      <a:pt x="1505937" y="667886"/>
                    </a:cubicBezTo>
                    <a:cubicBezTo>
                      <a:pt x="1128296" y="890105"/>
                      <a:pt x="101738" y="816675"/>
                      <a:pt x="6557" y="1229411"/>
                    </a:cubicBezTo>
                    <a:cubicBezTo>
                      <a:pt x="-82223" y="1614457"/>
                      <a:pt x="756517" y="1935560"/>
                      <a:pt x="952280" y="2285819"/>
                    </a:cubicBezTo>
                    <a:cubicBezTo>
                      <a:pt x="1228877" y="2783324"/>
                      <a:pt x="1588778" y="3200611"/>
                      <a:pt x="1999200" y="3295947"/>
                    </a:cubicBezTo>
                    <a:cubicBezTo>
                      <a:pt x="2384478" y="3385421"/>
                      <a:pt x="2587799" y="3118157"/>
                      <a:pt x="2933893" y="2913910"/>
                    </a:cubicBezTo>
                    <a:cubicBezTo>
                      <a:pt x="3306752" y="2694082"/>
                      <a:pt x="3636494" y="2522076"/>
                      <a:pt x="3733681" y="2114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165C44F4-2D77-5E59-741F-F7547019B209}"/>
                  </a:ext>
                </a:extLst>
              </p:cNvPr>
              <p:cNvSpPr/>
              <p:nvPr/>
            </p:nvSpPr>
            <p:spPr>
              <a:xfrm>
                <a:off x="3706188" y="2596973"/>
                <a:ext cx="4798420" cy="3416920"/>
              </a:xfrm>
              <a:custGeom>
                <a:avLst/>
                <a:gdLst>
                  <a:gd name="connsiteX0" fmla="*/ 3724051 w 4798420"/>
                  <a:gd name="connsiteY0" fmla="*/ 2170199 h 3416920"/>
                  <a:gd name="connsiteX1" fmla="*/ 4775292 w 4798420"/>
                  <a:gd name="connsiteY1" fmla="*/ 1109318 h 3416920"/>
                  <a:gd name="connsiteX2" fmla="*/ 2749635 w 4798420"/>
                  <a:gd name="connsiteY2" fmla="*/ 1848 h 3416920"/>
                  <a:gd name="connsiteX3" fmla="*/ 1442932 w 4798420"/>
                  <a:gd name="connsiteY3" fmla="*/ 746255 h 3416920"/>
                  <a:gd name="connsiteX4" fmla="*/ 5412 w 4798420"/>
                  <a:gd name="connsiteY4" fmla="*/ 1361387 h 3416920"/>
                  <a:gd name="connsiteX5" fmla="*/ 922596 w 4798420"/>
                  <a:gd name="connsiteY5" fmla="*/ 2322304 h 3416920"/>
                  <a:gd name="connsiteX6" fmla="*/ 1975918 w 4798420"/>
                  <a:gd name="connsiteY6" fmla="*/ 3405863 h 3416920"/>
                  <a:gd name="connsiteX7" fmla="*/ 2860706 w 4798420"/>
                  <a:gd name="connsiteY7" fmla="*/ 2915608 h 3416920"/>
                  <a:gd name="connsiteX8" fmla="*/ 3724129 w 4798420"/>
                  <a:gd name="connsiteY8" fmla="*/ 2170122 h 3416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98420" h="3416920">
                    <a:moveTo>
                      <a:pt x="3724051" y="2170199"/>
                    </a:moveTo>
                    <a:cubicBezTo>
                      <a:pt x="3806815" y="1793946"/>
                      <a:pt x="4975991" y="1452172"/>
                      <a:pt x="4775292" y="1109318"/>
                    </a:cubicBezTo>
                    <a:cubicBezTo>
                      <a:pt x="4547751" y="721341"/>
                      <a:pt x="3177798" y="45042"/>
                      <a:pt x="2749635" y="1848"/>
                    </a:cubicBezTo>
                    <a:cubicBezTo>
                      <a:pt x="2364821" y="-36950"/>
                      <a:pt x="1783627" y="545787"/>
                      <a:pt x="1442932" y="746255"/>
                    </a:cubicBezTo>
                    <a:cubicBezTo>
                      <a:pt x="1054030" y="975107"/>
                      <a:pt x="94192" y="939472"/>
                      <a:pt x="5412" y="1361387"/>
                    </a:cubicBezTo>
                    <a:cubicBezTo>
                      <a:pt x="-73263" y="1735248"/>
                      <a:pt x="728761" y="1979759"/>
                      <a:pt x="922596" y="2322304"/>
                    </a:cubicBezTo>
                    <a:cubicBezTo>
                      <a:pt x="1191943" y="2800681"/>
                      <a:pt x="1556163" y="3316697"/>
                      <a:pt x="1975918" y="3405863"/>
                    </a:cubicBezTo>
                    <a:cubicBezTo>
                      <a:pt x="2350320" y="3485463"/>
                      <a:pt x="2520860" y="3115999"/>
                      <a:pt x="2860706" y="2915608"/>
                    </a:cubicBezTo>
                    <a:cubicBezTo>
                      <a:pt x="3244364" y="2689532"/>
                      <a:pt x="3632649" y="2585944"/>
                      <a:pt x="3724129" y="217012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DC6C4CDC-56FF-50DD-03D5-620CB30039B9}"/>
                  </a:ext>
                </a:extLst>
              </p:cNvPr>
              <p:cNvSpPr/>
              <p:nvPr/>
            </p:nvSpPr>
            <p:spPr>
              <a:xfrm>
                <a:off x="3765757" y="2547325"/>
                <a:ext cx="4893698" cy="3522930"/>
              </a:xfrm>
              <a:custGeom>
                <a:avLst/>
                <a:gdLst>
                  <a:gd name="connsiteX0" fmla="*/ 3714695 w 4893698"/>
                  <a:gd name="connsiteY0" fmla="*/ 2225478 h 3522930"/>
                  <a:gd name="connsiteX1" fmla="*/ 4872995 w 4893698"/>
                  <a:gd name="connsiteY1" fmla="*/ 1143693 h 3522930"/>
                  <a:gd name="connsiteX2" fmla="*/ 2716137 w 4893698"/>
                  <a:gd name="connsiteY2" fmla="*/ 2054 h 3522930"/>
                  <a:gd name="connsiteX3" fmla="*/ 1380123 w 4893698"/>
                  <a:gd name="connsiteY3" fmla="*/ 824596 h 3522930"/>
                  <a:gd name="connsiteX4" fmla="*/ 4386 w 4893698"/>
                  <a:gd name="connsiteY4" fmla="*/ 1493335 h 3522930"/>
                  <a:gd name="connsiteX5" fmla="*/ 893031 w 4893698"/>
                  <a:gd name="connsiteY5" fmla="*/ 2358840 h 3522930"/>
                  <a:gd name="connsiteX6" fmla="*/ 1952756 w 4893698"/>
                  <a:gd name="connsiteY6" fmla="*/ 3515905 h 3522930"/>
                  <a:gd name="connsiteX7" fmla="*/ 2787562 w 4893698"/>
                  <a:gd name="connsiteY7" fmla="*/ 2917357 h 3522930"/>
                  <a:gd name="connsiteX8" fmla="*/ 3714541 w 4893698"/>
                  <a:gd name="connsiteY8" fmla="*/ 2225478 h 3522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93698" h="3522930">
                    <a:moveTo>
                      <a:pt x="3714695" y="2225478"/>
                    </a:moveTo>
                    <a:cubicBezTo>
                      <a:pt x="3788357" y="1859175"/>
                      <a:pt x="5070764" y="1480917"/>
                      <a:pt x="4872995" y="1143693"/>
                    </a:cubicBezTo>
                    <a:cubicBezTo>
                      <a:pt x="4639053" y="745149"/>
                      <a:pt x="3150470" y="53347"/>
                      <a:pt x="2716137" y="2054"/>
                    </a:cubicBezTo>
                    <a:cubicBezTo>
                      <a:pt x="2345360" y="-41757"/>
                      <a:pt x="1714801" y="627676"/>
                      <a:pt x="1380123" y="824596"/>
                    </a:cubicBezTo>
                    <a:cubicBezTo>
                      <a:pt x="980036" y="1060081"/>
                      <a:pt x="86455" y="1062164"/>
                      <a:pt x="4386" y="1493335"/>
                    </a:cubicBezTo>
                    <a:cubicBezTo>
                      <a:pt x="-64647" y="1856012"/>
                      <a:pt x="701202" y="2023930"/>
                      <a:pt x="893031" y="2358840"/>
                    </a:cubicBezTo>
                    <a:cubicBezTo>
                      <a:pt x="1155205" y="2818087"/>
                      <a:pt x="1523590" y="3433219"/>
                      <a:pt x="1952756" y="3515905"/>
                    </a:cubicBezTo>
                    <a:cubicBezTo>
                      <a:pt x="2316282" y="3585942"/>
                      <a:pt x="2454040" y="3113968"/>
                      <a:pt x="2787562" y="2917357"/>
                    </a:cubicBezTo>
                    <a:cubicBezTo>
                      <a:pt x="3182018" y="2685033"/>
                      <a:pt x="3629232" y="2649938"/>
                      <a:pt x="3714541" y="22254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1F670D97-DC99-2BCD-DACC-14DA6465CC45}"/>
                  </a:ext>
                </a:extLst>
              </p:cNvPr>
              <p:cNvSpPr/>
              <p:nvPr/>
            </p:nvSpPr>
            <p:spPr>
              <a:xfrm>
                <a:off x="3825389" y="2497697"/>
                <a:ext cx="4989429" cy="3630406"/>
              </a:xfrm>
              <a:custGeom>
                <a:avLst/>
                <a:gdLst>
                  <a:gd name="connsiteX0" fmla="*/ 3705354 w 4989429"/>
                  <a:gd name="connsiteY0" fmla="*/ 2280737 h 3630406"/>
                  <a:gd name="connsiteX1" fmla="*/ 4970792 w 4989429"/>
                  <a:gd name="connsiteY1" fmla="*/ 1178049 h 3630406"/>
                  <a:gd name="connsiteX2" fmla="*/ 2682730 w 4989429"/>
                  <a:gd name="connsiteY2" fmla="*/ 2241 h 3630406"/>
                  <a:gd name="connsiteX3" fmla="*/ 1317406 w 4989429"/>
                  <a:gd name="connsiteY3" fmla="*/ 902918 h 3630406"/>
                  <a:gd name="connsiteX4" fmla="*/ 3453 w 4989429"/>
                  <a:gd name="connsiteY4" fmla="*/ 1625341 h 3630406"/>
                  <a:gd name="connsiteX5" fmla="*/ 863635 w 4989429"/>
                  <a:gd name="connsiteY5" fmla="*/ 2395433 h 3630406"/>
                  <a:gd name="connsiteX6" fmla="*/ 1929762 w 4989429"/>
                  <a:gd name="connsiteY6" fmla="*/ 3625929 h 3630406"/>
                  <a:gd name="connsiteX7" fmla="*/ 2714663 w 4989429"/>
                  <a:gd name="connsiteY7" fmla="*/ 2919163 h 3630406"/>
                  <a:gd name="connsiteX8" fmla="*/ 3705277 w 4989429"/>
                  <a:gd name="connsiteY8" fmla="*/ 2280814 h 3630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89429" h="3630406">
                    <a:moveTo>
                      <a:pt x="3705354" y="2280737"/>
                    </a:moveTo>
                    <a:cubicBezTo>
                      <a:pt x="3770145" y="1924384"/>
                      <a:pt x="5165629" y="1509720"/>
                      <a:pt x="4970792" y="1178049"/>
                    </a:cubicBezTo>
                    <a:cubicBezTo>
                      <a:pt x="4730370" y="769015"/>
                      <a:pt x="3123080" y="62173"/>
                      <a:pt x="2682730" y="2241"/>
                    </a:cubicBezTo>
                    <a:cubicBezTo>
                      <a:pt x="2325838" y="-46353"/>
                      <a:pt x="1645991" y="709546"/>
                      <a:pt x="1317406" y="902918"/>
                    </a:cubicBezTo>
                    <a:cubicBezTo>
                      <a:pt x="906058" y="1144960"/>
                      <a:pt x="78271" y="1184760"/>
                      <a:pt x="3453" y="1625341"/>
                    </a:cubicBezTo>
                    <a:cubicBezTo>
                      <a:pt x="-56171" y="1976757"/>
                      <a:pt x="673658" y="2068236"/>
                      <a:pt x="863635" y="2395433"/>
                    </a:cubicBezTo>
                    <a:cubicBezTo>
                      <a:pt x="1118636" y="2835628"/>
                      <a:pt x="1491186" y="3550339"/>
                      <a:pt x="1929762" y="3625929"/>
                    </a:cubicBezTo>
                    <a:cubicBezTo>
                      <a:pt x="2282335" y="3686709"/>
                      <a:pt x="2387313" y="3111917"/>
                      <a:pt x="2714663" y="2919163"/>
                    </a:cubicBezTo>
                    <a:cubicBezTo>
                      <a:pt x="3119918" y="2680592"/>
                      <a:pt x="3626525" y="2714067"/>
                      <a:pt x="3705277" y="22808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4928C37-A09D-AE0F-26B4-0C02150A0743}"/>
                  </a:ext>
                </a:extLst>
              </p:cNvPr>
              <p:cNvSpPr/>
              <p:nvPr/>
            </p:nvSpPr>
            <p:spPr>
              <a:xfrm>
                <a:off x="3884910" y="2448010"/>
                <a:ext cx="5085470" cy="3738674"/>
              </a:xfrm>
              <a:custGeom>
                <a:avLst/>
                <a:gdLst>
                  <a:gd name="connsiteX0" fmla="*/ 5068621 w 5085470"/>
                  <a:gd name="connsiteY0" fmla="*/ 1212464 h 3738674"/>
                  <a:gd name="connsiteX1" fmla="*/ 2649357 w 5085470"/>
                  <a:gd name="connsiteY1" fmla="*/ 2408 h 3738674"/>
                  <a:gd name="connsiteX2" fmla="*/ 1254723 w 5085470"/>
                  <a:gd name="connsiteY2" fmla="*/ 981143 h 3738674"/>
                  <a:gd name="connsiteX3" fmla="*/ 2629 w 5085470"/>
                  <a:gd name="connsiteY3" fmla="*/ 1757174 h 3738674"/>
                  <a:gd name="connsiteX4" fmla="*/ 834273 w 5085470"/>
                  <a:gd name="connsiteY4" fmla="*/ 2431853 h 3738674"/>
                  <a:gd name="connsiteX5" fmla="*/ 1906801 w 5085470"/>
                  <a:gd name="connsiteY5" fmla="*/ 3735856 h 3738674"/>
                  <a:gd name="connsiteX6" fmla="*/ 2641798 w 5085470"/>
                  <a:gd name="connsiteY6" fmla="*/ 2920796 h 3738674"/>
                  <a:gd name="connsiteX7" fmla="*/ 3696046 w 5085470"/>
                  <a:gd name="connsiteY7" fmla="*/ 2336054 h 3738674"/>
                  <a:gd name="connsiteX8" fmla="*/ 5068621 w 5085470"/>
                  <a:gd name="connsiteY8" fmla="*/ 1212464 h 373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5470" h="3738674">
                    <a:moveTo>
                      <a:pt x="5068621" y="1212464"/>
                    </a:moveTo>
                    <a:cubicBezTo>
                      <a:pt x="4821720" y="792863"/>
                      <a:pt x="3095646" y="71519"/>
                      <a:pt x="2649357" y="2408"/>
                    </a:cubicBezTo>
                    <a:cubicBezTo>
                      <a:pt x="2306348" y="-50736"/>
                      <a:pt x="1577214" y="791397"/>
                      <a:pt x="1254723" y="981143"/>
                    </a:cubicBezTo>
                    <a:cubicBezTo>
                      <a:pt x="832190" y="1229819"/>
                      <a:pt x="69503" y="1307260"/>
                      <a:pt x="2629" y="1757174"/>
                    </a:cubicBezTo>
                    <a:cubicBezTo>
                      <a:pt x="-47970" y="2097406"/>
                      <a:pt x="646301" y="2112292"/>
                      <a:pt x="834273" y="2431853"/>
                    </a:cubicBezTo>
                    <a:cubicBezTo>
                      <a:pt x="1082023" y="2852919"/>
                      <a:pt x="1458738" y="3667825"/>
                      <a:pt x="1906801" y="3735856"/>
                    </a:cubicBezTo>
                    <a:cubicBezTo>
                      <a:pt x="2248499" y="3787689"/>
                      <a:pt x="2320695" y="3109771"/>
                      <a:pt x="2641798" y="2920796"/>
                    </a:cubicBezTo>
                    <a:cubicBezTo>
                      <a:pt x="3057851" y="2675977"/>
                      <a:pt x="3624313" y="2778024"/>
                      <a:pt x="3696046" y="2336054"/>
                    </a:cubicBezTo>
                    <a:cubicBezTo>
                      <a:pt x="3752276" y="1989652"/>
                      <a:pt x="5260450" y="1538503"/>
                      <a:pt x="5068621" y="12124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72" name="Graphic 5">
              <a:extLst>
                <a:ext uri="{FF2B5EF4-FFF2-40B4-BE49-F238E27FC236}">
                  <a16:creationId xmlns:a16="http://schemas.microsoft.com/office/drawing/2014/main" id="{237B923F-5A9A-D579-85F5-48A83F0D1E18}"/>
                </a:ext>
              </a:extLst>
            </p:cNvPr>
            <p:cNvGrpSpPr/>
            <p:nvPr/>
          </p:nvGrpSpPr>
          <p:grpSpPr>
            <a:xfrm rot="753948">
              <a:off x="-682780" y="-299489"/>
              <a:ext cx="5854605" cy="7484643"/>
              <a:chOff x="4061078" y="1549502"/>
              <a:chExt cx="3873961" cy="4952549"/>
            </a:xfrm>
            <a:noFill/>
          </p:grpSpPr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DB0AB111-D6C9-C5B4-FF5F-583E68E2A78B}"/>
                  </a:ext>
                </a:extLst>
              </p:cNvPr>
              <p:cNvSpPr/>
              <p:nvPr/>
            </p:nvSpPr>
            <p:spPr>
              <a:xfrm>
                <a:off x="4475868" y="1549502"/>
                <a:ext cx="3007008" cy="4952549"/>
              </a:xfrm>
              <a:custGeom>
                <a:avLst/>
                <a:gdLst>
                  <a:gd name="connsiteX0" fmla="*/ 2976817 w 3007008"/>
                  <a:gd name="connsiteY0" fmla="*/ 2669180 h 4952549"/>
                  <a:gd name="connsiteX1" fmla="*/ 2432801 w 3007008"/>
                  <a:gd name="connsiteY1" fmla="*/ 1308330 h 4952549"/>
                  <a:gd name="connsiteX2" fmla="*/ 1795840 w 3007008"/>
                  <a:gd name="connsiteY2" fmla="*/ 7 h 4952549"/>
                  <a:gd name="connsiteX3" fmla="*/ 437072 w 3007008"/>
                  <a:gd name="connsiteY3" fmla="*/ 1607682 h 4952549"/>
                  <a:gd name="connsiteX4" fmla="*/ 310112 w 3007008"/>
                  <a:gd name="connsiteY4" fmla="*/ 2718545 h 4952549"/>
                  <a:gd name="connsiteX5" fmla="*/ 413007 w 3007008"/>
                  <a:gd name="connsiteY5" fmla="*/ 3875302 h 4952549"/>
                  <a:gd name="connsiteX6" fmla="*/ 1776248 w 3007008"/>
                  <a:gd name="connsiteY6" fmla="*/ 4952536 h 4952549"/>
                  <a:gd name="connsiteX7" fmla="*/ 2522815 w 3007008"/>
                  <a:gd name="connsiteY7" fmla="*/ 3870057 h 4952549"/>
                  <a:gd name="connsiteX8" fmla="*/ 2976817 w 3007008"/>
                  <a:gd name="connsiteY8" fmla="*/ 2669180 h 4952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07008" h="4952549">
                    <a:moveTo>
                      <a:pt x="2976817" y="2669180"/>
                    </a:moveTo>
                    <a:cubicBezTo>
                      <a:pt x="2795478" y="2205613"/>
                      <a:pt x="2780206" y="1596883"/>
                      <a:pt x="2432801" y="1308330"/>
                    </a:cubicBezTo>
                    <a:cubicBezTo>
                      <a:pt x="2165768" y="1086497"/>
                      <a:pt x="2170087" y="2861"/>
                      <a:pt x="1795840" y="7"/>
                    </a:cubicBezTo>
                    <a:cubicBezTo>
                      <a:pt x="1305585" y="-3772"/>
                      <a:pt x="857599" y="1434442"/>
                      <a:pt x="437072" y="1607682"/>
                    </a:cubicBezTo>
                    <a:cubicBezTo>
                      <a:pt x="-439463" y="1968739"/>
                      <a:pt x="265838" y="2328563"/>
                      <a:pt x="310112" y="2718545"/>
                    </a:cubicBezTo>
                    <a:cubicBezTo>
                      <a:pt x="365185" y="3203940"/>
                      <a:pt x="63519" y="3586749"/>
                      <a:pt x="413007" y="3875302"/>
                    </a:cubicBezTo>
                    <a:cubicBezTo>
                      <a:pt x="679500" y="4095361"/>
                      <a:pt x="1403775" y="4949682"/>
                      <a:pt x="1776248" y="4952536"/>
                    </a:cubicBezTo>
                    <a:cubicBezTo>
                      <a:pt x="2258944" y="4956238"/>
                      <a:pt x="2234184" y="4212294"/>
                      <a:pt x="2522815" y="3870057"/>
                    </a:cubicBezTo>
                    <a:cubicBezTo>
                      <a:pt x="2749045" y="3601790"/>
                      <a:pt x="3114576" y="3021444"/>
                      <a:pt x="2976817" y="266918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DF9F97E2-49F4-870C-EF1A-F3027ED5E09E}"/>
                  </a:ext>
                </a:extLst>
              </p:cNvPr>
              <p:cNvSpPr/>
              <p:nvPr/>
            </p:nvSpPr>
            <p:spPr>
              <a:xfrm>
                <a:off x="4482456" y="1627788"/>
                <a:ext cx="3018571" cy="4778052"/>
              </a:xfrm>
              <a:custGeom>
                <a:avLst/>
                <a:gdLst>
                  <a:gd name="connsiteX0" fmla="*/ 1752691 w 3018571"/>
                  <a:gd name="connsiteY0" fmla="*/ 4776677 h 4778052"/>
                  <a:gd name="connsiteX1" fmla="*/ 2591277 w 3018571"/>
                  <a:gd name="connsiteY1" fmla="*/ 3811826 h 4778052"/>
                  <a:gd name="connsiteX2" fmla="*/ 2984730 w 3018571"/>
                  <a:gd name="connsiteY2" fmla="*/ 2584107 h 4778052"/>
                  <a:gd name="connsiteX3" fmla="*/ 2466168 w 3018571"/>
                  <a:gd name="connsiteY3" fmla="*/ 1202817 h 4778052"/>
                  <a:gd name="connsiteX4" fmla="*/ 1720373 w 3018571"/>
                  <a:gd name="connsiteY4" fmla="*/ 11 h 4778052"/>
                  <a:gd name="connsiteX5" fmla="*/ 440974 w 3018571"/>
                  <a:gd name="connsiteY5" fmla="*/ 1547522 h 4778052"/>
                  <a:gd name="connsiteX6" fmla="*/ 238116 w 3018571"/>
                  <a:gd name="connsiteY6" fmla="*/ 2690858 h 4778052"/>
                  <a:gd name="connsiteX7" fmla="*/ 359985 w 3018571"/>
                  <a:gd name="connsiteY7" fmla="*/ 3853863 h 4778052"/>
                  <a:gd name="connsiteX8" fmla="*/ 1752691 w 3018571"/>
                  <a:gd name="connsiteY8" fmla="*/ 4776754 h 4778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18571" h="4778052">
                    <a:moveTo>
                      <a:pt x="1752691" y="4776677"/>
                    </a:moveTo>
                    <a:cubicBezTo>
                      <a:pt x="2216181" y="4812235"/>
                      <a:pt x="2306966" y="4149435"/>
                      <a:pt x="2591277" y="3811826"/>
                    </a:cubicBezTo>
                    <a:cubicBezTo>
                      <a:pt x="2825220" y="3533917"/>
                      <a:pt x="3119172" y="2944162"/>
                      <a:pt x="2984730" y="2584107"/>
                    </a:cubicBezTo>
                    <a:cubicBezTo>
                      <a:pt x="2815579" y="2131107"/>
                      <a:pt x="2808174" y="1486896"/>
                      <a:pt x="2466168" y="1202817"/>
                    </a:cubicBezTo>
                    <a:cubicBezTo>
                      <a:pt x="2189185" y="972730"/>
                      <a:pt x="2101099" y="-3845"/>
                      <a:pt x="1720373" y="11"/>
                    </a:cubicBezTo>
                    <a:cubicBezTo>
                      <a:pt x="1244079" y="4794"/>
                      <a:pt x="830648" y="1354614"/>
                      <a:pt x="440974" y="1547522"/>
                    </a:cubicBezTo>
                    <a:cubicBezTo>
                      <a:pt x="-382030" y="1955091"/>
                      <a:pt x="190216" y="2298408"/>
                      <a:pt x="238116" y="2690858"/>
                    </a:cubicBezTo>
                    <a:cubicBezTo>
                      <a:pt x="294422" y="3162909"/>
                      <a:pt x="16205" y="3569861"/>
                      <a:pt x="359985" y="3853863"/>
                    </a:cubicBezTo>
                    <a:cubicBezTo>
                      <a:pt x="635965" y="4081944"/>
                      <a:pt x="1362169" y="4746827"/>
                      <a:pt x="1752691" y="47767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ECBB2648-48D0-F764-59D6-902F4EDBF744}"/>
                  </a:ext>
                </a:extLst>
              </p:cNvPr>
              <p:cNvSpPr/>
              <p:nvPr/>
            </p:nvSpPr>
            <p:spPr>
              <a:xfrm>
                <a:off x="4484173" y="1705758"/>
                <a:ext cx="3036493" cy="4605873"/>
              </a:xfrm>
              <a:custGeom>
                <a:avLst/>
                <a:gdLst>
                  <a:gd name="connsiteX0" fmla="*/ 1734082 w 3036493"/>
                  <a:gd name="connsiteY0" fmla="*/ 4601058 h 4605873"/>
                  <a:gd name="connsiteX1" fmla="*/ 2664764 w 3036493"/>
                  <a:gd name="connsiteY1" fmla="*/ 3753833 h 4605873"/>
                  <a:gd name="connsiteX2" fmla="*/ 2997591 w 3036493"/>
                  <a:gd name="connsiteY2" fmla="*/ 2499272 h 4605873"/>
                  <a:gd name="connsiteX3" fmla="*/ 2504559 w 3036493"/>
                  <a:gd name="connsiteY3" fmla="*/ 1097465 h 4605873"/>
                  <a:gd name="connsiteX4" fmla="*/ 1649930 w 3036493"/>
                  <a:gd name="connsiteY4" fmla="*/ 100 h 4605873"/>
                  <a:gd name="connsiteX5" fmla="*/ 449901 w 3036493"/>
                  <a:gd name="connsiteY5" fmla="*/ 1487524 h 4605873"/>
                  <a:gd name="connsiteX6" fmla="*/ 171221 w 3036493"/>
                  <a:gd name="connsiteY6" fmla="*/ 2663410 h 4605873"/>
                  <a:gd name="connsiteX7" fmla="*/ 311988 w 3036493"/>
                  <a:gd name="connsiteY7" fmla="*/ 3832586 h 4605873"/>
                  <a:gd name="connsiteX8" fmla="*/ 1734159 w 3036493"/>
                  <a:gd name="connsiteY8" fmla="*/ 4601135 h 46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36493" h="4605873">
                    <a:moveTo>
                      <a:pt x="1734082" y="4601058"/>
                    </a:moveTo>
                    <a:cubicBezTo>
                      <a:pt x="2177440" y="4664460"/>
                      <a:pt x="2384618" y="4086814"/>
                      <a:pt x="2664764" y="3753833"/>
                    </a:cubicBezTo>
                    <a:cubicBezTo>
                      <a:pt x="2906420" y="3466283"/>
                      <a:pt x="3128562" y="2867271"/>
                      <a:pt x="2997591" y="2499272"/>
                    </a:cubicBezTo>
                    <a:cubicBezTo>
                      <a:pt x="2840240" y="2056917"/>
                      <a:pt x="2841089" y="1377070"/>
                      <a:pt x="2504559" y="1097465"/>
                    </a:cubicBezTo>
                    <a:cubicBezTo>
                      <a:pt x="2217549" y="859048"/>
                      <a:pt x="2037290" y="-10699"/>
                      <a:pt x="1649930" y="100"/>
                    </a:cubicBezTo>
                    <a:cubicBezTo>
                      <a:pt x="1187597" y="12981"/>
                      <a:pt x="808491" y="1275410"/>
                      <a:pt x="449901" y="1487524"/>
                    </a:cubicBezTo>
                    <a:cubicBezTo>
                      <a:pt x="-320113" y="1942838"/>
                      <a:pt x="120622" y="2268337"/>
                      <a:pt x="171221" y="2663410"/>
                    </a:cubicBezTo>
                    <a:cubicBezTo>
                      <a:pt x="229996" y="3121963"/>
                      <a:pt x="-26007" y="3553212"/>
                      <a:pt x="311988" y="3832586"/>
                    </a:cubicBezTo>
                    <a:cubicBezTo>
                      <a:pt x="597533" y="4068688"/>
                      <a:pt x="1324122" y="4542514"/>
                      <a:pt x="1734159" y="460113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F7CB21C-DC1C-A6C8-1A48-8D60B215847E}"/>
                  </a:ext>
                </a:extLst>
              </p:cNvPr>
              <p:cNvSpPr/>
              <p:nvPr/>
            </p:nvSpPr>
            <p:spPr>
              <a:xfrm>
                <a:off x="4477865" y="1783678"/>
                <a:ext cx="3064583" cy="4435839"/>
              </a:xfrm>
              <a:custGeom>
                <a:avLst/>
                <a:gdLst>
                  <a:gd name="connsiteX0" fmla="*/ 1723421 w 3064583"/>
                  <a:gd name="connsiteY0" fmla="*/ 4425487 h 4435839"/>
                  <a:gd name="connsiteX1" fmla="*/ 2746122 w 3064583"/>
                  <a:gd name="connsiteY1" fmla="*/ 3695890 h 4435839"/>
                  <a:gd name="connsiteX2" fmla="*/ 3018400 w 3064583"/>
                  <a:gd name="connsiteY2" fmla="*/ 2414487 h 4435839"/>
                  <a:gd name="connsiteX3" fmla="*/ 2550822 w 3064583"/>
                  <a:gd name="connsiteY3" fmla="*/ 992240 h 4435839"/>
                  <a:gd name="connsiteX4" fmla="*/ 1587359 w 3064583"/>
                  <a:gd name="connsiteY4" fmla="*/ 315 h 4435839"/>
                  <a:gd name="connsiteX5" fmla="*/ 466700 w 3064583"/>
                  <a:gd name="connsiteY5" fmla="*/ 1427576 h 4435839"/>
                  <a:gd name="connsiteX6" fmla="*/ 112198 w 3064583"/>
                  <a:gd name="connsiteY6" fmla="*/ 2635935 h 4435839"/>
                  <a:gd name="connsiteX7" fmla="*/ 271940 w 3064583"/>
                  <a:gd name="connsiteY7" fmla="*/ 3811281 h 4435839"/>
                  <a:gd name="connsiteX8" fmla="*/ 1723498 w 3064583"/>
                  <a:gd name="connsiteY8" fmla="*/ 4425487 h 4435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64583" h="4435839">
                    <a:moveTo>
                      <a:pt x="1723421" y="4425487"/>
                    </a:moveTo>
                    <a:cubicBezTo>
                      <a:pt x="2146185" y="4513187"/>
                      <a:pt x="2470296" y="4024167"/>
                      <a:pt x="2746122" y="3695890"/>
                    </a:cubicBezTo>
                    <a:cubicBezTo>
                      <a:pt x="2995492" y="3398699"/>
                      <a:pt x="3145592" y="2790508"/>
                      <a:pt x="3018400" y="2414487"/>
                    </a:cubicBezTo>
                    <a:cubicBezTo>
                      <a:pt x="2872465" y="1983084"/>
                      <a:pt x="2881952" y="1267371"/>
                      <a:pt x="2550822" y="992240"/>
                    </a:cubicBezTo>
                    <a:cubicBezTo>
                      <a:pt x="2253785" y="745493"/>
                      <a:pt x="1981275" y="-17734"/>
                      <a:pt x="1587359" y="315"/>
                    </a:cubicBezTo>
                    <a:cubicBezTo>
                      <a:pt x="1138987" y="20832"/>
                      <a:pt x="794205" y="1197181"/>
                      <a:pt x="466700" y="1427576"/>
                    </a:cubicBezTo>
                    <a:cubicBezTo>
                      <a:pt x="-250479" y="1932100"/>
                      <a:pt x="58205" y="2238316"/>
                      <a:pt x="112198" y="2635935"/>
                    </a:cubicBezTo>
                    <a:cubicBezTo>
                      <a:pt x="172593" y="3081144"/>
                      <a:pt x="-60347" y="3536534"/>
                      <a:pt x="271940" y="3811281"/>
                    </a:cubicBezTo>
                    <a:cubicBezTo>
                      <a:pt x="566972" y="4055483"/>
                      <a:pt x="1293253" y="4336245"/>
                      <a:pt x="1723498" y="442548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A79D257A-6A28-AD2A-A283-264A358CF161}"/>
                  </a:ext>
                </a:extLst>
              </p:cNvPr>
              <p:cNvSpPr/>
              <p:nvPr/>
            </p:nvSpPr>
            <p:spPr>
              <a:xfrm>
                <a:off x="4460130" y="1861400"/>
                <a:ext cx="3107969" cy="4268490"/>
              </a:xfrm>
              <a:custGeom>
                <a:avLst/>
                <a:gdLst>
                  <a:gd name="connsiteX0" fmla="*/ 1724263 w 3107969"/>
                  <a:gd name="connsiteY0" fmla="*/ 4250116 h 4268490"/>
                  <a:gd name="connsiteX1" fmla="*/ 2838983 w 3107969"/>
                  <a:gd name="connsiteY1" fmla="*/ 3638145 h 4268490"/>
                  <a:gd name="connsiteX2" fmla="*/ 3050712 w 3107969"/>
                  <a:gd name="connsiteY2" fmla="*/ 2329900 h 4268490"/>
                  <a:gd name="connsiteX3" fmla="*/ 2608666 w 3107969"/>
                  <a:gd name="connsiteY3" fmla="*/ 887212 h 4268490"/>
                  <a:gd name="connsiteX4" fmla="*/ 1536291 w 3107969"/>
                  <a:gd name="connsiteY4" fmla="*/ 728 h 4268490"/>
                  <a:gd name="connsiteX5" fmla="*/ 495001 w 3107969"/>
                  <a:gd name="connsiteY5" fmla="*/ 1367826 h 4268490"/>
                  <a:gd name="connsiteX6" fmla="*/ 64601 w 3107969"/>
                  <a:gd name="connsiteY6" fmla="*/ 2608657 h 4268490"/>
                  <a:gd name="connsiteX7" fmla="*/ 243317 w 3107969"/>
                  <a:gd name="connsiteY7" fmla="*/ 3790251 h 4268490"/>
                  <a:gd name="connsiteX8" fmla="*/ 1724340 w 3107969"/>
                  <a:gd name="connsiteY8" fmla="*/ 4250116 h 4268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07969" h="4268490">
                    <a:moveTo>
                      <a:pt x="1724263" y="4250116"/>
                    </a:moveTo>
                    <a:cubicBezTo>
                      <a:pt x="2126510" y="4359027"/>
                      <a:pt x="2567400" y="3961794"/>
                      <a:pt x="2838983" y="3638145"/>
                    </a:cubicBezTo>
                    <a:cubicBezTo>
                      <a:pt x="3096066" y="3331235"/>
                      <a:pt x="3173893" y="2714020"/>
                      <a:pt x="3050712" y="2329900"/>
                    </a:cubicBezTo>
                    <a:cubicBezTo>
                      <a:pt x="2915808" y="1909528"/>
                      <a:pt x="2934396" y="1157793"/>
                      <a:pt x="2608666" y="887212"/>
                    </a:cubicBezTo>
                    <a:cubicBezTo>
                      <a:pt x="2301601" y="632135"/>
                      <a:pt x="1936918" y="-24880"/>
                      <a:pt x="1536291" y="728"/>
                    </a:cubicBezTo>
                    <a:cubicBezTo>
                      <a:pt x="1101957" y="28496"/>
                      <a:pt x="791576" y="1119844"/>
                      <a:pt x="495001" y="1367826"/>
                    </a:cubicBezTo>
                    <a:cubicBezTo>
                      <a:pt x="-169265" y="1923180"/>
                      <a:pt x="7215" y="2208570"/>
                      <a:pt x="64601" y="2608657"/>
                    </a:cubicBezTo>
                    <a:cubicBezTo>
                      <a:pt x="126539" y="3040445"/>
                      <a:pt x="-83262" y="3520055"/>
                      <a:pt x="243317" y="3790251"/>
                    </a:cubicBezTo>
                    <a:cubicBezTo>
                      <a:pt x="547914" y="4042475"/>
                      <a:pt x="1273500" y="4128092"/>
                      <a:pt x="1724340" y="42501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1FD29AC0-EBF8-59E8-051D-C099AB83A6FE}"/>
                  </a:ext>
                </a:extLst>
              </p:cNvPr>
              <p:cNvSpPr/>
              <p:nvPr/>
            </p:nvSpPr>
            <p:spPr>
              <a:xfrm>
                <a:off x="4426209" y="1938811"/>
                <a:ext cx="3173562" cy="4104897"/>
              </a:xfrm>
              <a:custGeom>
                <a:avLst/>
                <a:gdLst>
                  <a:gd name="connsiteX0" fmla="*/ 1741215 w 3173562"/>
                  <a:gd name="connsiteY0" fmla="*/ 4075055 h 4104897"/>
                  <a:gd name="connsiteX1" fmla="*/ 2947955 w 3173562"/>
                  <a:gd name="connsiteY1" fmla="*/ 3580712 h 4104897"/>
                  <a:gd name="connsiteX2" fmla="*/ 3099057 w 3173562"/>
                  <a:gd name="connsiteY2" fmla="*/ 2245625 h 4104897"/>
                  <a:gd name="connsiteX3" fmla="*/ 2682464 w 3173562"/>
                  <a:gd name="connsiteY3" fmla="*/ 782497 h 4104897"/>
                  <a:gd name="connsiteX4" fmla="*/ 1501255 w 3173562"/>
                  <a:gd name="connsiteY4" fmla="*/ 1452 h 4104897"/>
                  <a:gd name="connsiteX5" fmla="*/ 539335 w 3173562"/>
                  <a:gd name="connsiteY5" fmla="*/ 1308387 h 4104897"/>
                  <a:gd name="connsiteX6" fmla="*/ 33114 w 3173562"/>
                  <a:gd name="connsiteY6" fmla="*/ 2581691 h 4104897"/>
                  <a:gd name="connsiteX7" fmla="*/ 230727 w 3173562"/>
                  <a:gd name="connsiteY7" fmla="*/ 3769455 h 4104897"/>
                  <a:gd name="connsiteX8" fmla="*/ 1741215 w 3173562"/>
                  <a:gd name="connsiteY8" fmla="*/ 4074978 h 4104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73562" h="4104897">
                    <a:moveTo>
                      <a:pt x="1741215" y="4075055"/>
                    </a:moveTo>
                    <a:cubicBezTo>
                      <a:pt x="2123407" y="4202555"/>
                      <a:pt x="2680613" y="3899655"/>
                      <a:pt x="2947955" y="3580712"/>
                    </a:cubicBezTo>
                    <a:cubicBezTo>
                      <a:pt x="3212750" y="3264160"/>
                      <a:pt x="3218073" y="2637921"/>
                      <a:pt x="3099057" y="2245625"/>
                    </a:cubicBezTo>
                    <a:cubicBezTo>
                      <a:pt x="2974874" y="1836359"/>
                      <a:pt x="3002796" y="1048604"/>
                      <a:pt x="2682464" y="782497"/>
                    </a:cubicBezTo>
                    <a:cubicBezTo>
                      <a:pt x="2365449" y="519089"/>
                      <a:pt x="1908516" y="-31946"/>
                      <a:pt x="1501255" y="1452"/>
                    </a:cubicBezTo>
                    <a:cubicBezTo>
                      <a:pt x="1080960" y="36008"/>
                      <a:pt x="805288" y="1043668"/>
                      <a:pt x="539335" y="1308387"/>
                    </a:cubicBezTo>
                    <a:cubicBezTo>
                      <a:pt x="-71324" y="1916191"/>
                      <a:pt x="-27821" y="2179059"/>
                      <a:pt x="33114" y="2581691"/>
                    </a:cubicBezTo>
                    <a:cubicBezTo>
                      <a:pt x="96440" y="3000135"/>
                      <a:pt x="-90144" y="3503888"/>
                      <a:pt x="230727" y="3769455"/>
                    </a:cubicBezTo>
                    <a:cubicBezTo>
                      <a:pt x="544811" y="4029701"/>
                      <a:pt x="1270089" y="3917782"/>
                      <a:pt x="1741215" y="40749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2ECA3EEB-3B1E-21FB-CCB0-CD2AC42BFCB8}"/>
                  </a:ext>
                </a:extLst>
              </p:cNvPr>
              <p:cNvSpPr/>
              <p:nvPr/>
            </p:nvSpPr>
            <p:spPr>
              <a:xfrm>
                <a:off x="4376099" y="2015664"/>
                <a:ext cx="3263713" cy="3947335"/>
              </a:xfrm>
              <a:custGeom>
                <a:avLst/>
                <a:gdLst>
                  <a:gd name="connsiteX0" fmla="*/ 1774433 w 3263713"/>
                  <a:gd name="connsiteY0" fmla="*/ 3900552 h 3947335"/>
                  <a:gd name="connsiteX1" fmla="*/ 3073192 w 3263713"/>
                  <a:gd name="connsiteY1" fmla="*/ 3523836 h 3947335"/>
                  <a:gd name="connsiteX2" fmla="*/ 3163745 w 3263713"/>
                  <a:gd name="connsiteY2" fmla="*/ 2161907 h 3947335"/>
                  <a:gd name="connsiteX3" fmla="*/ 2772683 w 3263713"/>
                  <a:gd name="connsiteY3" fmla="*/ 678262 h 3947335"/>
                  <a:gd name="connsiteX4" fmla="*/ 1482563 w 3263713"/>
                  <a:gd name="connsiteY4" fmla="*/ 2735 h 3947335"/>
                  <a:gd name="connsiteX5" fmla="*/ 600012 w 3263713"/>
                  <a:gd name="connsiteY5" fmla="*/ 1249583 h 3947335"/>
                  <a:gd name="connsiteX6" fmla="*/ 17970 w 3263713"/>
                  <a:gd name="connsiteY6" fmla="*/ 2555437 h 3947335"/>
                  <a:gd name="connsiteX7" fmla="*/ 234558 w 3263713"/>
                  <a:gd name="connsiteY7" fmla="*/ 3749449 h 3947335"/>
                  <a:gd name="connsiteX8" fmla="*/ 1774433 w 3263713"/>
                  <a:gd name="connsiteY8" fmla="*/ 3900629 h 394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3713" h="3947335">
                    <a:moveTo>
                      <a:pt x="1774433" y="3900552"/>
                    </a:moveTo>
                    <a:cubicBezTo>
                      <a:pt x="2137188" y="4044635"/>
                      <a:pt x="2810169" y="3838151"/>
                      <a:pt x="3073192" y="3523836"/>
                    </a:cubicBezTo>
                    <a:cubicBezTo>
                      <a:pt x="3345701" y="3197643"/>
                      <a:pt x="3278210" y="2562533"/>
                      <a:pt x="3163745" y="2161907"/>
                    </a:cubicBezTo>
                    <a:cubicBezTo>
                      <a:pt x="3049975" y="1763902"/>
                      <a:pt x="3087538" y="939895"/>
                      <a:pt x="2772683" y="678262"/>
                    </a:cubicBezTo>
                    <a:cubicBezTo>
                      <a:pt x="2445641" y="406524"/>
                      <a:pt x="1896534" y="-38994"/>
                      <a:pt x="1482563" y="2735"/>
                    </a:cubicBezTo>
                    <a:cubicBezTo>
                      <a:pt x="1068593" y="44463"/>
                      <a:pt x="835884" y="968666"/>
                      <a:pt x="600012" y="1249583"/>
                    </a:cubicBezTo>
                    <a:cubicBezTo>
                      <a:pt x="44118" y="1911380"/>
                      <a:pt x="-46590" y="2150260"/>
                      <a:pt x="17970" y="2555437"/>
                    </a:cubicBezTo>
                    <a:cubicBezTo>
                      <a:pt x="82530" y="2960460"/>
                      <a:pt x="-80606" y="3488355"/>
                      <a:pt x="234558" y="3749449"/>
                    </a:cubicBezTo>
                    <a:cubicBezTo>
                      <a:pt x="558206" y="4017716"/>
                      <a:pt x="1283870" y="3705792"/>
                      <a:pt x="1774433" y="39006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16D88A96-55D0-2BC4-8975-77194B7E5023}"/>
                  </a:ext>
                </a:extLst>
              </p:cNvPr>
              <p:cNvSpPr/>
              <p:nvPr/>
            </p:nvSpPr>
            <p:spPr>
              <a:xfrm>
                <a:off x="4316854" y="2091550"/>
                <a:ext cx="3371549" cy="3814147"/>
              </a:xfrm>
              <a:custGeom>
                <a:avLst/>
                <a:gdLst>
                  <a:gd name="connsiteX0" fmla="*/ 1816709 w 3371549"/>
                  <a:gd name="connsiteY0" fmla="*/ 3727016 h 3814147"/>
                  <a:gd name="connsiteX1" fmla="*/ 3207564 w 3371549"/>
                  <a:gd name="connsiteY1" fmla="*/ 3467928 h 3814147"/>
                  <a:gd name="connsiteX2" fmla="*/ 3237568 w 3371549"/>
                  <a:gd name="connsiteY2" fmla="*/ 2079156 h 3814147"/>
                  <a:gd name="connsiteX3" fmla="*/ 2871960 w 3371549"/>
                  <a:gd name="connsiteY3" fmla="*/ 575071 h 3814147"/>
                  <a:gd name="connsiteX4" fmla="*/ 1473006 w 3371549"/>
                  <a:gd name="connsiteY4" fmla="*/ 4984 h 3814147"/>
                  <a:gd name="connsiteX5" fmla="*/ 669824 w 3371549"/>
                  <a:gd name="connsiteY5" fmla="*/ 1191668 h 3814147"/>
                  <a:gd name="connsiteX6" fmla="*/ 11883 w 3371549"/>
                  <a:gd name="connsiteY6" fmla="*/ 2529996 h 3814147"/>
                  <a:gd name="connsiteX7" fmla="*/ 247369 w 3371549"/>
                  <a:gd name="connsiteY7" fmla="*/ 3730178 h 3814147"/>
                  <a:gd name="connsiteX8" fmla="*/ 1816709 w 3371549"/>
                  <a:gd name="connsiteY8" fmla="*/ 3727016 h 3814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1549" h="3814147">
                    <a:moveTo>
                      <a:pt x="1816709" y="3727016"/>
                    </a:moveTo>
                    <a:cubicBezTo>
                      <a:pt x="2160874" y="3886063"/>
                      <a:pt x="2948707" y="3777615"/>
                      <a:pt x="3207564" y="3467928"/>
                    </a:cubicBezTo>
                    <a:cubicBezTo>
                      <a:pt x="3487786" y="3132092"/>
                      <a:pt x="3347173" y="2488190"/>
                      <a:pt x="3237568" y="2079156"/>
                    </a:cubicBezTo>
                    <a:cubicBezTo>
                      <a:pt x="3133902" y="1692567"/>
                      <a:pt x="3181416" y="832231"/>
                      <a:pt x="2871960" y="575071"/>
                    </a:cubicBezTo>
                    <a:cubicBezTo>
                      <a:pt x="2534890" y="295002"/>
                      <a:pt x="1893533" y="-45307"/>
                      <a:pt x="1473006" y="4984"/>
                    </a:cubicBezTo>
                    <a:cubicBezTo>
                      <a:pt x="1080710" y="51880"/>
                      <a:pt x="876308" y="895248"/>
                      <a:pt x="669824" y="1191668"/>
                    </a:cubicBezTo>
                    <a:cubicBezTo>
                      <a:pt x="170313" y="1908693"/>
                      <a:pt x="-56379" y="2122427"/>
                      <a:pt x="11883" y="2529996"/>
                    </a:cubicBezTo>
                    <a:cubicBezTo>
                      <a:pt x="80145" y="2937564"/>
                      <a:pt x="-62010" y="3473713"/>
                      <a:pt x="247369" y="3730178"/>
                    </a:cubicBezTo>
                    <a:cubicBezTo>
                      <a:pt x="580505" y="4006544"/>
                      <a:pt x="1307942" y="3491916"/>
                      <a:pt x="1816709" y="37270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F8FB9EF9-4DD5-54C1-BF7F-5C2DFC95EF2A}"/>
                  </a:ext>
                </a:extLst>
              </p:cNvPr>
              <p:cNvSpPr/>
              <p:nvPr/>
            </p:nvSpPr>
            <p:spPr>
              <a:xfrm>
                <a:off x="4254170" y="2165535"/>
                <a:ext cx="3489733" cy="3780696"/>
              </a:xfrm>
              <a:custGeom>
                <a:avLst/>
                <a:gdLst>
                  <a:gd name="connsiteX0" fmla="*/ 1862424 w 3489733"/>
                  <a:gd name="connsiteY0" fmla="*/ 3555381 h 3780696"/>
                  <a:gd name="connsiteX1" fmla="*/ 3345298 w 3489733"/>
                  <a:gd name="connsiteY1" fmla="*/ 3413920 h 3780696"/>
                  <a:gd name="connsiteX2" fmla="*/ 3314677 w 3489733"/>
                  <a:gd name="connsiteY2" fmla="*/ 1998383 h 3780696"/>
                  <a:gd name="connsiteX3" fmla="*/ 2974599 w 3489733"/>
                  <a:gd name="connsiteY3" fmla="*/ 473858 h 3780696"/>
                  <a:gd name="connsiteX4" fmla="*/ 1466734 w 3489733"/>
                  <a:gd name="connsiteY4" fmla="*/ 9211 h 3780696"/>
                  <a:gd name="connsiteX5" fmla="*/ 742922 w 3489733"/>
                  <a:gd name="connsiteY5" fmla="*/ 1135733 h 3780696"/>
                  <a:gd name="connsiteX6" fmla="*/ 9159 w 3489733"/>
                  <a:gd name="connsiteY6" fmla="*/ 2506532 h 3780696"/>
                  <a:gd name="connsiteX7" fmla="*/ 263620 w 3489733"/>
                  <a:gd name="connsiteY7" fmla="*/ 3712886 h 3780696"/>
                  <a:gd name="connsiteX8" fmla="*/ 1862424 w 3489733"/>
                  <a:gd name="connsiteY8" fmla="*/ 3555381 h 3780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9733" h="3780696">
                    <a:moveTo>
                      <a:pt x="1862424" y="3555381"/>
                    </a:moveTo>
                    <a:cubicBezTo>
                      <a:pt x="2188927" y="3728158"/>
                      <a:pt x="3090761" y="3718902"/>
                      <a:pt x="3345298" y="3413920"/>
                    </a:cubicBezTo>
                    <a:cubicBezTo>
                      <a:pt x="3633311" y="3068443"/>
                      <a:pt x="3419114" y="2415825"/>
                      <a:pt x="3314677" y="1998383"/>
                    </a:cubicBezTo>
                    <a:cubicBezTo>
                      <a:pt x="3220807" y="1623210"/>
                      <a:pt x="3278656" y="726467"/>
                      <a:pt x="2974599" y="473858"/>
                    </a:cubicBezTo>
                    <a:cubicBezTo>
                      <a:pt x="2627580" y="185459"/>
                      <a:pt x="1893894" y="-50104"/>
                      <a:pt x="1466734" y="9211"/>
                    </a:cubicBezTo>
                    <a:cubicBezTo>
                      <a:pt x="1088321" y="61816"/>
                      <a:pt x="920789" y="824040"/>
                      <a:pt x="742922" y="1135733"/>
                    </a:cubicBezTo>
                    <a:cubicBezTo>
                      <a:pt x="301800" y="1908755"/>
                      <a:pt x="-63037" y="2096496"/>
                      <a:pt x="9159" y="2506532"/>
                    </a:cubicBezTo>
                    <a:cubicBezTo>
                      <a:pt x="75802" y="2884945"/>
                      <a:pt x="-40051" y="3461048"/>
                      <a:pt x="263620" y="3712886"/>
                    </a:cubicBezTo>
                    <a:cubicBezTo>
                      <a:pt x="606320" y="3997273"/>
                      <a:pt x="1337228" y="3277473"/>
                      <a:pt x="1862424" y="355538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EFA13834-226E-B14D-7301-9F2DF1DD87F2}"/>
                  </a:ext>
                </a:extLst>
              </p:cNvPr>
              <p:cNvSpPr/>
              <p:nvPr/>
            </p:nvSpPr>
            <p:spPr>
              <a:xfrm>
                <a:off x="4190357" y="2234963"/>
                <a:ext cx="3614123" cy="3758010"/>
              </a:xfrm>
              <a:custGeom>
                <a:avLst/>
                <a:gdLst>
                  <a:gd name="connsiteX0" fmla="*/ 1909345 w 3614123"/>
                  <a:gd name="connsiteY0" fmla="*/ 3388303 h 3758010"/>
                  <a:gd name="connsiteX1" fmla="*/ 3484238 w 3614123"/>
                  <a:gd name="connsiteY1" fmla="*/ 3364469 h 3758010"/>
                  <a:gd name="connsiteX2" fmla="*/ 3393067 w 3614123"/>
                  <a:gd name="connsiteY2" fmla="*/ 1922090 h 3758010"/>
                  <a:gd name="connsiteX3" fmla="*/ 3078443 w 3614123"/>
                  <a:gd name="connsiteY3" fmla="*/ 377125 h 3758010"/>
                  <a:gd name="connsiteX4" fmla="*/ 1461744 w 3614123"/>
                  <a:gd name="connsiteY4" fmla="*/ 17919 h 3758010"/>
                  <a:gd name="connsiteX5" fmla="*/ 817301 w 3614123"/>
                  <a:gd name="connsiteY5" fmla="*/ 1084276 h 3758010"/>
                  <a:gd name="connsiteX6" fmla="*/ 7718 w 3614123"/>
                  <a:gd name="connsiteY6" fmla="*/ 2487549 h 3758010"/>
                  <a:gd name="connsiteX7" fmla="*/ 281153 w 3614123"/>
                  <a:gd name="connsiteY7" fmla="*/ 3700150 h 3758010"/>
                  <a:gd name="connsiteX8" fmla="*/ 1909345 w 3614123"/>
                  <a:gd name="connsiteY8" fmla="*/ 3388303 h 3758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14123" h="3758010">
                    <a:moveTo>
                      <a:pt x="1909345" y="3388303"/>
                    </a:moveTo>
                    <a:cubicBezTo>
                      <a:pt x="2219418" y="3574116"/>
                      <a:pt x="3233943" y="3664824"/>
                      <a:pt x="3484238" y="3364469"/>
                    </a:cubicBezTo>
                    <a:cubicBezTo>
                      <a:pt x="3779964" y="3009351"/>
                      <a:pt x="3491874" y="2348094"/>
                      <a:pt x="3393067" y="1922090"/>
                    </a:cubicBezTo>
                    <a:cubicBezTo>
                      <a:pt x="3308684" y="1558333"/>
                      <a:pt x="3377101" y="625260"/>
                      <a:pt x="3078443" y="377125"/>
                    </a:cubicBezTo>
                    <a:cubicBezTo>
                      <a:pt x="2721397" y="80473"/>
                      <a:pt x="1895307" y="-50884"/>
                      <a:pt x="1461744" y="17919"/>
                    </a:cubicBezTo>
                    <a:cubicBezTo>
                      <a:pt x="1097138" y="75845"/>
                      <a:pt x="967324" y="757388"/>
                      <a:pt x="817301" y="1084276"/>
                    </a:cubicBezTo>
                    <a:cubicBezTo>
                      <a:pt x="436652" y="1913683"/>
                      <a:pt x="-68566" y="2075121"/>
                      <a:pt x="7718" y="2487549"/>
                    </a:cubicBezTo>
                    <a:cubicBezTo>
                      <a:pt x="75286" y="2852695"/>
                      <a:pt x="-16810" y="3452863"/>
                      <a:pt x="281153" y="3700150"/>
                    </a:cubicBezTo>
                    <a:cubicBezTo>
                      <a:pt x="633340" y="3992560"/>
                      <a:pt x="1370034" y="3065041"/>
                      <a:pt x="1909345" y="3388303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4A67CB70-0D00-D981-DAC9-EF67CCBF25DD}"/>
                  </a:ext>
                </a:extLst>
              </p:cNvPr>
              <p:cNvSpPr/>
              <p:nvPr/>
            </p:nvSpPr>
            <p:spPr>
              <a:xfrm>
                <a:off x="4125770" y="2293347"/>
                <a:ext cx="3742715" cy="3749606"/>
              </a:xfrm>
              <a:custGeom>
                <a:avLst/>
                <a:gdLst>
                  <a:gd name="connsiteX0" fmla="*/ 1956963 w 3742715"/>
                  <a:gd name="connsiteY0" fmla="*/ 3232269 h 3749606"/>
                  <a:gd name="connsiteX1" fmla="*/ 3623876 w 3742715"/>
                  <a:gd name="connsiteY1" fmla="*/ 3326063 h 3749606"/>
                  <a:gd name="connsiteX2" fmla="*/ 3472155 w 3742715"/>
                  <a:gd name="connsiteY2" fmla="*/ 1856842 h 3749606"/>
                  <a:gd name="connsiteX3" fmla="*/ 3183063 w 3742715"/>
                  <a:gd name="connsiteY3" fmla="*/ 291359 h 3749606"/>
                  <a:gd name="connsiteX4" fmla="*/ 1457529 w 3742715"/>
                  <a:gd name="connsiteY4" fmla="*/ 37593 h 3749606"/>
                  <a:gd name="connsiteX5" fmla="*/ 892456 w 3742715"/>
                  <a:gd name="connsiteY5" fmla="*/ 1043864 h 3749606"/>
                  <a:gd name="connsiteX6" fmla="*/ 6974 w 3742715"/>
                  <a:gd name="connsiteY6" fmla="*/ 2479687 h 3749606"/>
                  <a:gd name="connsiteX7" fmla="*/ 299306 w 3742715"/>
                  <a:gd name="connsiteY7" fmla="*/ 3698459 h 3749606"/>
                  <a:gd name="connsiteX8" fmla="*/ 1956963 w 3742715"/>
                  <a:gd name="connsiteY8" fmla="*/ 3232269 h 3749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42715" h="3749606">
                    <a:moveTo>
                      <a:pt x="1956963" y="3232269"/>
                    </a:moveTo>
                    <a:cubicBezTo>
                      <a:pt x="2251687" y="3430655"/>
                      <a:pt x="3377822" y="3621712"/>
                      <a:pt x="3623876" y="3326063"/>
                    </a:cubicBezTo>
                    <a:cubicBezTo>
                      <a:pt x="3927315" y="2961226"/>
                      <a:pt x="3564869" y="2291484"/>
                      <a:pt x="3472155" y="1856842"/>
                    </a:cubicBezTo>
                    <a:cubicBezTo>
                      <a:pt x="3397028" y="1504577"/>
                      <a:pt x="3476244" y="535021"/>
                      <a:pt x="3183063" y="291359"/>
                    </a:cubicBezTo>
                    <a:cubicBezTo>
                      <a:pt x="2815989" y="-13623"/>
                      <a:pt x="1897339" y="-41237"/>
                      <a:pt x="1457529" y="37593"/>
                    </a:cubicBezTo>
                    <a:cubicBezTo>
                      <a:pt x="1106653" y="100533"/>
                      <a:pt x="1015405" y="701550"/>
                      <a:pt x="892456" y="1043864"/>
                    </a:cubicBezTo>
                    <a:cubicBezTo>
                      <a:pt x="574361" y="1929346"/>
                      <a:pt x="-74247" y="2064945"/>
                      <a:pt x="6974" y="2479687"/>
                    </a:cubicBezTo>
                    <a:cubicBezTo>
                      <a:pt x="74696" y="2831643"/>
                      <a:pt x="7128" y="3455800"/>
                      <a:pt x="299306" y="3698459"/>
                    </a:cubicBezTo>
                    <a:cubicBezTo>
                      <a:pt x="661058" y="3998967"/>
                      <a:pt x="1405928" y="2861262"/>
                      <a:pt x="1956963" y="323226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956802D6-B400-6895-5A96-1F2731166B14}"/>
                  </a:ext>
                </a:extLst>
              </p:cNvPr>
              <p:cNvSpPr/>
              <p:nvPr/>
            </p:nvSpPr>
            <p:spPr>
              <a:xfrm>
                <a:off x="4061078" y="2330966"/>
                <a:ext cx="3873961" cy="3763840"/>
              </a:xfrm>
              <a:custGeom>
                <a:avLst/>
                <a:gdLst>
                  <a:gd name="connsiteX0" fmla="*/ 3763695 w 3873961"/>
                  <a:gd name="connsiteY0" fmla="*/ 3308421 h 3763840"/>
                  <a:gd name="connsiteX1" fmla="*/ 3551425 w 3873961"/>
                  <a:gd name="connsiteY1" fmla="*/ 1812358 h 3763840"/>
                  <a:gd name="connsiteX2" fmla="*/ 3287786 w 3873961"/>
                  <a:gd name="connsiteY2" fmla="*/ 226435 h 3763840"/>
                  <a:gd name="connsiteX3" fmla="*/ 1453342 w 3873961"/>
                  <a:gd name="connsiteY3" fmla="*/ 78186 h 3763840"/>
                  <a:gd name="connsiteX4" fmla="*/ 967638 w 3873961"/>
                  <a:gd name="connsiteY4" fmla="*/ 1024294 h 3763840"/>
                  <a:gd name="connsiteX5" fmla="*/ 6334 w 3873961"/>
                  <a:gd name="connsiteY5" fmla="*/ 2492590 h 3763840"/>
                  <a:gd name="connsiteX6" fmla="*/ 317642 w 3873961"/>
                  <a:gd name="connsiteY6" fmla="*/ 3717532 h 3763840"/>
                  <a:gd name="connsiteX7" fmla="*/ 2004763 w 3873961"/>
                  <a:gd name="connsiteY7" fmla="*/ 3096923 h 3763840"/>
                  <a:gd name="connsiteX8" fmla="*/ 3763772 w 3873961"/>
                  <a:gd name="connsiteY8" fmla="*/ 3308421 h 3763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73961" h="3763840">
                    <a:moveTo>
                      <a:pt x="3763695" y="3308421"/>
                    </a:moveTo>
                    <a:cubicBezTo>
                      <a:pt x="4074847" y="2933942"/>
                      <a:pt x="3637583" y="2255716"/>
                      <a:pt x="3551425" y="1812358"/>
                    </a:cubicBezTo>
                    <a:cubicBezTo>
                      <a:pt x="3485169" y="1471586"/>
                      <a:pt x="3575568" y="465623"/>
                      <a:pt x="3287786" y="226435"/>
                    </a:cubicBezTo>
                    <a:cubicBezTo>
                      <a:pt x="2910685" y="-86878"/>
                      <a:pt x="1899323" y="-11288"/>
                      <a:pt x="1453342" y="78186"/>
                    </a:cubicBezTo>
                    <a:cubicBezTo>
                      <a:pt x="1116041" y="145831"/>
                      <a:pt x="1064131" y="666245"/>
                      <a:pt x="967638" y="1024294"/>
                    </a:cubicBezTo>
                    <a:cubicBezTo>
                      <a:pt x="714026" y="1965311"/>
                      <a:pt x="-78589" y="2075380"/>
                      <a:pt x="6334" y="2492590"/>
                    </a:cubicBezTo>
                    <a:cubicBezTo>
                      <a:pt x="75291" y="2831202"/>
                      <a:pt x="31094" y="3479501"/>
                      <a:pt x="317642" y="3717532"/>
                    </a:cubicBezTo>
                    <a:cubicBezTo>
                      <a:pt x="688958" y="4026062"/>
                      <a:pt x="1444780" y="2676242"/>
                      <a:pt x="2004763" y="3096923"/>
                    </a:cubicBezTo>
                    <a:cubicBezTo>
                      <a:pt x="2285294" y="3307727"/>
                      <a:pt x="3521961" y="3599365"/>
                      <a:pt x="3763772" y="330842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9DFD03B7-6997-1CE7-6C8E-0B4A7BA19D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6981742">
            <a:off x="9225518" y="3111272"/>
            <a:ext cx="8334992" cy="7408967"/>
            <a:chOff x="-1641318" y="-299489"/>
            <a:chExt cx="8683276" cy="7718554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7E84E868-3649-71C1-9FE8-8BDE65029299}"/>
                </a:ext>
              </a:extLst>
            </p:cNvPr>
            <p:cNvGrpSpPr/>
            <p:nvPr/>
          </p:nvGrpSpPr>
          <p:grpSpPr>
            <a:xfrm rot="13963223">
              <a:off x="-1235110" y="-252874"/>
              <a:ext cx="7671937" cy="7671942"/>
              <a:chOff x="-13073550" y="260470"/>
              <a:chExt cx="10868115" cy="10868116"/>
            </a:xfrm>
            <a:solidFill>
              <a:schemeClr val="bg1">
                <a:lumMod val="85000"/>
              </a:schemeClr>
            </a:solidFill>
          </p:grpSpPr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8F6F3042-9E12-A513-AAEC-C27FF0733BAC}"/>
                  </a:ext>
                </a:extLst>
              </p:cNvPr>
              <p:cNvGrpSpPr/>
              <p:nvPr/>
            </p:nvGrpSpPr>
            <p:grpSpPr>
              <a:xfrm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64" name="Graphic 63">
                  <a:extLst>
                    <a:ext uri="{FF2B5EF4-FFF2-40B4-BE49-F238E27FC236}">
                      <a16:creationId xmlns:a16="http://schemas.microsoft.com/office/drawing/2014/main" id="{50E6530F-9007-4A58-45DE-A86E7F232B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65" name="Graphic 64">
                  <a:extLst>
                    <a:ext uri="{FF2B5EF4-FFF2-40B4-BE49-F238E27FC236}">
                      <a16:creationId xmlns:a16="http://schemas.microsoft.com/office/drawing/2014/main" id="{9530A538-CDE5-BED5-2AF5-97B89E165C8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66E6779D-A527-BFD4-D880-F0B0A151A807}"/>
                  </a:ext>
                </a:extLst>
              </p:cNvPr>
              <p:cNvGrpSpPr/>
              <p:nvPr/>
            </p:nvGrpSpPr>
            <p:grpSpPr>
              <a:xfrm rot="18000000"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62" name="Graphic 61">
                  <a:extLst>
                    <a:ext uri="{FF2B5EF4-FFF2-40B4-BE49-F238E27FC236}">
                      <a16:creationId xmlns:a16="http://schemas.microsoft.com/office/drawing/2014/main" id="{86497F9E-7B1A-60C4-60E5-ECC7847E2A5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63" name="Graphic 62">
                  <a:extLst>
                    <a:ext uri="{FF2B5EF4-FFF2-40B4-BE49-F238E27FC236}">
                      <a16:creationId xmlns:a16="http://schemas.microsoft.com/office/drawing/2014/main" id="{0CCC98F0-6375-7445-8B3B-BB1C05CB782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29E41329-AB0F-E940-3D59-011EE0616D4C}"/>
                  </a:ext>
                </a:extLst>
              </p:cNvPr>
              <p:cNvGrpSpPr/>
              <p:nvPr/>
            </p:nvGrpSpPr>
            <p:grpSpPr>
              <a:xfrm rot="3600000">
                <a:off x="-13073550" y="3398291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60" name="Graphic 59">
                  <a:extLst>
                    <a:ext uri="{FF2B5EF4-FFF2-40B4-BE49-F238E27FC236}">
                      <a16:creationId xmlns:a16="http://schemas.microsoft.com/office/drawing/2014/main" id="{CB6EFCA4-1B32-0AB5-EEE0-4CBD588212C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61" name="Graphic 60">
                  <a:extLst>
                    <a:ext uri="{FF2B5EF4-FFF2-40B4-BE49-F238E27FC236}">
                      <a16:creationId xmlns:a16="http://schemas.microsoft.com/office/drawing/2014/main" id="{74CF5681-6EFD-0FD0-4DCC-ED9F9E08816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5" name="Graphic 5">
              <a:extLst>
                <a:ext uri="{FF2B5EF4-FFF2-40B4-BE49-F238E27FC236}">
                  <a16:creationId xmlns:a16="http://schemas.microsoft.com/office/drawing/2014/main" id="{E2CD18CF-DF9A-36FB-E2F3-D4E9B8834E52}"/>
                </a:ext>
              </a:extLst>
            </p:cNvPr>
            <p:cNvGrpSpPr/>
            <p:nvPr/>
          </p:nvGrpSpPr>
          <p:grpSpPr>
            <a:xfrm rot="15746055">
              <a:off x="-177888" y="1123433"/>
              <a:ext cx="5330696" cy="5499097"/>
              <a:chOff x="4071312" y="2489702"/>
              <a:chExt cx="3527293" cy="3638722"/>
            </a:xfrm>
            <a:noFill/>
          </p:grpSpPr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078D4FA9-4EF2-2CA8-3C15-D5F2FAB84A12}"/>
                  </a:ext>
                </a:extLst>
              </p:cNvPr>
              <p:cNvSpPr/>
              <p:nvPr/>
            </p:nvSpPr>
            <p:spPr>
              <a:xfrm>
                <a:off x="4071312" y="2489702"/>
                <a:ext cx="3259151" cy="3638722"/>
              </a:xfrm>
              <a:custGeom>
                <a:avLst/>
                <a:gdLst>
                  <a:gd name="connsiteX0" fmla="*/ 3079707 w 3259151"/>
                  <a:gd name="connsiteY0" fmla="*/ 3021953 h 3638722"/>
                  <a:gd name="connsiteX1" fmla="*/ 3132080 w 3259151"/>
                  <a:gd name="connsiteY1" fmla="*/ 1787369 h 3638722"/>
                  <a:gd name="connsiteX2" fmla="*/ 3107243 w 3259151"/>
                  <a:gd name="connsiteY2" fmla="*/ 829383 h 3638722"/>
                  <a:gd name="connsiteX3" fmla="*/ 1658848 w 3259151"/>
                  <a:gd name="connsiteY3" fmla="*/ 4990 h 3638722"/>
                  <a:gd name="connsiteX4" fmla="*/ 849418 w 3259151"/>
                  <a:gd name="connsiteY4" fmla="*/ 1005939 h 3638722"/>
                  <a:gd name="connsiteX5" fmla="*/ 4585 w 3259151"/>
                  <a:gd name="connsiteY5" fmla="*/ 2043526 h 3638722"/>
                  <a:gd name="connsiteX6" fmla="*/ 820725 w 3259151"/>
                  <a:gd name="connsiteY6" fmla="*/ 2918441 h 3638722"/>
                  <a:gd name="connsiteX7" fmla="*/ 2033249 w 3259151"/>
                  <a:gd name="connsiteY7" fmla="*/ 3633846 h 3638722"/>
                  <a:gd name="connsiteX8" fmla="*/ 3079785 w 3259151"/>
                  <a:gd name="connsiteY8" fmla="*/ 3022030 h 3638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59151" h="3638722">
                    <a:moveTo>
                      <a:pt x="3079707" y="3021953"/>
                    </a:moveTo>
                    <a:cubicBezTo>
                      <a:pt x="3412226" y="2666372"/>
                      <a:pt x="3192167" y="2234970"/>
                      <a:pt x="3132080" y="1787369"/>
                    </a:cubicBezTo>
                    <a:cubicBezTo>
                      <a:pt x="3085955" y="1443358"/>
                      <a:pt x="3380525" y="1084923"/>
                      <a:pt x="3107243" y="829383"/>
                    </a:cubicBezTo>
                    <a:cubicBezTo>
                      <a:pt x="2749194" y="494473"/>
                      <a:pt x="2109225" y="-58259"/>
                      <a:pt x="1658848" y="4990"/>
                    </a:cubicBezTo>
                    <a:cubicBezTo>
                      <a:pt x="1318153" y="52812"/>
                      <a:pt x="1102645" y="735127"/>
                      <a:pt x="849418" y="1005939"/>
                    </a:cubicBezTo>
                    <a:cubicBezTo>
                      <a:pt x="515743" y="1362755"/>
                      <a:pt x="-56967" y="1594538"/>
                      <a:pt x="4585" y="2043526"/>
                    </a:cubicBezTo>
                    <a:cubicBezTo>
                      <a:pt x="51559" y="2385918"/>
                      <a:pt x="548678" y="2663981"/>
                      <a:pt x="820725" y="2918441"/>
                    </a:cubicBezTo>
                    <a:cubicBezTo>
                      <a:pt x="1173298" y="3248183"/>
                      <a:pt x="1589043" y="3690075"/>
                      <a:pt x="2033249" y="3633846"/>
                    </a:cubicBezTo>
                    <a:cubicBezTo>
                      <a:pt x="2381349" y="3589726"/>
                      <a:pt x="2821390" y="3298397"/>
                      <a:pt x="3079785" y="302203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50A9A71-FFD7-94C3-8C71-ED3BE36054E6}"/>
                  </a:ext>
                </a:extLst>
              </p:cNvPr>
              <p:cNvSpPr/>
              <p:nvPr/>
            </p:nvSpPr>
            <p:spPr>
              <a:xfrm>
                <a:off x="4109618" y="2534620"/>
                <a:ext cx="3220782" cy="3579817"/>
              </a:xfrm>
              <a:custGeom>
                <a:avLst/>
                <a:gdLst>
                  <a:gd name="connsiteX0" fmla="*/ 791058 w 3220782"/>
                  <a:gd name="connsiteY0" fmla="*/ 2907154 h 3579817"/>
                  <a:gd name="connsiteX1" fmla="*/ 2002194 w 3220782"/>
                  <a:gd name="connsiteY1" fmla="*/ 3574659 h 3579817"/>
                  <a:gd name="connsiteX2" fmla="*/ 3028289 w 3220782"/>
                  <a:gd name="connsiteY2" fmla="*/ 2934613 h 3579817"/>
                  <a:gd name="connsiteX3" fmla="*/ 3129333 w 3220782"/>
                  <a:gd name="connsiteY3" fmla="*/ 1743455 h 3579817"/>
                  <a:gd name="connsiteX4" fmla="*/ 3052277 w 3220782"/>
                  <a:gd name="connsiteY4" fmla="*/ 731167 h 3579817"/>
                  <a:gd name="connsiteX5" fmla="*/ 1620928 w 3220782"/>
                  <a:gd name="connsiteY5" fmla="*/ 5581 h 3579817"/>
                  <a:gd name="connsiteX6" fmla="*/ 765913 w 3220782"/>
                  <a:gd name="connsiteY6" fmla="*/ 939888 h 3579817"/>
                  <a:gd name="connsiteX7" fmla="*/ 5000 w 3220782"/>
                  <a:gd name="connsiteY7" fmla="*/ 1991745 h 3579817"/>
                  <a:gd name="connsiteX8" fmla="*/ 791058 w 3220782"/>
                  <a:gd name="connsiteY8" fmla="*/ 2907231 h 3579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782" h="3579817">
                    <a:moveTo>
                      <a:pt x="791058" y="2907154"/>
                    </a:moveTo>
                    <a:cubicBezTo>
                      <a:pt x="1139775" y="3222549"/>
                      <a:pt x="1564312" y="3630426"/>
                      <a:pt x="2002194" y="3574659"/>
                    </a:cubicBezTo>
                    <a:cubicBezTo>
                      <a:pt x="2362558" y="3528688"/>
                      <a:pt x="2770743" y="3219772"/>
                      <a:pt x="3028289" y="2934613"/>
                    </a:cubicBezTo>
                    <a:cubicBezTo>
                      <a:pt x="3345767" y="2583197"/>
                      <a:pt x="3188417" y="2184113"/>
                      <a:pt x="3129333" y="1743455"/>
                    </a:cubicBezTo>
                    <a:cubicBezTo>
                      <a:pt x="3081433" y="1386485"/>
                      <a:pt x="3334968" y="986244"/>
                      <a:pt x="3052277" y="731167"/>
                    </a:cubicBezTo>
                    <a:cubicBezTo>
                      <a:pt x="2698624" y="412069"/>
                      <a:pt x="2063823" y="-56434"/>
                      <a:pt x="1620928" y="5581"/>
                    </a:cubicBezTo>
                    <a:cubicBezTo>
                      <a:pt x="1267198" y="54946"/>
                      <a:pt x="1018908" y="659665"/>
                      <a:pt x="765913" y="939888"/>
                    </a:cubicBezTo>
                    <a:cubicBezTo>
                      <a:pt x="447664" y="1292461"/>
                      <a:pt x="-55549" y="1549929"/>
                      <a:pt x="5000" y="1991745"/>
                    </a:cubicBezTo>
                    <a:cubicBezTo>
                      <a:pt x="53516" y="2346477"/>
                      <a:pt x="510218" y="2653234"/>
                      <a:pt x="791058" y="290723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23D0F3A-2964-B42D-2453-54AA2705A052}"/>
                  </a:ext>
                </a:extLst>
              </p:cNvPr>
              <p:cNvSpPr/>
              <p:nvPr/>
            </p:nvSpPr>
            <p:spPr>
              <a:xfrm>
                <a:off x="4147825" y="2579175"/>
                <a:ext cx="3187979" cy="3521387"/>
              </a:xfrm>
              <a:custGeom>
                <a:avLst/>
                <a:gdLst>
                  <a:gd name="connsiteX0" fmla="*/ 761567 w 3187979"/>
                  <a:gd name="connsiteY0" fmla="*/ 2896229 h 3521387"/>
                  <a:gd name="connsiteX1" fmla="*/ 1971315 w 3187979"/>
                  <a:gd name="connsiteY1" fmla="*/ 3515912 h 3521387"/>
                  <a:gd name="connsiteX2" fmla="*/ 2977047 w 3187979"/>
                  <a:gd name="connsiteY2" fmla="*/ 2847635 h 3521387"/>
                  <a:gd name="connsiteX3" fmla="*/ 3126683 w 3187979"/>
                  <a:gd name="connsiteY3" fmla="*/ 1699825 h 3521387"/>
                  <a:gd name="connsiteX4" fmla="*/ 2997409 w 3187979"/>
                  <a:gd name="connsiteY4" fmla="*/ 633236 h 3521387"/>
                  <a:gd name="connsiteX5" fmla="*/ 1583183 w 3187979"/>
                  <a:gd name="connsiteY5" fmla="*/ 6380 h 3521387"/>
                  <a:gd name="connsiteX6" fmla="*/ 682583 w 3187979"/>
                  <a:gd name="connsiteY6" fmla="*/ 874121 h 3521387"/>
                  <a:gd name="connsiteX7" fmla="*/ 5513 w 3187979"/>
                  <a:gd name="connsiteY7" fmla="*/ 1940171 h 3521387"/>
                  <a:gd name="connsiteX8" fmla="*/ 761567 w 3187979"/>
                  <a:gd name="connsiteY8" fmla="*/ 2896229 h 3521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87979" h="3521387">
                    <a:moveTo>
                      <a:pt x="761567" y="2896229"/>
                    </a:moveTo>
                    <a:cubicBezTo>
                      <a:pt x="1106195" y="3197508"/>
                      <a:pt x="1539681" y="3571139"/>
                      <a:pt x="1971315" y="3515912"/>
                    </a:cubicBezTo>
                    <a:cubicBezTo>
                      <a:pt x="2343865" y="3468090"/>
                      <a:pt x="2720426" y="3141742"/>
                      <a:pt x="2977047" y="2847635"/>
                    </a:cubicBezTo>
                    <a:cubicBezTo>
                      <a:pt x="3279715" y="2500770"/>
                      <a:pt x="3184842" y="2133542"/>
                      <a:pt x="3126683" y="1699825"/>
                    </a:cubicBezTo>
                    <a:cubicBezTo>
                      <a:pt x="3077087" y="1329975"/>
                      <a:pt x="3289665" y="887620"/>
                      <a:pt x="2997409" y="633236"/>
                    </a:cubicBezTo>
                    <a:cubicBezTo>
                      <a:pt x="2648539" y="329565"/>
                      <a:pt x="2018520" y="-54246"/>
                      <a:pt x="1583183" y="6380"/>
                    </a:cubicBezTo>
                    <a:cubicBezTo>
                      <a:pt x="1216418" y="57287"/>
                      <a:pt x="935115" y="584257"/>
                      <a:pt x="682583" y="874121"/>
                    </a:cubicBezTo>
                    <a:cubicBezTo>
                      <a:pt x="379529" y="1222066"/>
                      <a:pt x="-53879" y="1505683"/>
                      <a:pt x="5513" y="1940171"/>
                    </a:cubicBezTo>
                    <a:cubicBezTo>
                      <a:pt x="55572" y="2307322"/>
                      <a:pt x="471703" y="2642848"/>
                      <a:pt x="761567" y="28962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43BD5F57-F054-BBE8-109D-76F33023FE00}"/>
                  </a:ext>
                </a:extLst>
              </p:cNvPr>
              <p:cNvSpPr/>
              <p:nvPr/>
            </p:nvSpPr>
            <p:spPr>
              <a:xfrm>
                <a:off x="4185926" y="2623532"/>
                <a:ext cx="3162650" cy="3463280"/>
              </a:xfrm>
              <a:custGeom>
                <a:avLst/>
                <a:gdLst>
                  <a:gd name="connsiteX0" fmla="*/ 732182 w 3162650"/>
                  <a:gd name="connsiteY0" fmla="*/ 2885579 h 3463280"/>
                  <a:gd name="connsiteX1" fmla="*/ 1940541 w 3162650"/>
                  <a:gd name="connsiteY1" fmla="*/ 3457440 h 3463280"/>
                  <a:gd name="connsiteX2" fmla="*/ 2925910 w 3162650"/>
                  <a:gd name="connsiteY2" fmla="*/ 2760933 h 3463280"/>
                  <a:gd name="connsiteX3" fmla="*/ 3124217 w 3162650"/>
                  <a:gd name="connsiteY3" fmla="*/ 1656549 h 3463280"/>
                  <a:gd name="connsiteX4" fmla="*/ 2942725 w 3162650"/>
                  <a:gd name="connsiteY4" fmla="*/ 535658 h 3463280"/>
                  <a:gd name="connsiteX5" fmla="*/ 1545622 w 3162650"/>
                  <a:gd name="connsiteY5" fmla="*/ 7609 h 3463280"/>
                  <a:gd name="connsiteX6" fmla="*/ 599436 w 3162650"/>
                  <a:gd name="connsiteY6" fmla="*/ 808708 h 3463280"/>
                  <a:gd name="connsiteX7" fmla="*/ 6210 w 3162650"/>
                  <a:gd name="connsiteY7" fmla="*/ 1888949 h 3463280"/>
                  <a:gd name="connsiteX8" fmla="*/ 732182 w 3162650"/>
                  <a:gd name="connsiteY8" fmla="*/ 2885579 h 3463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62650" h="3463280">
                    <a:moveTo>
                      <a:pt x="732182" y="2885579"/>
                    </a:moveTo>
                    <a:cubicBezTo>
                      <a:pt x="1072413" y="3173052"/>
                      <a:pt x="1515232" y="3512050"/>
                      <a:pt x="1940541" y="3457440"/>
                    </a:cubicBezTo>
                    <a:cubicBezTo>
                      <a:pt x="2325355" y="3407689"/>
                      <a:pt x="2670370" y="3064218"/>
                      <a:pt x="2925910" y="2760933"/>
                    </a:cubicBezTo>
                    <a:cubicBezTo>
                      <a:pt x="3214077" y="2418850"/>
                      <a:pt x="3181450" y="2083246"/>
                      <a:pt x="3124217" y="1656549"/>
                    </a:cubicBezTo>
                    <a:cubicBezTo>
                      <a:pt x="3072847" y="1273817"/>
                      <a:pt x="3244776" y="789270"/>
                      <a:pt x="2942725" y="535658"/>
                    </a:cubicBezTo>
                    <a:cubicBezTo>
                      <a:pt x="2599022" y="247105"/>
                      <a:pt x="1973399" y="-51783"/>
                      <a:pt x="1545622" y="7609"/>
                    </a:cubicBezTo>
                    <a:cubicBezTo>
                      <a:pt x="1165821" y="60059"/>
                      <a:pt x="851352" y="508970"/>
                      <a:pt x="599436" y="808708"/>
                    </a:cubicBezTo>
                    <a:cubicBezTo>
                      <a:pt x="311192" y="1151639"/>
                      <a:pt x="-52025" y="1461712"/>
                      <a:pt x="6210" y="1888949"/>
                    </a:cubicBezTo>
                    <a:cubicBezTo>
                      <a:pt x="57888" y="2268441"/>
                      <a:pt x="433139" y="2632970"/>
                      <a:pt x="732182" y="28855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20B178C0-7C9E-55F7-F43F-BDD05B4FB898}"/>
                  </a:ext>
                </a:extLst>
              </p:cNvPr>
              <p:cNvSpPr/>
              <p:nvPr/>
            </p:nvSpPr>
            <p:spPr>
              <a:xfrm>
                <a:off x="4223622" y="2666959"/>
                <a:ext cx="3145783" cy="3406134"/>
              </a:xfrm>
              <a:custGeom>
                <a:avLst/>
                <a:gdLst>
                  <a:gd name="connsiteX0" fmla="*/ 703202 w 3145783"/>
                  <a:gd name="connsiteY0" fmla="*/ 2875858 h 3406134"/>
                  <a:gd name="connsiteX1" fmla="*/ 1910173 w 3145783"/>
                  <a:gd name="connsiteY1" fmla="*/ 3399820 h 3406134"/>
                  <a:gd name="connsiteX2" fmla="*/ 2875101 w 3145783"/>
                  <a:gd name="connsiteY2" fmla="*/ 2675082 h 3406134"/>
                  <a:gd name="connsiteX3" fmla="*/ 3122003 w 3145783"/>
                  <a:gd name="connsiteY3" fmla="*/ 1614047 h 3406134"/>
                  <a:gd name="connsiteX4" fmla="*/ 2888291 w 3145783"/>
                  <a:gd name="connsiteY4" fmla="*/ 438855 h 3406134"/>
                  <a:gd name="connsiteX5" fmla="*/ 1508312 w 3145783"/>
                  <a:gd name="connsiteY5" fmla="*/ 9612 h 3406134"/>
                  <a:gd name="connsiteX6" fmla="*/ 516541 w 3145783"/>
                  <a:gd name="connsiteY6" fmla="*/ 744146 h 3406134"/>
                  <a:gd name="connsiteX7" fmla="*/ 7234 w 3145783"/>
                  <a:gd name="connsiteY7" fmla="*/ 1838580 h 3406134"/>
                  <a:gd name="connsiteX8" fmla="*/ 703125 w 3145783"/>
                  <a:gd name="connsiteY8" fmla="*/ 2875858 h 340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45783" h="3406134">
                    <a:moveTo>
                      <a:pt x="703202" y="2875858"/>
                    </a:moveTo>
                    <a:cubicBezTo>
                      <a:pt x="1038729" y="3149756"/>
                      <a:pt x="1491188" y="3453967"/>
                      <a:pt x="1910173" y="3399820"/>
                    </a:cubicBezTo>
                    <a:cubicBezTo>
                      <a:pt x="2307174" y="3348218"/>
                      <a:pt x="2620872" y="2987778"/>
                      <a:pt x="2875101" y="2675082"/>
                    </a:cubicBezTo>
                    <a:cubicBezTo>
                      <a:pt x="3149077" y="2338167"/>
                      <a:pt x="3178310" y="2033802"/>
                      <a:pt x="3122003" y="1614047"/>
                    </a:cubicBezTo>
                    <a:cubicBezTo>
                      <a:pt x="3068936" y="1218434"/>
                      <a:pt x="3200369" y="691464"/>
                      <a:pt x="2888291" y="438855"/>
                    </a:cubicBezTo>
                    <a:cubicBezTo>
                      <a:pt x="2549988" y="165034"/>
                      <a:pt x="1928530" y="-48546"/>
                      <a:pt x="1508312" y="9612"/>
                    </a:cubicBezTo>
                    <a:cubicBezTo>
                      <a:pt x="1115476" y="63605"/>
                      <a:pt x="767685" y="434304"/>
                      <a:pt x="516541" y="744146"/>
                    </a:cubicBezTo>
                    <a:cubicBezTo>
                      <a:pt x="242797" y="1081832"/>
                      <a:pt x="-49998" y="1418593"/>
                      <a:pt x="7234" y="1838580"/>
                    </a:cubicBezTo>
                    <a:cubicBezTo>
                      <a:pt x="60456" y="2230413"/>
                      <a:pt x="394749" y="2624098"/>
                      <a:pt x="703125" y="287585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88CD8701-646D-1C17-F351-F8197CEB018C}"/>
                  </a:ext>
                </a:extLst>
              </p:cNvPr>
              <p:cNvSpPr/>
              <p:nvPr/>
            </p:nvSpPr>
            <p:spPr>
              <a:xfrm>
                <a:off x="4260986" y="2709255"/>
                <a:ext cx="3135893" cy="3350272"/>
              </a:xfrm>
              <a:custGeom>
                <a:avLst/>
                <a:gdLst>
                  <a:gd name="connsiteX0" fmla="*/ 674554 w 3135893"/>
                  <a:gd name="connsiteY0" fmla="*/ 2867269 h 3350272"/>
                  <a:gd name="connsiteX1" fmla="*/ 1880214 w 3135893"/>
                  <a:gd name="connsiteY1" fmla="*/ 3343408 h 3350272"/>
                  <a:gd name="connsiteX2" fmla="*/ 2824779 w 3135893"/>
                  <a:gd name="connsiteY2" fmla="*/ 2590440 h 3350272"/>
                  <a:gd name="connsiteX3" fmla="*/ 3120352 w 3135893"/>
                  <a:gd name="connsiteY3" fmla="*/ 1572830 h 3350272"/>
                  <a:gd name="connsiteX4" fmla="*/ 2834498 w 3135893"/>
                  <a:gd name="connsiteY4" fmla="*/ 343337 h 3350272"/>
                  <a:gd name="connsiteX5" fmla="*/ 1471565 w 3135893"/>
                  <a:gd name="connsiteY5" fmla="*/ 12824 h 3350272"/>
                  <a:gd name="connsiteX6" fmla="*/ 434209 w 3135893"/>
                  <a:gd name="connsiteY6" fmla="*/ 680715 h 3350272"/>
                  <a:gd name="connsiteX7" fmla="*/ 8746 w 3135893"/>
                  <a:gd name="connsiteY7" fmla="*/ 1789341 h 3350272"/>
                  <a:gd name="connsiteX8" fmla="*/ 674631 w 3135893"/>
                  <a:gd name="connsiteY8" fmla="*/ 2867192 h 3350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893" h="3350272">
                    <a:moveTo>
                      <a:pt x="674554" y="2867269"/>
                    </a:moveTo>
                    <a:cubicBezTo>
                      <a:pt x="1005144" y="3127900"/>
                      <a:pt x="1467477" y="3396938"/>
                      <a:pt x="1880214" y="3343408"/>
                    </a:cubicBezTo>
                    <a:cubicBezTo>
                      <a:pt x="2289402" y="3289956"/>
                      <a:pt x="2572016" y="2912777"/>
                      <a:pt x="2824779" y="2590440"/>
                    </a:cubicBezTo>
                    <a:cubicBezTo>
                      <a:pt x="3084794" y="2258847"/>
                      <a:pt x="3175656" y="1985567"/>
                      <a:pt x="3120352" y="1572830"/>
                    </a:cubicBezTo>
                    <a:cubicBezTo>
                      <a:pt x="3065587" y="1164336"/>
                      <a:pt x="3156758" y="594635"/>
                      <a:pt x="2834498" y="343337"/>
                    </a:cubicBezTo>
                    <a:cubicBezTo>
                      <a:pt x="2512238" y="92039"/>
                      <a:pt x="1884302" y="-44023"/>
                      <a:pt x="1471565" y="12824"/>
                    </a:cubicBezTo>
                    <a:cubicBezTo>
                      <a:pt x="1065694" y="68359"/>
                      <a:pt x="684273" y="360692"/>
                      <a:pt x="434209" y="680715"/>
                    </a:cubicBezTo>
                    <a:cubicBezTo>
                      <a:pt x="174658" y="1012848"/>
                      <a:pt x="-47330" y="1376605"/>
                      <a:pt x="8746" y="1789341"/>
                    </a:cubicBezTo>
                    <a:cubicBezTo>
                      <a:pt x="63510" y="2193593"/>
                      <a:pt x="356691" y="2616588"/>
                      <a:pt x="674631" y="286719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FC401A10-5F5C-0BD3-A9A7-F367A0D4C583}"/>
                  </a:ext>
                </a:extLst>
              </p:cNvPr>
              <p:cNvSpPr/>
              <p:nvPr/>
            </p:nvSpPr>
            <p:spPr>
              <a:xfrm>
                <a:off x="4297185" y="2745782"/>
                <a:ext cx="3130741" cy="3300265"/>
              </a:xfrm>
              <a:custGeom>
                <a:avLst/>
                <a:gdLst>
                  <a:gd name="connsiteX0" fmla="*/ 647071 w 3130741"/>
                  <a:gd name="connsiteY0" fmla="*/ 2864372 h 3300265"/>
                  <a:gd name="connsiteX1" fmla="*/ 1851342 w 3130741"/>
                  <a:gd name="connsiteY1" fmla="*/ 3292689 h 3300265"/>
                  <a:gd name="connsiteX2" fmla="*/ 2775545 w 3130741"/>
                  <a:gd name="connsiteY2" fmla="*/ 2511491 h 3300265"/>
                  <a:gd name="connsiteX3" fmla="*/ 3119711 w 3130741"/>
                  <a:gd name="connsiteY3" fmla="*/ 1537229 h 3300265"/>
                  <a:gd name="connsiteX4" fmla="*/ 2781639 w 3130741"/>
                  <a:gd name="connsiteY4" fmla="*/ 253435 h 3300265"/>
                  <a:gd name="connsiteX5" fmla="*/ 1435829 w 3130741"/>
                  <a:gd name="connsiteY5" fmla="*/ 21729 h 3300265"/>
                  <a:gd name="connsiteX6" fmla="*/ 352887 w 3130741"/>
                  <a:gd name="connsiteY6" fmla="*/ 622977 h 3300265"/>
                  <a:gd name="connsiteX7" fmla="*/ 11267 w 3130741"/>
                  <a:gd name="connsiteY7" fmla="*/ 1745873 h 3300265"/>
                  <a:gd name="connsiteX8" fmla="*/ 647071 w 3130741"/>
                  <a:gd name="connsiteY8" fmla="*/ 2864295 h 3300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0741" h="3300265">
                    <a:moveTo>
                      <a:pt x="647071" y="2864372"/>
                    </a:moveTo>
                    <a:cubicBezTo>
                      <a:pt x="972571" y="3111968"/>
                      <a:pt x="1444853" y="3345679"/>
                      <a:pt x="1851342" y="3292689"/>
                    </a:cubicBezTo>
                    <a:cubicBezTo>
                      <a:pt x="2272795" y="3237385"/>
                      <a:pt x="2524556" y="2843624"/>
                      <a:pt x="2775545" y="2511491"/>
                    </a:cubicBezTo>
                    <a:cubicBezTo>
                      <a:pt x="3021907" y="2185529"/>
                      <a:pt x="3174166" y="1943024"/>
                      <a:pt x="3119711" y="1537229"/>
                    </a:cubicBezTo>
                    <a:cubicBezTo>
                      <a:pt x="3063172" y="1115777"/>
                      <a:pt x="3114388" y="503190"/>
                      <a:pt x="2781639" y="253435"/>
                    </a:cubicBezTo>
                    <a:cubicBezTo>
                      <a:pt x="2455059" y="8308"/>
                      <a:pt x="1841007" y="-33884"/>
                      <a:pt x="1435829" y="21729"/>
                    </a:cubicBezTo>
                    <a:cubicBezTo>
                      <a:pt x="1016845" y="78884"/>
                      <a:pt x="601640" y="292464"/>
                      <a:pt x="352887" y="622977"/>
                    </a:cubicBezTo>
                    <a:cubicBezTo>
                      <a:pt x="107297" y="949325"/>
                      <a:pt x="-43651" y="1340387"/>
                      <a:pt x="11267" y="1745873"/>
                    </a:cubicBezTo>
                    <a:cubicBezTo>
                      <a:pt x="67574" y="2162466"/>
                      <a:pt x="319412" y="2615080"/>
                      <a:pt x="647071" y="286429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FDD21534-1489-3A42-5C7D-7529734D927B}"/>
                  </a:ext>
                </a:extLst>
              </p:cNvPr>
              <p:cNvSpPr/>
              <p:nvPr/>
            </p:nvSpPr>
            <p:spPr>
              <a:xfrm>
                <a:off x="4331073" y="2769810"/>
                <a:ext cx="3129679" cy="3263042"/>
              </a:xfrm>
              <a:custGeom>
                <a:avLst/>
                <a:gdLst>
                  <a:gd name="connsiteX0" fmla="*/ 621899 w 3129679"/>
                  <a:gd name="connsiteY0" fmla="*/ 2874051 h 3263042"/>
                  <a:gd name="connsiteX1" fmla="*/ 1824782 w 3129679"/>
                  <a:gd name="connsiteY1" fmla="*/ 3254546 h 3263042"/>
                  <a:gd name="connsiteX2" fmla="*/ 2728544 w 3129679"/>
                  <a:gd name="connsiteY2" fmla="*/ 2445116 h 3263042"/>
                  <a:gd name="connsiteX3" fmla="*/ 3121380 w 3129679"/>
                  <a:gd name="connsiteY3" fmla="*/ 1514281 h 3263042"/>
                  <a:gd name="connsiteX4" fmla="*/ 2731090 w 3129679"/>
                  <a:gd name="connsiteY4" fmla="*/ 176262 h 3263042"/>
                  <a:gd name="connsiteX5" fmla="*/ 1402404 w 3129679"/>
                  <a:gd name="connsiteY5" fmla="*/ 43363 h 3263042"/>
                  <a:gd name="connsiteX6" fmla="*/ 273877 w 3129679"/>
                  <a:gd name="connsiteY6" fmla="*/ 578045 h 3263042"/>
                  <a:gd name="connsiteX7" fmla="*/ 16177 w 3129679"/>
                  <a:gd name="connsiteY7" fmla="*/ 1715134 h 3263042"/>
                  <a:gd name="connsiteX8" fmla="*/ 621899 w 3129679"/>
                  <a:gd name="connsiteY8" fmla="*/ 2874205 h 3263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29679" h="3263042">
                    <a:moveTo>
                      <a:pt x="621899" y="2874051"/>
                    </a:moveTo>
                    <a:cubicBezTo>
                      <a:pt x="941999" y="3108842"/>
                      <a:pt x="1424618" y="3306996"/>
                      <a:pt x="1824782" y="3254546"/>
                    </a:cubicBezTo>
                    <a:cubicBezTo>
                      <a:pt x="2258421" y="3197313"/>
                      <a:pt x="2479637" y="2787277"/>
                      <a:pt x="2728544" y="2445116"/>
                    </a:cubicBezTo>
                    <a:cubicBezTo>
                      <a:pt x="2961485" y="2124939"/>
                      <a:pt x="3174833" y="1913056"/>
                      <a:pt x="3121380" y="1514281"/>
                    </a:cubicBezTo>
                    <a:cubicBezTo>
                      <a:pt x="3063145" y="1079947"/>
                      <a:pt x="3074561" y="424089"/>
                      <a:pt x="2731090" y="176262"/>
                    </a:cubicBezTo>
                    <a:cubicBezTo>
                      <a:pt x="2410681" y="-54982"/>
                      <a:pt x="1800022" y="-10939"/>
                      <a:pt x="1402404" y="43363"/>
                    </a:cubicBezTo>
                    <a:cubicBezTo>
                      <a:pt x="970384" y="102060"/>
                      <a:pt x="521009" y="236734"/>
                      <a:pt x="273877" y="578045"/>
                    </a:cubicBezTo>
                    <a:cubicBezTo>
                      <a:pt x="41862" y="898377"/>
                      <a:pt x="-37739" y="1316898"/>
                      <a:pt x="16177" y="1715134"/>
                    </a:cubicBezTo>
                    <a:cubicBezTo>
                      <a:pt x="74026" y="2144068"/>
                      <a:pt x="284289" y="2626532"/>
                      <a:pt x="621899" y="287420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BD1EBF3D-0A21-751E-16F4-B04D9FE5BB48}"/>
                  </a:ext>
                </a:extLst>
              </p:cNvPr>
              <p:cNvSpPr/>
              <p:nvPr/>
            </p:nvSpPr>
            <p:spPr>
              <a:xfrm>
                <a:off x="4358871" y="2771233"/>
                <a:ext cx="3135688" cy="3248662"/>
              </a:xfrm>
              <a:custGeom>
                <a:avLst/>
                <a:gdLst>
                  <a:gd name="connsiteX0" fmla="*/ 602817 w 3135688"/>
                  <a:gd name="connsiteY0" fmla="*/ 2906335 h 3248662"/>
                  <a:gd name="connsiteX1" fmla="*/ 1804311 w 3135688"/>
                  <a:gd name="connsiteY1" fmla="*/ 3238930 h 3248662"/>
                  <a:gd name="connsiteX2" fmla="*/ 2687711 w 3135688"/>
                  <a:gd name="connsiteY2" fmla="*/ 2401271 h 3248662"/>
                  <a:gd name="connsiteX3" fmla="*/ 3129140 w 3135688"/>
                  <a:gd name="connsiteY3" fmla="*/ 1513860 h 3248662"/>
                  <a:gd name="connsiteX4" fmla="*/ 2686631 w 3135688"/>
                  <a:gd name="connsiteY4" fmla="*/ 121540 h 3248662"/>
                  <a:gd name="connsiteX5" fmla="*/ 1375068 w 3135688"/>
                  <a:gd name="connsiteY5" fmla="*/ 87448 h 3248662"/>
                  <a:gd name="connsiteX6" fmla="*/ 200956 w 3135688"/>
                  <a:gd name="connsiteY6" fmla="*/ 555488 h 3248662"/>
                  <a:gd name="connsiteX7" fmla="*/ 27099 w 3135688"/>
                  <a:gd name="connsiteY7" fmla="*/ 1706769 h 3248662"/>
                  <a:gd name="connsiteX8" fmla="*/ 602817 w 3135688"/>
                  <a:gd name="connsiteY8" fmla="*/ 2906412 h 3248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688" h="3248662">
                    <a:moveTo>
                      <a:pt x="602817" y="2906335"/>
                    </a:moveTo>
                    <a:cubicBezTo>
                      <a:pt x="917441" y="3128631"/>
                      <a:pt x="1410472" y="3290840"/>
                      <a:pt x="1804311" y="3238930"/>
                    </a:cubicBezTo>
                    <a:cubicBezTo>
                      <a:pt x="2250214" y="3179847"/>
                      <a:pt x="2441195" y="2753612"/>
                      <a:pt x="2687711" y="2401271"/>
                    </a:cubicBezTo>
                    <a:cubicBezTo>
                      <a:pt x="2907538" y="2087032"/>
                      <a:pt x="3181668" y="1905617"/>
                      <a:pt x="3129140" y="1513860"/>
                    </a:cubicBezTo>
                    <a:cubicBezTo>
                      <a:pt x="3069209" y="1066646"/>
                      <a:pt x="3040978" y="367208"/>
                      <a:pt x="2686631" y="121540"/>
                    </a:cubicBezTo>
                    <a:cubicBezTo>
                      <a:pt x="2372624" y="-96128"/>
                      <a:pt x="1765128" y="34381"/>
                      <a:pt x="1375068" y="87448"/>
                    </a:cubicBezTo>
                    <a:cubicBezTo>
                      <a:pt x="930013" y="147688"/>
                      <a:pt x="446083" y="203301"/>
                      <a:pt x="200956" y="555488"/>
                    </a:cubicBezTo>
                    <a:cubicBezTo>
                      <a:pt x="-17715" y="869649"/>
                      <a:pt x="-25660" y="1315784"/>
                      <a:pt x="27099" y="1706769"/>
                    </a:cubicBezTo>
                    <a:cubicBezTo>
                      <a:pt x="86568" y="2148122"/>
                      <a:pt x="255026" y="2660667"/>
                      <a:pt x="602817" y="290641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9A164048-97DA-04CB-E950-DE87F0D191FE}"/>
                  </a:ext>
                </a:extLst>
              </p:cNvPr>
              <p:cNvSpPr/>
              <p:nvPr/>
            </p:nvSpPr>
            <p:spPr>
              <a:xfrm>
                <a:off x="4372952" y="2753381"/>
                <a:ext cx="3156027" cy="3254119"/>
              </a:xfrm>
              <a:custGeom>
                <a:avLst/>
                <a:gdLst>
                  <a:gd name="connsiteX0" fmla="*/ 597452 w 3156027"/>
                  <a:gd name="connsiteY0" fmla="*/ 2957894 h 3254119"/>
                  <a:gd name="connsiteX1" fmla="*/ 1797558 w 3156027"/>
                  <a:gd name="connsiteY1" fmla="*/ 3242667 h 3254119"/>
                  <a:gd name="connsiteX2" fmla="*/ 2660594 w 3156027"/>
                  <a:gd name="connsiteY2" fmla="*/ 2376700 h 3254119"/>
                  <a:gd name="connsiteX3" fmla="*/ 3150695 w 3156027"/>
                  <a:gd name="connsiteY3" fmla="*/ 1532638 h 3254119"/>
                  <a:gd name="connsiteX4" fmla="*/ 2655966 w 3156027"/>
                  <a:gd name="connsiteY4" fmla="*/ 86017 h 3254119"/>
                  <a:gd name="connsiteX5" fmla="*/ 1361450 w 3156027"/>
                  <a:gd name="connsiteY5" fmla="*/ 150654 h 3254119"/>
                  <a:gd name="connsiteX6" fmla="*/ 141752 w 3156027"/>
                  <a:gd name="connsiteY6" fmla="*/ 552129 h 3254119"/>
                  <a:gd name="connsiteX7" fmla="*/ 51738 w 3156027"/>
                  <a:gd name="connsiteY7" fmla="*/ 1717602 h 3254119"/>
                  <a:gd name="connsiteX8" fmla="*/ 597374 w 3156027"/>
                  <a:gd name="connsiteY8" fmla="*/ 2957816 h 3254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56027" h="3254119">
                    <a:moveTo>
                      <a:pt x="597452" y="2957894"/>
                    </a:moveTo>
                    <a:cubicBezTo>
                      <a:pt x="906445" y="3167925"/>
                      <a:pt x="1410044" y="3294037"/>
                      <a:pt x="1797558" y="3242667"/>
                    </a:cubicBezTo>
                    <a:cubicBezTo>
                      <a:pt x="2255648" y="3181732"/>
                      <a:pt x="2416778" y="2739608"/>
                      <a:pt x="2660594" y="2376700"/>
                    </a:cubicBezTo>
                    <a:cubicBezTo>
                      <a:pt x="2867541" y="2068555"/>
                      <a:pt x="3202297" y="1917452"/>
                      <a:pt x="3150695" y="1532638"/>
                    </a:cubicBezTo>
                    <a:cubicBezTo>
                      <a:pt x="3088989" y="1072542"/>
                      <a:pt x="3021574" y="329061"/>
                      <a:pt x="2655966" y="86017"/>
                    </a:cubicBezTo>
                    <a:cubicBezTo>
                      <a:pt x="2348516" y="-118385"/>
                      <a:pt x="1744028" y="98898"/>
                      <a:pt x="1361450" y="150654"/>
                    </a:cubicBezTo>
                    <a:cubicBezTo>
                      <a:pt x="903359" y="212437"/>
                      <a:pt x="384566" y="188680"/>
                      <a:pt x="141752" y="552129"/>
                    </a:cubicBezTo>
                    <a:cubicBezTo>
                      <a:pt x="-63883" y="859965"/>
                      <a:pt x="60" y="1333867"/>
                      <a:pt x="51738" y="1717602"/>
                    </a:cubicBezTo>
                    <a:cubicBezTo>
                      <a:pt x="112750" y="2171296"/>
                      <a:pt x="239248" y="2714386"/>
                      <a:pt x="597374" y="2957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3EA587DE-5BF5-D3FB-472F-33142A4C212F}"/>
                  </a:ext>
                </a:extLst>
              </p:cNvPr>
              <p:cNvSpPr/>
              <p:nvPr/>
            </p:nvSpPr>
            <p:spPr>
              <a:xfrm>
                <a:off x="4369454" y="2723578"/>
                <a:ext cx="3194199" cy="3272228"/>
              </a:xfrm>
              <a:custGeom>
                <a:avLst/>
                <a:gdLst>
                  <a:gd name="connsiteX0" fmla="*/ 609666 w 3194199"/>
                  <a:gd name="connsiteY0" fmla="*/ 3021327 h 3272228"/>
                  <a:gd name="connsiteX1" fmla="*/ 1808461 w 3194199"/>
                  <a:gd name="connsiteY1" fmla="*/ 3258278 h 3272228"/>
                  <a:gd name="connsiteX2" fmla="*/ 2651057 w 3194199"/>
                  <a:gd name="connsiteY2" fmla="*/ 2364080 h 3272228"/>
                  <a:gd name="connsiteX3" fmla="*/ 3189751 w 3194199"/>
                  <a:gd name="connsiteY3" fmla="*/ 1563444 h 3272228"/>
                  <a:gd name="connsiteX4" fmla="*/ 2642804 w 3194199"/>
                  <a:gd name="connsiteY4" fmla="*/ 62522 h 3272228"/>
                  <a:gd name="connsiteX5" fmla="*/ 1365411 w 3194199"/>
                  <a:gd name="connsiteY5" fmla="*/ 225965 h 3272228"/>
                  <a:gd name="connsiteX6" fmla="*/ 100128 w 3194199"/>
                  <a:gd name="connsiteY6" fmla="*/ 560798 h 3272228"/>
                  <a:gd name="connsiteX7" fmla="*/ 94034 w 3194199"/>
                  <a:gd name="connsiteY7" fmla="*/ 1740540 h 3272228"/>
                  <a:gd name="connsiteX8" fmla="*/ 609589 w 3194199"/>
                  <a:gd name="connsiteY8" fmla="*/ 3021327 h 3272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94199" h="3272228">
                    <a:moveTo>
                      <a:pt x="609666" y="3021327"/>
                    </a:moveTo>
                    <a:cubicBezTo>
                      <a:pt x="912874" y="3219326"/>
                      <a:pt x="1427194" y="3309031"/>
                      <a:pt x="1808461" y="3258278"/>
                    </a:cubicBezTo>
                    <a:cubicBezTo>
                      <a:pt x="2278815" y="3195492"/>
                      <a:pt x="2410481" y="2737710"/>
                      <a:pt x="2651057" y="2364080"/>
                    </a:cubicBezTo>
                    <a:cubicBezTo>
                      <a:pt x="2845431" y="2062183"/>
                      <a:pt x="3240427" y="1941240"/>
                      <a:pt x="3189751" y="1563444"/>
                    </a:cubicBezTo>
                    <a:cubicBezTo>
                      <a:pt x="3126348" y="1090390"/>
                      <a:pt x="3019828" y="302481"/>
                      <a:pt x="2642804" y="62522"/>
                    </a:cubicBezTo>
                    <a:cubicBezTo>
                      <a:pt x="2342064" y="-128844"/>
                      <a:pt x="1740430" y="175444"/>
                      <a:pt x="1365411" y="225965"/>
                    </a:cubicBezTo>
                    <a:cubicBezTo>
                      <a:pt x="894285" y="289291"/>
                      <a:pt x="340087" y="185934"/>
                      <a:pt x="100128" y="560798"/>
                    </a:cubicBezTo>
                    <a:cubicBezTo>
                      <a:pt x="-92781" y="862155"/>
                      <a:pt x="43435" y="1364056"/>
                      <a:pt x="94034" y="1740540"/>
                    </a:cubicBezTo>
                    <a:cubicBezTo>
                      <a:pt x="156589" y="2206653"/>
                      <a:pt x="240972" y="2780596"/>
                      <a:pt x="609589" y="302132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CCC66EA6-5940-D064-5BB9-EF16DB905D7D}"/>
                  </a:ext>
                </a:extLst>
              </p:cNvPr>
              <p:cNvSpPr/>
              <p:nvPr/>
            </p:nvSpPr>
            <p:spPr>
              <a:xfrm>
                <a:off x="4352455" y="2686397"/>
                <a:ext cx="3246150" cy="3299210"/>
              </a:xfrm>
              <a:custGeom>
                <a:avLst/>
                <a:gdLst>
                  <a:gd name="connsiteX0" fmla="*/ 1832787 w 3246150"/>
                  <a:gd name="connsiteY0" fmla="*/ 3281344 h 3299210"/>
                  <a:gd name="connsiteX1" fmla="*/ 2655021 w 3246150"/>
                  <a:gd name="connsiteY1" fmla="*/ 2358915 h 3299210"/>
                  <a:gd name="connsiteX2" fmla="*/ 3242385 w 3246150"/>
                  <a:gd name="connsiteY2" fmla="*/ 1601628 h 3299210"/>
                  <a:gd name="connsiteX3" fmla="*/ 2643296 w 3246150"/>
                  <a:gd name="connsiteY3" fmla="*/ 46404 h 3299210"/>
                  <a:gd name="connsiteX4" fmla="*/ 1383027 w 3246150"/>
                  <a:gd name="connsiteY4" fmla="*/ 308655 h 3299210"/>
                  <a:gd name="connsiteX5" fmla="*/ 72158 w 3246150"/>
                  <a:gd name="connsiteY5" fmla="*/ 576844 h 3299210"/>
                  <a:gd name="connsiteX6" fmla="*/ 149908 w 3246150"/>
                  <a:gd name="connsiteY6" fmla="*/ 1770779 h 3299210"/>
                  <a:gd name="connsiteX7" fmla="*/ 635458 w 3246150"/>
                  <a:gd name="connsiteY7" fmla="*/ 3092214 h 3299210"/>
                  <a:gd name="connsiteX8" fmla="*/ 1832864 w 3246150"/>
                  <a:gd name="connsiteY8" fmla="*/ 3281266 h 3299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6150" h="3299210">
                    <a:moveTo>
                      <a:pt x="1832787" y="3281344"/>
                    </a:moveTo>
                    <a:cubicBezTo>
                      <a:pt x="2315329" y="3216707"/>
                      <a:pt x="2418069" y="2743421"/>
                      <a:pt x="2655021" y="2358915"/>
                    </a:cubicBezTo>
                    <a:cubicBezTo>
                      <a:pt x="2837131" y="2063420"/>
                      <a:pt x="3292059" y="1972558"/>
                      <a:pt x="3242385" y="1601628"/>
                    </a:cubicBezTo>
                    <a:cubicBezTo>
                      <a:pt x="3177285" y="1115693"/>
                      <a:pt x="3031967" y="282661"/>
                      <a:pt x="2643296" y="46404"/>
                    </a:cubicBezTo>
                    <a:cubicBezTo>
                      <a:pt x="2349344" y="-132312"/>
                      <a:pt x="1750487" y="259367"/>
                      <a:pt x="1383027" y="308655"/>
                    </a:cubicBezTo>
                    <a:cubicBezTo>
                      <a:pt x="898866" y="373523"/>
                      <a:pt x="308801" y="190333"/>
                      <a:pt x="72158" y="576844"/>
                    </a:cubicBezTo>
                    <a:cubicBezTo>
                      <a:pt x="-108255" y="871568"/>
                      <a:pt x="100466" y="1401546"/>
                      <a:pt x="149908" y="1770779"/>
                    </a:cubicBezTo>
                    <a:cubicBezTo>
                      <a:pt x="214005" y="2249233"/>
                      <a:pt x="255965" y="2854492"/>
                      <a:pt x="635458" y="3092214"/>
                    </a:cubicBezTo>
                    <a:cubicBezTo>
                      <a:pt x="932804" y="3278490"/>
                      <a:pt x="1457845" y="3331557"/>
                      <a:pt x="1832864" y="328126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6" name="Graphic 5">
              <a:extLst>
                <a:ext uri="{FF2B5EF4-FFF2-40B4-BE49-F238E27FC236}">
                  <a16:creationId xmlns:a16="http://schemas.microsoft.com/office/drawing/2014/main" id="{2FB96D0F-EA71-25B0-F75F-76587959A5EC}"/>
                </a:ext>
              </a:extLst>
            </p:cNvPr>
            <p:cNvGrpSpPr/>
            <p:nvPr/>
          </p:nvGrpSpPr>
          <p:grpSpPr>
            <a:xfrm rot="180525">
              <a:off x="-597053" y="441139"/>
              <a:ext cx="6472770" cy="6313556"/>
              <a:chOff x="4270587" y="2574268"/>
              <a:chExt cx="3544376" cy="3457192"/>
            </a:xfrm>
            <a:noFill/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EFE3629F-FB4C-A29D-67B4-B403870E8E0A}"/>
                  </a:ext>
                </a:extLst>
              </p:cNvPr>
              <p:cNvSpPr/>
              <p:nvPr/>
            </p:nvSpPr>
            <p:spPr>
              <a:xfrm>
                <a:off x="4270587" y="2606803"/>
                <a:ext cx="3544376" cy="3424657"/>
              </a:xfrm>
              <a:custGeom>
                <a:avLst/>
                <a:gdLst>
                  <a:gd name="connsiteX0" fmla="*/ 3338832 w 3544376"/>
                  <a:gd name="connsiteY0" fmla="*/ 932573 h 3424657"/>
                  <a:gd name="connsiteX1" fmla="*/ 2419102 w 3544376"/>
                  <a:gd name="connsiteY1" fmla="*/ 117205 h 3424657"/>
                  <a:gd name="connsiteX2" fmla="*/ 1318575 w 3544376"/>
                  <a:gd name="connsiteY2" fmla="*/ 80027 h 3424657"/>
                  <a:gd name="connsiteX3" fmla="*/ 8709 w 3544376"/>
                  <a:gd name="connsiteY3" fmla="*/ 1110518 h 3424657"/>
                  <a:gd name="connsiteX4" fmla="*/ 630398 w 3544376"/>
                  <a:gd name="connsiteY4" fmla="*/ 2237733 h 3424657"/>
                  <a:gd name="connsiteX5" fmla="*/ 1272758 w 3544376"/>
                  <a:gd name="connsiteY5" fmla="*/ 3411536 h 3424657"/>
                  <a:gd name="connsiteX6" fmla="*/ 2390872 w 3544376"/>
                  <a:gd name="connsiteY6" fmla="*/ 2985687 h 3424657"/>
                  <a:gd name="connsiteX7" fmla="*/ 3510760 w 3544376"/>
                  <a:gd name="connsiteY7" fmla="*/ 2132601 h 3424657"/>
                  <a:gd name="connsiteX8" fmla="*/ 3338908 w 3544376"/>
                  <a:gd name="connsiteY8" fmla="*/ 932650 h 342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44376" h="3424657">
                    <a:moveTo>
                      <a:pt x="3338832" y="932573"/>
                    </a:moveTo>
                    <a:cubicBezTo>
                      <a:pt x="3134970" y="490449"/>
                      <a:pt x="2856290" y="230435"/>
                      <a:pt x="2419102" y="117205"/>
                    </a:cubicBezTo>
                    <a:cubicBezTo>
                      <a:pt x="2083036" y="30199"/>
                      <a:pt x="1658344" y="-76630"/>
                      <a:pt x="1318575" y="80027"/>
                    </a:cubicBezTo>
                    <a:cubicBezTo>
                      <a:pt x="873365" y="285354"/>
                      <a:pt x="120088" y="669551"/>
                      <a:pt x="8709" y="1110518"/>
                    </a:cubicBezTo>
                    <a:cubicBezTo>
                      <a:pt x="-75520" y="1444039"/>
                      <a:pt x="475130" y="1900972"/>
                      <a:pt x="630398" y="2237733"/>
                    </a:cubicBezTo>
                    <a:cubicBezTo>
                      <a:pt x="834953" y="2681323"/>
                      <a:pt x="833642" y="3299231"/>
                      <a:pt x="1272758" y="3411536"/>
                    </a:cubicBezTo>
                    <a:cubicBezTo>
                      <a:pt x="1607591" y="3497153"/>
                      <a:pt x="2052568" y="3141650"/>
                      <a:pt x="2390872" y="2985687"/>
                    </a:cubicBezTo>
                    <a:cubicBezTo>
                      <a:pt x="2829217" y="2783523"/>
                      <a:pt x="3395293" y="2565161"/>
                      <a:pt x="3510760" y="2132601"/>
                    </a:cubicBezTo>
                    <a:cubicBezTo>
                      <a:pt x="3601236" y="1793527"/>
                      <a:pt x="3497339" y="1276198"/>
                      <a:pt x="3338908" y="93265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CFB522BB-B855-1151-FF66-AC0CC4238335}"/>
                  </a:ext>
                </a:extLst>
              </p:cNvPr>
              <p:cNvSpPr/>
              <p:nvPr/>
            </p:nvSpPr>
            <p:spPr>
              <a:xfrm>
                <a:off x="4311149" y="2610445"/>
                <a:ext cx="3481515" cy="3380560"/>
              </a:xfrm>
              <a:custGeom>
                <a:avLst/>
                <a:gdLst>
                  <a:gd name="connsiteX0" fmla="*/ 2384788 w 3481515"/>
                  <a:gd name="connsiteY0" fmla="*/ 2986674 h 3380560"/>
                  <a:gd name="connsiteX1" fmla="*/ 3435796 w 3481515"/>
                  <a:gd name="connsiteY1" fmla="*/ 2123946 h 3380560"/>
                  <a:gd name="connsiteX2" fmla="*/ 3309068 w 3481515"/>
                  <a:gd name="connsiteY2" fmla="*/ 911268 h 3380560"/>
                  <a:gd name="connsiteX3" fmla="*/ 2359797 w 3481515"/>
                  <a:gd name="connsiteY3" fmla="*/ 156988 h 3380560"/>
                  <a:gd name="connsiteX4" fmla="*/ 1222399 w 3481515"/>
                  <a:gd name="connsiteY4" fmla="*/ 71757 h 3380560"/>
                  <a:gd name="connsiteX5" fmla="*/ 10492 w 3481515"/>
                  <a:gd name="connsiteY5" fmla="*/ 1123691 h 3380560"/>
                  <a:gd name="connsiteX6" fmla="*/ 573097 w 3481515"/>
                  <a:gd name="connsiteY6" fmla="*/ 2302662 h 3380560"/>
                  <a:gd name="connsiteX7" fmla="*/ 1256646 w 3481515"/>
                  <a:gd name="connsiteY7" fmla="*/ 3364546 h 3380560"/>
                  <a:gd name="connsiteX8" fmla="*/ 2384788 w 3481515"/>
                  <a:gd name="connsiteY8" fmla="*/ 2986674 h 3380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1515" h="3380560">
                    <a:moveTo>
                      <a:pt x="2384788" y="2986674"/>
                    </a:moveTo>
                    <a:cubicBezTo>
                      <a:pt x="2808400" y="2782658"/>
                      <a:pt x="3322257" y="2550489"/>
                      <a:pt x="3435796" y="2123946"/>
                    </a:cubicBezTo>
                    <a:cubicBezTo>
                      <a:pt x="3529127" y="1772916"/>
                      <a:pt x="3475983" y="1257439"/>
                      <a:pt x="3309068" y="911268"/>
                    </a:cubicBezTo>
                    <a:cubicBezTo>
                      <a:pt x="3103355" y="484725"/>
                      <a:pt x="2790197" y="268368"/>
                      <a:pt x="2359797" y="156988"/>
                    </a:cubicBezTo>
                    <a:cubicBezTo>
                      <a:pt x="2011157" y="66743"/>
                      <a:pt x="1565254" y="-93770"/>
                      <a:pt x="1222399" y="71757"/>
                    </a:cubicBezTo>
                    <a:cubicBezTo>
                      <a:pt x="793465" y="278935"/>
                      <a:pt x="120175" y="690129"/>
                      <a:pt x="10492" y="1123691"/>
                    </a:cubicBezTo>
                    <a:cubicBezTo>
                      <a:pt x="-77208" y="1469862"/>
                      <a:pt x="408959" y="1962662"/>
                      <a:pt x="573097" y="2302662"/>
                    </a:cubicBezTo>
                    <a:cubicBezTo>
                      <a:pt x="779581" y="2730362"/>
                      <a:pt x="824704" y="3254015"/>
                      <a:pt x="1256646" y="3364546"/>
                    </a:cubicBezTo>
                    <a:cubicBezTo>
                      <a:pt x="1603512" y="3453403"/>
                      <a:pt x="2043630" y="3150966"/>
                      <a:pt x="2384788" y="298667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6C0DDAF2-2D37-5910-87F2-F43D47FF4206}"/>
                  </a:ext>
                </a:extLst>
              </p:cNvPr>
              <p:cNvSpPr/>
              <p:nvPr/>
            </p:nvSpPr>
            <p:spPr>
              <a:xfrm>
                <a:off x="4351228" y="2611075"/>
                <a:ext cx="3424905" cy="3340311"/>
              </a:xfrm>
              <a:custGeom>
                <a:avLst/>
                <a:gdLst>
                  <a:gd name="connsiteX0" fmla="*/ 2379187 w 3424905"/>
                  <a:gd name="connsiteY0" fmla="*/ 2990672 h 3340311"/>
                  <a:gd name="connsiteX1" fmla="*/ 3361317 w 3424905"/>
                  <a:gd name="connsiteY1" fmla="*/ 2118303 h 3340311"/>
                  <a:gd name="connsiteX2" fmla="*/ 3279788 w 3424905"/>
                  <a:gd name="connsiteY2" fmla="*/ 892974 h 3340311"/>
                  <a:gd name="connsiteX3" fmla="*/ 2300975 w 3424905"/>
                  <a:gd name="connsiteY3" fmla="*/ 199707 h 3340311"/>
                  <a:gd name="connsiteX4" fmla="*/ 1126708 w 3424905"/>
                  <a:gd name="connsiteY4" fmla="*/ 66422 h 3340311"/>
                  <a:gd name="connsiteX5" fmla="*/ 12759 w 3424905"/>
                  <a:gd name="connsiteY5" fmla="*/ 1139722 h 3340311"/>
                  <a:gd name="connsiteX6" fmla="*/ 516204 w 3424905"/>
                  <a:gd name="connsiteY6" fmla="*/ 2370449 h 3340311"/>
                  <a:gd name="connsiteX7" fmla="*/ 1241019 w 3424905"/>
                  <a:gd name="connsiteY7" fmla="*/ 3320491 h 3340311"/>
                  <a:gd name="connsiteX8" fmla="*/ 2379265 w 3424905"/>
                  <a:gd name="connsiteY8" fmla="*/ 2990594 h 3340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24905" h="3340311">
                    <a:moveTo>
                      <a:pt x="2379187" y="2990672"/>
                    </a:moveTo>
                    <a:cubicBezTo>
                      <a:pt x="2788222" y="2785113"/>
                      <a:pt x="3249628" y="2538829"/>
                      <a:pt x="3361317" y="2118303"/>
                    </a:cubicBezTo>
                    <a:cubicBezTo>
                      <a:pt x="3457501" y="1755239"/>
                      <a:pt x="3455341" y="1241614"/>
                      <a:pt x="3279788" y="892974"/>
                    </a:cubicBezTo>
                    <a:cubicBezTo>
                      <a:pt x="3072686" y="481781"/>
                      <a:pt x="2724587" y="309389"/>
                      <a:pt x="2300975" y="199707"/>
                    </a:cubicBezTo>
                    <a:cubicBezTo>
                      <a:pt x="1939763" y="106145"/>
                      <a:pt x="1472571" y="-108206"/>
                      <a:pt x="1126708" y="66422"/>
                    </a:cubicBezTo>
                    <a:cubicBezTo>
                      <a:pt x="713895" y="274988"/>
                      <a:pt x="120745" y="713641"/>
                      <a:pt x="12759" y="1139722"/>
                    </a:cubicBezTo>
                    <a:cubicBezTo>
                      <a:pt x="-78411" y="1498619"/>
                      <a:pt x="342964" y="2027286"/>
                      <a:pt x="516204" y="2370449"/>
                    </a:cubicBezTo>
                    <a:cubicBezTo>
                      <a:pt x="724076" y="2782414"/>
                      <a:pt x="816250" y="3211657"/>
                      <a:pt x="1241019" y="3320491"/>
                    </a:cubicBezTo>
                    <a:cubicBezTo>
                      <a:pt x="1599917" y="3412587"/>
                      <a:pt x="2035176" y="3163449"/>
                      <a:pt x="2379265" y="299059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3FCE7089-020D-7847-5680-E41D2C83E8E2}"/>
                  </a:ext>
                </a:extLst>
              </p:cNvPr>
              <p:cNvSpPr/>
              <p:nvPr/>
            </p:nvSpPr>
            <p:spPr>
              <a:xfrm>
                <a:off x="4390546" y="2609845"/>
                <a:ext cx="3375801" cy="3303429"/>
              </a:xfrm>
              <a:custGeom>
                <a:avLst/>
                <a:gdLst>
                  <a:gd name="connsiteX0" fmla="*/ 2374347 w 3375801"/>
                  <a:gd name="connsiteY0" fmla="*/ 2996529 h 3303429"/>
                  <a:gd name="connsiteX1" fmla="*/ 3287597 w 3375801"/>
                  <a:gd name="connsiteY1" fmla="*/ 2114518 h 3303429"/>
                  <a:gd name="connsiteX2" fmla="*/ 3251191 w 3375801"/>
                  <a:gd name="connsiteY2" fmla="*/ 876541 h 3303429"/>
                  <a:gd name="connsiteX3" fmla="*/ 2242836 w 3375801"/>
                  <a:gd name="connsiteY3" fmla="*/ 244285 h 3303429"/>
                  <a:gd name="connsiteX4" fmla="*/ 1031700 w 3375801"/>
                  <a:gd name="connsiteY4" fmla="*/ 62946 h 3303429"/>
                  <a:gd name="connsiteX5" fmla="*/ 15710 w 3375801"/>
                  <a:gd name="connsiteY5" fmla="*/ 1157689 h 3303429"/>
                  <a:gd name="connsiteX6" fmla="*/ 459993 w 3375801"/>
                  <a:gd name="connsiteY6" fmla="*/ 2440249 h 3303429"/>
                  <a:gd name="connsiteX7" fmla="*/ 1226074 w 3375801"/>
                  <a:gd name="connsiteY7" fmla="*/ 3278449 h 3303429"/>
                  <a:gd name="connsiteX8" fmla="*/ 2374347 w 3375801"/>
                  <a:gd name="connsiteY8" fmla="*/ 2996529 h 330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5801" h="3303429">
                    <a:moveTo>
                      <a:pt x="2374347" y="2996529"/>
                    </a:moveTo>
                    <a:cubicBezTo>
                      <a:pt x="2768881" y="2789891"/>
                      <a:pt x="3177760" y="2529029"/>
                      <a:pt x="3287597" y="2114518"/>
                    </a:cubicBezTo>
                    <a:cubicBezTo>
                      <a:pt x="3386712" y="1739423"/>
                      <a:pt x="3435692" y="1227571"/>
                      <a:pt x="3251191" y="876541"/>
                    </a:cubicBezTo>
                    <a:cubicBezTo>
                      <a:pt x="3043087" y="480619"/>
                      <a:pt x="2659584" y="352193"/>
                      <a:pt x="2242836" y="244285"/>
                    </a:cubicBezTo>
                    <a:cubicBezTo>
                      <a:pt x="1869052" y="147483"/>
                      <a:pt x="1380494" y="-121092"/>
                      <a:pt x="1031700" y="62946"/>
                    </a:cubicBezTo>
                    <a:cubicBezTo>
                      <a:pt x="634776" y="272438"/>
                      <a:pt x="121999" y="739090"/>
                      <a:pt x="15710" y="1157689"/>
                    </a:cubicBezTo>
                    <a:cubicBezTo>
                      <a:pt x="-78932" y="1529236"/>
                      <a:pt x="277421" y="2093847"/>
                      <a:pt x="459993" y="2440249"/>
                    </a:cubicBezTo>
                    <a:cubicBezTo>
                      <a:pt x="668869" y="2836556"/>
                      <a:pt x="808402" y="3171312"/>
                      <a:pt x="1226074" y="3278449"/>
                    </a:cubicBezTo>
                    <a:cubicBezTo>
                      <a:pt x="1597005" y="3373785"/>
                      <a:pt x="2027559" y="3178176"/>
                      <a:pt x="2374347" y="29965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8A5F3078-85AC-9F9D-5DB9-C43725B22716}"/>
                  </a:ext>
                </a:extLst>
              </p:cNvPr>
              <p:cNvSpPr/>
              <p:nvPr/>
            </p:nvSpPr>
            <p:spPr>
              <a:xfrm>
                <a:off x="4428860" y="2607348"/>
                <a:ext cx="3333638" cy="3269772"/>
              </a:xfrm>
              <a:custGeom>
                <a:avLst/>
                <a:gdLst>
                  <a:gd name="connsiteX0" fmla="*/ 2370512 w 3333638"/>
                  <a:gd name="connsiteY0" fmla="*/ 3003654 h 3269772"/>
                  <a:gd name="connsiteX1" fmla="*/ 3214806 w 3333638"/>
                  <a:gd name="connsiteY1" fmla="*/ 2112002 h 3269772"/>
                  <a:gd name="connsiteX2" fmla="*/ 3223522 w 3333638"/>
                  <a:gd name="connsiteY2" fmla="*/ 861297 h 3269772"/>
                  <a:gd name="connsiteX3" fmla="*/ 2185625 w 3333638"/>
                  <a:gd name="connsiteY3" fmla="*/ 290053 h 3269772"/>
                  <a:gd name="connsiteX4" fmla="*/ 937697 w 3333638"/>
                  <a:gd name="connsiteY4" fmla="*/ 60738 h 3269772"/>
                  <a:gd name="connsiteX5" fmla="*/ 19665 w 3333638"/>
                  <a:gd name="connsiteY5" fmla="*/ 1176924 h 3269772"/>
                  <a:gd name="connsiteX6" fmla="*/ 404865 w 3333638"/>
                  <a:gd name="connsiteY6" fmla="*/ 2511240 h 3269772"/>
                  <a:gd name="connsiteX7" fmla="*/ 1212212 w 3333638"/>
                  <a:gd name="connsiteY7" fmla="*/ 3237597 h 3269772"/>
                  <a:gd name="connsiteX8" fmla="*/ 2370512 w 3333638"/>
                  <a:gd name="connsiteY8" fmla="*/ 3003654 h 3269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638" h="3269772">
                    <a:moveTo>
                      <a:pt x="2370512" y="3003654"/>
                    </a:moveTo>
                    <a:cubicBezTo>
                      <a:pt x="2750699" y="2796245"/>
                      <a:pt x="3106897" y="2520419"/>
                      <a:pt x="3214806" y="2112002"/>
                    </a:cubicBezTo>
                    <a:cubicBezTo>
                      <a:pt x="3316775" y="1724873"/>
                      <a:pt x="3417279" y="1214719"/>
                      <a:pt x="3223522" y="861297"/>
                    </a:cubicBezTo>
                    <a:cubicBezTo>
                      <a:pt x="3014800" y="480494"/>
                      <a:pt x="2595585" y="396265"/>
                      <a:pt x="2185625" y="290053"/>
                    </a:cubicBezTo>
                    <a:cubicBezTo>
                      <a:pt x="1799191" y="189935"/>
                      <a:pt x="1289268" y="-133019"/>
                      <a:pt x="937697" y="60738"/>
                    </a:cubicBezTo>
                    <a:cubicBezTo>
                      <a:pt x="556508" y="270770"/>
                      <a:pt x="124334" y="765730"/>
                      <a:pt x="19665" y="1176924"/>
                    </a:cubicBezTo>
                    <a:cubicBezTo>
                      <a:pt x="-78448" y="1561121"/>
                      <a:pt x="212651" y="2161829"/>
                      <a:pt x="404865" y="2511240"/>
                    </a:cubicBezTo>
                    <a:cubicBezTo>
                      <a:pt x="614357" y="2892120"/>
                      <a:pt x="801635" y="3132157"/>
                      <a:pt x="1212212" y="3237597"/>
                    </a:cubicBezTo>
                    <a:cubicBezTo>
                      <a:pt x="1595175" y="3336095"/>
                      <a:pt x="2021102" y="3194326"/>
                      <a:pt x="2370512" y="30036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F812CE94-759D-9F54-D9CE-CED1DF94DA5B}"/>
                  </a:ext>
                </a:extLst>
              </p:cNvPr>
              <p:cNvSpPr/>
              <p:nvPr/>
            </p:nvSpPr>
            <p:spPr>
              <a:xfrm>
                <a:off x="4465597" y="2604029"/>
                <a:ext cx="3297610" cy="3240257"/>
              </a:xfrm>
              <a:custGeom>
                <a:avLst/>
                <a:gdLst>
                  <a:gd name="connsiteX0" fmla="*/ 2368253 w 3297610"/>
                  <a:gd name="connsiteY0" fmla="*/ 3011601 h 3240257"/>
                  <a:gd name="connsiteX1" fmla="*/ 3143667 w 3297610"/>
                  <a:gd name="connsiteY1" fmla="*/ 2110307 h 3240257"/>
                  <a:gd name="connsiteX2" fmla="*/ 3197583 w 3297610"/>
                  <a:gd name="connsiteY2" fmla="*/ 846953 h 3240257"/>
                  <a:gd name="connsiteX3" fmla="*/ 2130145 w 3297610"/>
                  <a:gd name="connsiteY3" fmla="*/ 336721 h 3240257"/>
                  <a:gd name="connsiteX4" fmla="*/ 845347 w 3297610"/>
                  <a:gd name="connsiteY4" fmla="*/ 59352 h 3240257"/>
                  <a:gd name="connsiteX5" fmla="*/ 25197 w 3297610"/>
                  <a:gd name="connsiteY5" fmla="*/ 1196981 h 3240257"/>
                  <a:gd name="connsiteX6" fmla="*/ 351236 w 3297610"/>
                  <a:gd name="connsiteY6" fmla="*/ 2583130 h 3240257"/>
                  <a:gd name="connsiteX7" fmla="*/ 1199772 w 3297610"/>
                  <a:gd name="connsiteY7" fmla="*/ 3197645 h 3240257"/>
                  <a:gd name="connsiteX8" fmla="*/ 2368176 w 3297610"/>
                  <a:gd name="connsiteY8" fmla="*/ 3011756 h 3240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7610" h="3240257">
                    <a:moveTo>
                      <a:pt x="2368253" y="3011601"/>
                    </a:moveTo>
                    <a:cubicBezTo>
                      <a:pt x="2734325" y="2803729"/>
                      <a:pt x="3037610" y="2512708"/>
                      <a:pt x="3143667" y="2110307"/>
                    </a:cubicBezTo>
                    <a:cubicBezTo>
                      <a:pt x="3248491" y="1711146"/>
                      <a:pt x="3400750" y="1202611"/>
                      <a:pt x="3197583" y="846953"/>
                    </a:cubicBezTo>
                    <a:cubicBezTo>
                      <a:pt x="2988554" y="481113"/>
                      <a:pt x="2533317" y="441159"/>
                      <a:pt x="2130145" y="336721"/>
                    </a:cubicBezTo>
                    <a:cubicBezTo>
                      <a:pt x="1731138" y="233364"/>
                      <a:pt x="1199617" y="-144355"/>
                      <a:pt x="845347" y="59352"/>
                    </a:cubicBezTo>
                    <a:cubicBezTo>
                      <a:pt x="479739" y="269539"/>
                      <a:pt x="128246" y="793269"/>
                      <a:pt x="25197" y="1196981"/>
                    </a:cubicBezTo>
                    <a:cubicBezTo>
                      <a:pt x="-76464" y="1593828"/>
                      <a:pt x="149149" y="2230788"/>
                      <a:pt x="351236" y="2583130"/>
                    </a:cubicBezTo>
                    <a:cubicBezTo>
                      <a:pt x="560960" y="2948739"/>
                      <a:pt x="796368" y="3093902"/>
                      <a:pt x="1199772" y="3197645"/>
                    </a:cubicBezTo>
                    <a:cubicBezTo>
                      <a:pt x="1594768" y="3299383"/>
                      <a:pt x="2016143" y="3211683"/>
                      <a:pt x="2368176" y="301175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F0D6A7CA-DE4F-9DE1-D8C7-EBB9C0341F58}"/>
                  </a:ext>
                </a:extLst>
              </p:cNvPr>
              <p:cNvSpPr/>
              <p:nvPr/>
            </p:nvSpPr>
            <p:spPr>
              <a:xfrm>
                <a:off x="4499869" y="2600116"/>
                <a:ext cx="3267148" cy="3216006"/>
              </a:xfrm>
              <a:custGeom>
                <a:avLst/>
                <a:gdLst>
                  <a:gd name="connsiteX0" fmla="*/ 2368459 w 3267148"/>
                  <a:gd name="connsiteY0" fmla="*/ 3020220 h 3216006"/>
                  <a:gd name="connsiteX1" fmla="*/ 3074994 w 3267148"/>
                  <a:gd name="connsiteY1" fmla="*/ 2109207 h 3216006"/>
                  <a:gd name="connsiteX2" fmla="*/ 3174032 w 3267148"/>
                  <a:gd name="connsiteY2" fmla="*/ 833203 h 3216006"/>
                  <a:gd name="connsiteX3" fmla="*/ 2077052 w 3267148"/>
                  <a:gd name="connsiteY3" fmla="*/ 384060 h 3216006"/>
                  <a:gd name="connsiteX4" fmla="*/ 755385 w 3267148"/>
                  <a:gd name="connsiteY4" fmla="*/ 58637 h 3216006"/>
                  <a:gd name="connsiteX5" fmla="*/ 33193 w 3267148"/>
                  <a:gd name="connsiteY5" fmla="*/ 1217631 h 3216006"/>
                  <a:gd name="connsiteX6" fmla="*/ 300072 w 3267148"/>
                  <a:gd name="connsiteY6" fmla="*/ 2655537 h 3216006"/>
                  <a:gd name="connsiteX7" fmla="*/ 1189873 w 3267148"/>
                  <a:gd name="connsiteY7" fmla="*/ 3158209 h 3216006"/>
                  <a:gd name="connsiteX8" fmla="*/ 2368305 w 3267148"/>
                  <a:gd name="connsiteY8" fmla="*/ 3020297 h 3216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7148" h="3216006">
                    <a:moveTo>
                      <a:pt x="2368459" y="3020220"/>
                    </a:moveTo>
                    <a:cubicBezTo>
                      <a:pt x="2720493" y="2812193"/>
                      <a:pt x="2970787" y="2505668"/>
                      <a:pt x="3074994" y="2109207"/>
                    </a:cubicBezTo>
                    <a:cubicBezTo>
                      <a:pt x="3182748" y="1698013"/>
                      <a:pt x="3386995" y="1190866"/>
                      <a:pt x="3174032" y="833203"/>
                    </a:cubicBezTo>
                    <a:cubicBezTo>
                      <a:pt x="2965002" y="482095"/>
                      <a:pt x="2473360" y="486646"/>
                      <a:pt x="2077052" y="384060"/>
                    </a:cubicBezTo>
                    <a:cubicBezTo>
                      <a:pt x="1665473" y="277462"/>
                      <a:pt x="1112201" y="-155406"/>
                      <a:pt x="755385" y="58637"/>
                    </a:cubicBezTo>
                    <a:cubicBezTo>
                      <a:pt x="405203" y="268669"/>
                      <a:pt x="134545" y="821401"/>
                      <a:pt x="33193" y="1217631"/>
                    </a:cubicBezTo>
                    <a:cubicBezTo>
                      <a:pt x="-71939" y="1627205"/>
                      <a:pt x="87803" y="2300495"/>
                      <a:pt x="300072" y="2655537"/>
                    </a:cubicBezTo>
                    <a:cubicBezTo>
                      <a:pt x="509718" y="3006104"/>
                      <a:pt x="793566" y="3056163"/>
                      <a:pt x="1189873" y="3158209"/>
                    </a:cubicBezTo>
                    <a:cubicBezTo>
                      <a:pt x="1596979" y="3263187"/>
                      <a:pt x="2013881" y="3229711"/>
                      <a:pt x="2368305" y="302029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011E4694-AC9E-3288-7971-EEA6ED32256C}"/>
                  </a:ext>
                </a:extLst>
              </p:cNvPr>
              <p:cNvSpPr/>
              <p:nvPr/>
            </p:nvSpPr>
            <p:spPr>
              <a:xfrm>
                <a:off x="4530202" y="2595585"/>
                <a:ext cx="3242767" cy="3198539"/>
              </a:xfrm>
              <a:custGeom>
                <a:avLst/>
                <a:gdLst>
                  <a:gd name="connsiteX0" fmla="*/ 2372604 w 3242767"/>
                  <a:gd name="connsiteY0" fmla="*/ 3029379 h 3198539"/>
                  <a:gd name="connsiteX1" fmla="*/ 3010259 w 3242767"/>
                  <a:gd name="connsiteY1" fmla="*/ 2108724 h 3198539"/>
                  <a:gd name="connsiteX2" fmla="*/ 3154497 w 3242767"/>
                  <a:gd name="connsiteY2" fmla="*/ 819993 h 3198539"/>
                  <a:gd name="connsiteX3" fmla="*/ 2027976 w 3242767"/>
                  <a:gd name="connsiteY3" fmla="*/ 431862 h 3198539"/>
                  <a:gd name="connsiteX4" fmla="*/ 669516 w 3242767"/>
                  <a:gd name="connsiteY4" fmla="*/ 58386 h 3198539"/>
                  <a:gd name="connsiteX5" fmla="*/ 45282 w 3242767"/>
                  <a:gd name="connsiteY5" fmla="*/ 1238823 h 3198539"/>
                  <a:gd name="connsiteX6" fmla="*/ 253078 w 3242767"/>
                  <a:gd name="connsiteY6" fmla="*/ 2728484 h 3198539"/>
                  <a:gd name="connsiteX7" fmla="*/ 1184145 w 3242767"/>
                  <a:gd name="connsiteY7" fmla="*/ 3119315 h 3198539"/>
                  <a:gd name="connsiteX8" fmla="*/ 2372681 w 3242767"/>
                  <a:gd name="connsiteY8" fmla="*/ 3029379 h 319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2767" h="3198539">
                    <a:moveTo>
                      <a:pt x="2372604" y="3029379"/>
                    </a:moveTo>
                    <a:cubicBezTo>
                      <a:pt x="2710831" y="2821429"/>
                      <a:pt x="2907904" y="2499092"/>
                      <a:pt x="3010259" y="2108724"/>
                    </a:cubicBezTo>
                    <a:cubicBezTo>
                      <a:pt x="3120867" y="1685498"/>
                      <a:pt x="3377488" y="1179585"/>
                      <a:pt x="3154497" y="819993"/>
                    </a:cubicBezTo>
                    <a:cubicBezTo>
                      <a:pt x="2945776" y="483464"/>
                      <a:pt x="2417495" y="532752"/>
                      <a:pt x="2027976" y="431862"/>
                    </a:cubicBezTo>
                    <a:cubicBezTo>
                      <a:pt x="1603746" y="321948"/>
                      <a:pt x="1028569" y="-166224"/>
                      <a:pt x="669516" y="58386"/>
                    </a:cubicBezTo>
                    <a:cubicBezTo>
                      <a:pt x="334530" y="267878"/>
                      <a:pt x="144938" y="850075"/>
                      <a:pt x="45282" y="1238823"/>
                    </a:cubicBezTo>
                    <a:cubicBezTo>
                      <a:pt x="-63320" y="1661047"/>
                      <a:pt x="30241" y="2370898"/>
                      <a:pt x="253078" y="2728484"/>
                    </a:cubicBezTo>
                    <a:cubicBezTo>
                      <a:pt x="462261" y="3064165"/>
                      <a:pt x="795011" y="3018966"/>
                      <a:pt x="1184145" y="3119315"/>
                    </a:cubicBezTo>
                    <a:cubicBezTo>
                      <a:pt x="1603283" y="3227532"/>
                      <a:pt x="2015943" y="3248666"/>
                      <a:pt x="2372681" y="30293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C4A9D9CC-5225-5FD4-01F0-CF1D0AE1114C}"/>
                  </a:ext>
                </a:extLst>
              </p:cNvPr>
              <p:cNvSpPr/>
              <p:nvPr/>
            </p:nvSpPr>
            <p:spPr>
              <a:xfrm>
                <a:off x="4553971" y="2590726"/>
                <a:ext cx="3226504" cy="3187950"/>
              </a:xfrm>
              <a:custGeom>
                <a:avLst/>
                <a:gdLst>
                  <a:gd name="connsiteX0" fmla="*/ 2383391 w 3226504"/>
                  <a:gd name="connsiteY0" fmla="*/ 3038865 h 3187950"/>
                  <a:gd name="connsiteX1" fmla="*/ 2952166 w 3226504"/>
                  <a:gd name="connsiteY1" fmla="*/ 2108570 h 3187950"/>
                  <a:gd name="connsiteX2" fmla="*/ 3141527 w 3226504"/>
                  <a:gd name="connsiteY2" fmla="*/ 807189 h 3187950"/>
                  <a:gd name="connsiteX3" fmla="*/ 1985463 w 3226504"/>
                  <a:gd name="connsiteY3" fmla="*/ 480070 h 3187950"/>
                  <a:gd name="connsiteX4" fmla="*/ 590135 w 3226504"/>
                  <a:gd name="connsiteY4" fmla="*/ 58540 h 3187950"/>
                  <a:gd name="connsiteX5" fmla="*/ 63859 w 3226504"/>
                  <a:gd name="connsiteY5" fmla="*/ 1260420 h 3187950"/>
                  <a:gd name="connsiteX6" fmla="*/ 212494 w 3226504"/>
                  <a:gd name="connsiteY6" fmla="*/ 2801914 h 3187950"/>
                  <a:gd name="connsiteX7" fmla="*/ 1184827 w 3226504"/>
                  <a:gd name="connsiteY7" fmla="*/ 3080825 h 3187950"/>
                  <a:gd name="connsiteX8" fmla="*/ 2383391 w 3226504"/>
                  <a:gd name="connsiteY8" fmla="*/ 3038865 h 3187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6504" h="3187950">
                    <a:moveTo>
                      <a:pt x="2383391" y="3038865"/>
                    </a:moveTo>
                    <a:cubicBezTo>
                      <a:pt x="2707964" y="2831302"/>
                      <a:pt x="2851740" y="2492921"/>
                      <a:pt x="2952166" y="2108570"/>
                    </a:cubicBezTo>
                    <a:cubicBezTo>
                      <a:pt x="3065629" y="1673310"/>
                      <a:pt x="3374930" y="1168401"/>
                      <a:pt x="3141527" y="807189"/>
                    </a:cubicBezTo>
                    <a:cubicBezTo>
                      <a:pt x="2933423" y="485083"/>
                      <a:pt x="2368118" y="579185"/>
                      <a:pt x="1985463" y="480070"/>
                    </a:cubicBezTo>
                    <a:cubicBezTo>
                      <a:pt x="1548662" y="366916"/>
                      <a:pt x="951347" y="-177023"/>
                      <a:pt x="590135" y="58540"/>
                    </a:cubicBezTo>
                    <a:cubicBezTo>
                      <a:pt x="270112" y="267261"/>
                      <a:pt x="161818" y="879077"/>
                      <a:pt x="63859" y="1260420"/>
                    </a:cubicBezTo>
                    <a:cubicBezTo>
                      <a:pt x="-48214" y="1695293"/>
                      <a:pt x="-21218" y="2442014"/>
                      <a:pt x="212494" y="2801914"/>
                    </a:cubicBezTo>
                    <a:cubicBezTo>
                      <a:pt x="420983" y="3122940"/>
                      <a:pt x="802790" y="2982250"/>
                      <a:pt x="1184827" y="3080825"/>
                    </a:cubicBezTo>
                    <a:cubicBezTo>
                      <a:pt x="1615998" y="3192205"/>
                      <a:pt x="2024647" y="3268258"/>
                      <a:pt x="2383391" y="303886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8218E793-E511-699C-5E53-E23DFF3AFFE4}"/>
                  </a:ext>
                </a:extLst>
              </p:cNvPr>
              <p:cNvSpPr/>
              <p:nvPr/>
            </p:nvSpPr>
            <p:spPr>
              <a:xfrm>
                <a:off x="4568996" y="2585529"/>
                <a:ext cx="3220062" cy="3183237"/>
              </a:xfrm>
              <a:custGeom>
                <a:avLst/>
                <a:gdLst>
                  <a:gd name="connsiteX0" fmla="*/ 2402845 w 3220062"/>
                  <a:gd name="connsiteY0" fmla="*/ 3048690 h 3183237"/>
                  <a:gd name="connsiteX1" fmla="*/ 2902741 w 3220062"/>
                  <a:gd name="connsiteY1" fmla="*/ 2108752 h 3183237"/>
                  <a:gd name="connsiteX2" fmla="*/ 3137301 w 3220062"/>
                  <a:gd name="connsiteY2" fmla="*/ 794722 h 3183237"/>
                  <a:gd name="connsiteX3" fmla="*/ 1951696 w 3220062"/>
                  <a:gd name="connsiteY3" fmla="*/ 528615 h 3183237"/>
                  <a:gd name="connsiteX4" fmla="*/ 519498 w 3220062"/>
                  <a:gd name="connsiteY4" fmla="*/ 59031 h 3183237"/>
                  <a:gd name="connsiteX5" fmla="*/ 91104 w 3220062"/>
                  <a:gd name="connsiteY5" fmla="*/ 1282277 h 3183237"/>
                  <a:gd name="connsiteX6" fmla="*/ 180577 w 3220062"/>
                  <a:gd name="connsiteY6" fmla="*/ 2875527 h 3183237"/>
                  <a:gd name="connsiteX7" fmla="*/ 1194100 w 3220062"/>
                  <a:gd name="connsiteY7" fmla="*/ 3042597 h 3183237"/>
                  <a:gd name="connsiteX8" fmla="*/ 2402690 w 3220062"/>
                  <a:gd name="connsiteY8" fmla="*/ 3048690 h 3183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062" h="3183237">
                    <a:moveTo>
                      <a:pt x="2402845" y="3048690"/>
                    </a:moveTo>
                    <a:cubicBezTo>
                      <a:pt x="2713920" y="2841743"/>
                      <a:pt x="2804166" y="2487088"/>
                      <a:pt x="2902741" y="2108752"/>
                    </a:cubicBezTo>
                    <a:cubicBezTo>
                      <a:pt x="3019057" y="1661538"/>
                      <a:pt x="3381426" y="1157322"/>
                      <a:pt x="3137301" y="794722"/>
                    </a:cubicBezTo>
                    <a:cubicBezTo>
                      <a:pt x="2930046" y="486809"/>
                      <a:pt x="2327563" y="626033"/>
                      <a:pt x="1951696" y="528615"/>
                    </a:cubicBezTo>
                    <a:cubicBezTo>
                      <a:pt x="1502322" y="412221"/>
                      <a:pt x="882484" y="-187870"/>
                      <a:pt x="519498" y="59031"/>
                    </a:cubicBezTo>
                    <a:cubicBezTo>
                      <a:pt x="214284" y="266672"/>
                      <a:pt x="187442" y="908415"/>
                      <a:pt x="91104" y="1282277"/>
                    </a:cubicBezTo>
                    <a:cubicBezTo>
                      <a:pt x="-24441" y="1729877"/>
                      <a:pt x="-64396" y="2513621"/>
                      <a:pt x="180577" y="2875527"/>
                    </a:cubicBezTo>
                    <a:cubicBezTo>
                      <a:pt x="388064" y="3182052"/>
                      <a:pt x="819235" y="2945718"/>
                      <a:pt x="1194100" y="3042597"/>
                    </a:cubicBezTo>
                    <a:cubicBezTo>
                      <a:pt x="1637304" y="3157215"/>
                      <a:pt x="2042173" y="3288495"/>
                      <a:pt x="2402690" y="304869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68268642-0A71-2082-E3FA-A834F555B386}"/>
                  </a:ext>
                </a:extLst>
              </p:cNvPr>
              <p:cNvSpPr/>
              <p:nvPr/>
            </p:nvSpPr>
            <p:spPr>
              <a:xfrm>
                <a:off x="4575239" y="2579941"/>
                <a:ext cx="3223194" cy="3183120"/>
              </a:xfrm>
              <a:custGeom>
                <a:avLst/>
                <a:gdLst>
                  <a:gd name="connsiteX0" fmla="*/ 2431079 w 3223194"/>
                  <a:gd name="connsiteY0" fmla="*/ 3058906 h 3183120"/>
                  <a:gd name="connsiteX1" fmla="*/ 2862096 w 3223194"/>
                  <a:gd name="connsiteY1" fmla="*/ 2109327 h 3183120"/>
                  <a:gd name="connsiteX2" fmla="*/ 3141779 w 3223194"/>
                  <a:gd name="connsiteY2" fmla="*/ 782570 h 3183120"/>
                  <a:gd name="connsiteX3" fmla="*/ 1926632 w 3223194"/>
                  <a:gd name="connsiteY3" fmla="*/ 577475 h 3183120"/>
                  <a:gd name="connsiteX4" fmla="*/ 457565 w 3223194"/>
                  <a:gd name="connsiteY4" fmla="*/ 59838 h 3183120"/>
                  <a:gd name="connsiteX5" fmla="*/ 127129 w 3223194"/>
                  <a:gd name="connsiteY5" fmla="*/ 1304526 h 3183120"/>
                  <a:gd name="connsiteX6" fmla="*/ 157519 w 3223194"/>
                  <a:gd name="connsiteY6" fmla="*/ 2949610 h 3183120"/>
                  <a:gd name="connsiteX7" fmla="*/ 1212307 w 3223194"/>
                  <a:gd name="connsiteY7" fmla="*/ 3004836 h 3183120"/>
                  <a:gd name="connsiteX8" fmla="*/ 2431002 w 3223194"/>
                  <a:gd name="connsiteY8" fmla="*/ 3058906 h 318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3194" h="3183120">
                    <a:moveTo>
                      <a:pt x="2431079" y="3058906"/>
                    </a:moveTo>
                    <a:cubicBezTo>
                      <a:pt x="2728888" y="2852731"/>
                      <a:pt x="2765372" y="2481646"/>
                      <a:pt x="2862096" y="2109327"/>
                    </a:cubicBezTo>
                    <a:cubicBezTo>
                      <a:pt x="2981343" y="1650080"/>
                      <a:pt x="3397011" y="1146327"/>
                      <a:pt x="3141779" y="782570"/>
                    </a:cubicBezTo>
                    <a:cubicBezTo>
                      <a:pt x="2935526" y="488695"/>
                      <a:pt x="2295712" y="673119"/>
                      <a:pt x="1926632" y="577475"/>
                    </a:cubicBezTo>
                    <a:cubicBezTo>
                      <a:pt x="1464608" y="457765"/>
                      <a:pt x="822016" y="-198865"/>
                      <a:pt x="457565" y="59838"/>
                    </a:cubicBezTo>
                    <a:cubicBezTo>
                      <a:pt x="166852" y="266168"/>
                      <a:pt x="221848" y="938146"/>
                      <a:pt x="127129" y="1304526"/>
                    </a:cubicBezTo>
                    <a:cubicBezTo>
                      <a:pt x="8113" y="1764776"/>
                      <a:pt x="-99178" y="2585930"/>
                      <a:pt x="157519" y="2949610"/>
                    </a:cubicBezTo>
                    <a:cubicBezTo>
                      <a:pt x="363849" y="3241942"/>
                      <a:pt x="844539" y="2909655"/>
                      <a:pt x="1212307" y="3004836"/>
                    </a:cubicBezTo>
                    <a:cubicBezTo>
                      <a:pt x="1667544" y="3122695"/>
                      <a:pt x="2068942" y="3309510"/>
                      <a:pt x="2431002" y="305890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02C70551-273F-0831-5817-75A585DF9F81}"/>
                  </a:ext>
                </a:extLst>
              </p:cNvPr>
              <p:cNvSpPr/>
              <p:nvPr/>
            </p:nvSpPr>
            <p:spPr>
              <a:xfrm>
                <a:off x="4574616" y="2574268"/>
                <a:ext cx="3233910" cy="3186151"/>
              </a:xfrm>
              <a:custGeom>
                <a:avLst/>
                <a:gdLst>
                  <a:gd name="connsiteX0" fmla="*/ 2828318 w 3233910"/>
                  <a:gd name="connsiteY0" fmla="*/ 2109987 h 3186151"/>
                  <a:gd name="connsiteX1" fmla="*/ 3153201 w 3233910"/>
                  <a:gd name="connsiteY1" fmla="*/ 770580 h 3186151"/>
                  <a:gd name="connsiteX2" fmla="*/ 1908512 w 3233910"/>
                  <a:gd name="connsiteY2" fmla="*/ 626573 h 3186151"/>
                  <a:gd name="connsiteX3" fmla="*/ 402652 w 3233910"/>
                  <a:gd name="connsiteY3" fmla="*/ 60883 h 3186151"/>
                  <a:gd name="connsiteX4" fmla="*/ 170175 w 3233910"/>
                  <a:gd name="connsiteY4" fmla="*/ 1327014 h 3186151"/>
                  <a:gd name="connsiteX5" fmla="*/ 141404 w 3233910"/>
                  <a:gd name="connsiteY5" fmla="*/ 3023854 h 3186151"/>
                  <a:gd name="connsiteX6" fmla="*/ 1237458 w 3233910"/>
                  <a:gd name="connsiteY6" fmla="*/ 2967238 h 3186151"/>
                  <a:gd name="connsiteX7" fmla="*/ 2466180 w 3233910"/>
                  <a:gd name="connsiteY7" fmla="*/ 3069285 h 3186151"/>
                  <a:gd name="connsiteX8" fmla="*/ 2828318 w 3233910"/>
                  <a:gd name="connsiteY8" fmla="*/ 2110064 h 3186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3910" h="3186151">
                    <a:moveTo>
                      <a:pt x="2828318" y="2109987"/>
                    </a:moveTo>
                    <a:cubicBezTo>
                      <a:pt x="2950419" y="1638707"/>
                      <a:pt x="3419925" y="1135031"/>
                      <a:pt x="3153201" y="770580"/>
                    </a:cubicBezTo>
                    <a:cubicBezTo>
                      <a:pt x="2948182" y="490434"/>
                      <a:pt x="2270727" y="720366"/>
                      <a:pt x="1908512" y="626573"/>
                    </a:cubicBezTo>
                    <a:cubicBezTo>
                      <a:pt x="1433915" y="503624"/>
                      <a:pt x="768029" y="-210007"/>
                      <a:pt x="402652" y="60883"/>
                    </a:cubicBezTo>
                    <a:cubicBezTo>
                      <a:pt x="126286" y="265747"/>
                      <a:pt x="263197" y="968039"/>
                      <a:pt x="170175" y="1327014"/>
                    </a:cubicBezTo>
                    <a:cubicBezTo>
                      <a:pt x="47611" y="1799914"/>
                      <a:pt x="-127326" y="2658939"/>
                      <a:pt x="141404" y="3023854"/>
                    </a:cubicBezTo>
                    <a:cubicBezTo>
                      <a:pt x="346345" y="3302147"/>
                      <a:pt x="876786" y="2873831"/>
                      <a:pt x="1237458" y="2967238"/>
                    </a:cubicBezTo>
                    <a:cubicBezTo>
                      <a:pt x="1704727" y="3088336"/>
                      <a:pt x="2102963" y="3331072"/>
                      <a:pt x="2466180" y="3069285"/>
                    </a:cubicBezTo>
                    <a:cubicBezTo>
                      <a:pt x="2750877" y="2864112"/>
                      <a:pt x="2733445" y="2476289"/>
                      <a:pt x="2828318" y="21100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7" name="Graphic 5">
              <a:extLst>
                <a:ext uri="{FF2B5EF4-FFF2-40B4-BE49-F238E27FC236}">
                  <a16:creationId xmlns:a16="http://schemas.microsoft.com/office/drawing/2014/main" id="{A163824B-6F05-0E3D-DF03-B17339DC8923}"/>
                </a:ext>
              </a:extLst>
            </p:cNvPr>
            <p:cNvGrpSpPr/>
            <p:nvPr/>
          </p:nvGrpSpPr>
          <p:grpSpPr>
            <a:xfrm rot="20743245">
              <a:off x="-1641318" y="712755"/>
              <a:ext cx="8683276" cy="5650143"/>
              <a:chOff x="3224705" y="2448010"/>
              <a:chExt cx="5745675" cy="3738674"/>
            </a:xfrm>
            <a:noFill/>
          </p:grpSpPr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580F8135-76E3-057D-8063-AF35309F405D}"/>
                  </a:ext>
                </a:extLst>
              </p:cNvPr>
              <p:cNvSpPr/>
              <p:nvPr/>
            </p:nvSpPr>
            <p:spPr>
              <a:xfrm>
                <a:off x="3224705" y="2973429"/>
                <a:ext cx="4086746" cy="2988613"/>
              </a:xfrm>
              <a:custGeom>
                <a:avLst/>
                <a:gdLst>
                  <a:gd name="connsiteX0" fmla="*/ 3021857 w 4086746"/>
                  <a:gd name="connsiteY0" fmla="*/ 21082 h 2988613"/>
                  <a:gd name="connsiteX1" fmla="*/ 1949714 w 4086746"/>
                  <a:gd name="connsiteY1" fmla="*/ 140561 h 2988613"/>
                  <a:gd name="connsiteX2" fmla="*/ 17620 w 4086746"/>
                  <a:gd name="connsiteY2" fmla="*/ 326759 h 2988613"/>
                  <a:gd name="connsiteX3" fmla="*/ 1162808 w 4086746"/>
                  <a:gd name="connsiteY3" fmla="*/ 2051134 h 2988613"/>
                  <a:gd name="connsiteX4" fmla="*/ 2164991 w 4086746"/>
                  <a:gd name="connsiteY4" fmla="*/ 2546943 h 2988613"/>
                  <a:gd name="connsiteX5" fmla="*/ 3449172 w 4086746"/>
                  <a:gd name="connsiteY5" fmla="*/ 2922733 h 2988613"/>
                  <a:gd name="connsiteX6" fmla="*/ 3803596 w 4086746"/>
                  <a:gd name="connsiteY6" fmla="*/ 1748620 h 2988613"/>
                  <a:gd name="connsiteX7" fmla="*/ 3997970 w 4086746"/>
                  <a:gd name="connsiteY7" fmla="*/ 855117 h 2988613"/>
                  <a:gd name="connsiteX8" fmla="*/ 3021857 w 4086746"/>
                  <a:gd name="connsiteY8" fmla="*/ 21160 h 2988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6746" h="2988613">
                    <a:moveTo>
                      <a:pt x="3021857" y="21082"/>
                    </a:moveTo>
                    <a:cubicBezTo>
                      <a:pt x="2524275" y="34658"/>
                      <a:pt x="2338926" y="-88523"/>
                      <a:pt x="1949714" y="140561"/>
                    </a:cubicBezTo>
                    <a:cubicBezTo>
                      <a:pt x="1650594" y="316654"/>
                      <a:pt x="147126" y="-24349"/>
                      <a:pt x="17620" y="326759"/>
                    </a:cubicBezTo>
                    <a:cubicBezTo>
                      <a:pt x="-151995" y="786777"/>
                      <a:pt x="953624" y="1647191"/>
                      <a:pt x="1162808" y="2051134"/>
                    </a:cubicBezTo>
                    <a:cubicBezTo>
                      <a:pt x="1489850" y="2682542"/>
                      <a:pt x="1817123" y="2418671"/>
                      <a:pt x="2164991" y="2546943"/>
                    </a:cubicBezTo>
                    <a:cubicBezTo>
                      <a:pt x="2623313" y="2715940"/>
                      <a:pt x="3059267" y="3153822"/>
                      <a:pt x="3449172" y="2922733"/>
                    </a:cubicBezTo>
                    <a:cubicBezTo>
                      <a:pt x="3746441" y="2746562"/>
                      <a:pt x="3674708" y="2098108"/>
                      <a:pt x="3803596" y="1748620"/>
                    </a:cubicBezTo>
                    <a:cubicBezTo>
                      <a:pt x="3970588" y="1295698"/>
                      <a:pt x="4222272" y="1242631"/>
                      <a:pt x="3997970" y="855117"/>
                    </a:cubicBezTo>
                    <a:cubicBezTo>
                      <a:pt x="3822185" y="551446"/>
                      <a:pt x="3400038" y="10824"/>
                      <a:pt x="3021857" y="211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28F19FF0-5AAD-B695-7B3F-4F7EB5F7BF45}"/>
                  </a:ext>
                </a:extLst>
              </p:cNvPr>
              <p:cNvSpPr/>
              <p:nvPr/>
            </p:nvSpPr>
            <p:spPr>
              <a:xfrm>
                <a:off x="3285345" y="2945042"/>
                <a:ext cx="4163768" cy="2979360"/>
              </a:xfrm>
              <a:custGeom>
                <a:avLst/>
                <a:gdLst>
                  <a:gd name="connsiteX0" fmla="*/ 3793170 w 4163768"/>
                  <a:gd name="connsiteY0" fmla="*/ 1782639 h 2979360"/>
                  <a:gd name="connsiteX1" fmla="*/ 4094681 w 4163768"/>
                  <a:gd name="connsiteY1" fmla="*/ 868155 h 2979360"/>
                  <a:gd name="connsiteX2" fmla="*/ 2987366 w 4163768"/>
                  <a:gd name="connsiteY2" fmla="*/ 28 h 2979360"/>
                  <a:gd name="connsiteX3" fmla="*/ 1885912 w 4163768"/>
                  <a:gd name="connsiteY3" fmla="*/ 197641 h 2979360"/>
                  <a:gd name="connsiteX4" fmla="*/ 15678 w 4163768"/>
                  <a:gd name="connsiteY4" fmla="*/ 437446 h 2979360"/>
                  <a:gd name="connsiteX5" fmla="*/ 1132404 w 4163768"/>
                  <a:gd name="connsiteY5" fmla="*/ 2066409 h 2979360"/>
                  <a:gd name="connsiteX6" fmla="*/ 2140990 w 4163768"/>
                  <a:gd name="connsiteY6" fmla="*/ 2635648 h 2979360"/>
                  <a:gd name="connsiteX7" fmla="*/ 3375266 w 4163768"/>
                  <a:gd name="connsiteY7" fmla="*/ 2903143 h 2979360"/>
                  <a:gd name="connsiteX8" fmla="*/ 3793247 w 4163768"/>
                  <a:gd name="connsiteY8" fmla="*/ 1782639 h 2979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63768" h="2979360">
                    <a:moveTo>
                      <a:pt x="3793170" y="1782639"/>
                    </a:moveTo>
                    <a:cubicBezTo>
                      <a:pt x="3948438" y="1338818"/>
                      <a:pt x="4315975" y="1250115"/>
                      <a:pt x="4094681" y="868155"/>
                    </a:cubicBezTo>
                    <a:cubicBezTo>
                      <a:pt x="3912417" y="553917"/>
                      <a:pt x="3371717" y="-4523"/>
                      <a:pt x="2987366" y="28"/>
                    </a:cubicBezTo>
                    <a:cubicBezTo>
                      <a:pt x="2503822" y="5735"/>
                      <a:pt x="2269030" y="-27894"/>
                      <a:pt x="1885912" y="197641"/>
                    </a:cubicBezTo>
                    <a:cubicBezTo>
                      <a:pt x="1575531" y="380291"/>
                      <a:pt x="141019" y="77932"/>
                      <a:pt x="15678" y="437446"/>
                    </a:cubicBezTo>
                    <a:cubicBezTo>
                      <a:pt x="-141132" y="887207"/>
                      <a:pt x="925072" y="1670179"/>
                      <a:pt x="1132404" y="2066409"/>
                    </a:cubicBezTo>
                    <a:cubicBezTo>
                      <a:pt x="1452196" y="2678688"/>
                      <a:pt x="1784560" y="2511310"/>
                      <a:pt x="2140990" y="2635648"/>
                    </a:cubicBezTo>
                    <a:cubicBezTo>
                      <a:pt x="2589439" y="2792072"/>
                      <a:pt x="2991608" y="3130376"/>
                      <a:pt x="3375266" y="2903143"/>
                    </a:cubicBezTo>
                    <a:cubicBezTo>
                      <a:pt x="3683333" y="2720725"/>
                      <a:pt x="3668215" y="2140071"/>
                      <a:pt x="3793247" y="178263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F296E760-E34E-4DA9-95DB-8FD4DC179D5F}"/>
                  </a:ext>
                </a:extLst>
              </p:cNvPr>
              <p:cNvSpPr/>
              <p:nvPr/>
            </p:nvSpPr>
            <p:spPr>
              <a:xfrm>
                <a:off x="3345777" y="2895587"/>
                <a:ext cx="4247432" cy="2996098"/>
              </a:xfrm>
              <a:custGeom>
                <a:avLst/>
                <a:gdLst>
                  <a:gd name="connsiteX0" fmla="*/ 3783028 w 4247432"/>
                  <a:gd name="connsiteY0" fmla="*/ 1837724 h 2996098"/>
                  <a:gd name="connsiteX1" fmla="*/ 4191599 w 4247432"/>
                  <a:gd name="connsiteY1" fmla="*/ 902338 h 2996098"/>
                  <a:gd name="connsiteX2" fmla="*/ 2953081 w 4247432"/>
                  <a:gd name="connsiteY2" fmla="*/ 41 h 2996098"/>
                  <a:gd name="connsiteX3" fmla="*/ 1822318 w 4247432"/>
                  <a:gd name="connsiteY3" fmla="*/ 275790 h 2996098"/>
                  <a:gd name="connsiteX4" fmla="*/ 13867 w 4247432"/>
                  <a:gd name="connsiteY4" fmla="*/ 569202 h 2996098"/>
                  <a:gd name="connsiteX5" fmla="*/ 1102053 w 4247432"/>
                  <a:gd name="connsiteY5" fmla="*/ 2102675 h 2996098"/>
                  <a:gd name="connsiteX6" fmla="*/ 2117041 w 4247432"/>
                  <a:gd name="connsiteY6" fmla="*/ 2745420 h 2996098"/>
                  <a:gd name="connsiteX7" fmla="*/ 3301335 w 4247432"/>
                  <a:gd name="connsiteY7" fmla="*/ 2904699 h 2996098"/>
                  <a:gd name="connsiteX8" fmla="*/ 3782951 w 4247432"/>
                  <a:gd name="connsiteY8" fmla="*/ 1837724 h 299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47432" h="2996098">
                    <a:moveTo>
                      <a:pt x="3783028" y="1837724"/>
                    </a:moveTo>
                    <a:cubicBezTo>
                      <a:pt x="3926880" y="1403159"/>
                      <a:pt x="4410039" y="1278667"/>
                      <a:pt x="4191599" y="902338"/>
                    </a:cubicBezTo>
                    <a:cubicBezTo>
                      <a:pt x="4002856" y="577532"/>
                      <a:pt x="3343681" y="1506"/>
                      <a:pt x="2953081" y="41"/>
                    </a:cubicBezTo>
                    <a:cubicBezTo>
                      <a:pt x="2483575" y="-1733"/>
                      <a:pt x="2199342" y="53802"/>
                      <a:pt x="1822318" y="275790"/>
                    </a:cubicBezTo>
                    <a:cubicBezTo>
                      <a:pt x="1500752" y="465073"/>
                      <a:pt x="134888" y="201125"/>
                      <a:pt x="13867" y="569202"/>
                    </a:cubicBezTo>
                    <a:cubicBezTo>
                      <a:pt x="-130603" y="1008626"/>
                      <a:pt x="896726" y="1714158"/>
                      <a:pt x="1102053" y="2102675"/>
                    </a:cubicBezTo>
                    <a:cubicBezTo>
                      <a:pt x="1414672" y="2695824"/>
                      <a:pt x="1751896" y="2625171"/>
                      <a:pt x="2117041" y="2745420"/>
                    </a:cubicBezTo>
                    <a:cubicBezTo>
                      <a:pt x="2555309" y="2889658"/>
                      <a:pt x="2924002" y="3128075"/>
                      <a:pt x="3301335" y="2904699"/>
                    </a:cubicBezTo>
                    <a:cubicBezTo>
                      <a:pt x="3620201" y="2716033"/>
                      <a:pt x="3661930" y="2203256"/>
                      <a:pt x="3782951" y="183772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A33DF24D-0B27-5FF6-F2CD-A4EDA75F1A41}"/>
                  </a:ext>
                </a:extLst>
              </p:cNvPr>
              <p:cNvSpPr/>
              <p:nvPr/>
            </p:nvSpPr>
            <p:spPr>
              <a:xfrm>
                <a:off x="3406170" y="2845727"/>
                <a:ext cx="4334890" cy="3021757"/>
              </a:xfrm>
              <a:custGeom>
                <a:avLst/>
                <a:gdLst>
                  <a:gd name="connsiteX0" fmla="*/ 3772848 w 4334890"/>
                  <a:gd name="connsiteY0" fmla="*/ 1893214 h 3021757"/>
                  <a:gd name="connsiteX1" fmla="*/ 4288557 w 4334890"/>
                  <a:gd name="connsiteY1" fmla="*/ 936924 h 3021757"/>
                  <a:gd name="connsiteX2" fmla="*/ 2918837 w 4334890"/>
                  <a:gd name="connsiteY2" fmla="*/ 381 h 3021757"/>
                  <a:gd name="connsiteX3" fmla="*/ 1758762 w 4334890"/>
                  <a:gd name="connsiteY3" fmla="*/ 354188 h 3021757"/>
                  <a:gd name="connsiteX4" fmla="*/ 12172 w 4334890"/>
                  <a:gd name="connsiteY4" fmla="*/ 701207 h 3021757"/>
                  <a:gd name="connsiteX5" fmla="*/ 1071897 w 4334890"/>
                  <a:gd name="connsiteY5" fmla="*/ 2139267 h 3021757"/>
                  <a:gd name="connsiteX6" fmla="*/ 2093286 w 4334890"/>
                  <a:gd name="connsiteY6" fmla="*/ 2855443 h 3021757"/>
                  <a:gd name="connsiteX7" fmla="*/ 3227676 w 4334890"/>
                  <a:gd name="connsiteY7" fmla="*/ 2906427 h 3021757"/>
                  <a:gd name="connsiteX8" fmla="*/ 3772926 w 4334890"/>
                  <a:gd name="connsiteY8" fmla="*/ 1893060 h 3021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34890" h="3021757">
                    <a:moveTo>
                      <a:pt x="3772848" y="1893214"/>
                    </a:moveTo>
                    <a:cubicBezTo>
                      <a:pt x="3905671" y="1468137"/>
                      <a:pt x="4503989" y="1307701"/>
                      <a:pt x="4288557" y="936924"/>
                    </a:cubicBezTo>
                    <a:cubicBezTo>
                      <a:pt x="4093411" y="601629"/>
                      <a:pt x="3315684" y="8094"/>
                      <a:pt x="2918837" y="381"/>
                    </a:cubicBezTo>
                    <a:cubicBezTo>
                      <a:pt x="2463446" y="-8412"/>
                      <a:pt x="2129770" y="135826"/>
                      <a:pt x="1758762" y="354188"/>
                    </a:cubicBezTo>
                    <a:cubicBezTo>
                      <a:pt x="1425935" y="550027"/>
                      <a:pt x="128642" y="324415"/>
                      <a:pt x="12172" y="701207"/>
                    </a:cubicBezTo>
                    <a:cubicBezTo>
                      <a:pt x="-120342" y="1129987"/>
                      <a:pt x="868421" y="1758386"/>
                      <a:pt x="1071897" y="2139267"/>
                    </a:cubicBezTo>
                    <a:cubicBezTo>
                      <a:pt x="1377265" y="2713288"/>
                      <a:pt x="1719270" y="2739667"/>
                      <a:pt x="2093286" y="2855443"/>
                    </a:cubicBezTo>
                    <a:cubicBezTo>
                      <a:pt x="2521218" y="2987957"/>
                      <a:pt x="2856591" y="3126024"/>
                      <a:pt x="3227676" y="2906427"/>
                    </a:cubicBezTo>
                    <a:cubicBezTo>
                      <a:pt x="3557340" y="2711514"/>
                      <a:pt x="3656147" y="2266690"/>
                      <a:pt x="3772926" y="18930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49B7385-A2B0-106D-3547-EF417856861C}"/>
                  </a:ext>
                </a:extLst>
              </p:cNvPr>
              <p:cNvSpPr/>
              <p:nvPr/>
            </p:nvSpPr>
            <p:spPr>
              <a:xfrm>
                <a:off x="3466359" y="2795931"/>
                <a:ext cx="4425026" cy="3063471"/>
              </a:xfrm>
              <a:custGeom>
                <a:avLst/>
                <a:gdLst>
                  <a:gd name="connsiteX0" fmla="*/ 3762949 w 4425026"/>
                  <a:gd name="connsiteY0" fmla="*/ 1948641 h 3063471"/>
                  <a:gd name="connsiteX1" fmla="*/ 4385718 w 4425026"/>
                  <a:gd name="connsiteY1" fmla="*/ 971448 h 3063471"/>
                  <a:gd name="connsiteX2" fmla="*/ 2884795 w 4425026"/>
                  <a:gd name="connsiteY2" fmla="*/ 735 h 3063471"/>
                  <a:gd name="connsiteX3" fmla="*/ 1695410 w 4425026"/>
                  <a:gd name="connsiteY3" fmla="*/ 432677 h 3063471"/>
                  <a:gd name="connsiteX4" fmla="*/ 10603 w 4425026"/>
                  <a:gd name="connsiteY4" fmla="*/ 833304 h 3063471"/>
                  <a:gd name="connsiteX5" fmla="*/ 1041789 w 4425026"/>
                  <a:gd name="connsiteY5" fmla="*/ 2175951 h 3063471"/>
                  <a:gd name="connsiteX6" fmla="*/ 2069581 w 4425026"/>
                  <a:gd name="connsiteY6" fmla="*/ 2965634 h 3063471"/>
                  <a:gd name="connsiteX7" fmla="*/ 3154065 w 4425026"/>
                  <a:gd name="connsiteY7" fmla="*/ 2908401 h 3063471"/>
                  <a:gd name="connsiteX8" fmla="*/ 3762949 w 4425026"/>
                  <a:gd name="connsiteY8" fmla="*/ 1948564 h 3063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25026" h="3063471">
                    <a:moveTo>
                      <a:pt x="3762949" y="1948641"/>
                    </a:moveTo>
                    <a:cubicBezTo>
                      <a:pt x="3885128" y="1533127"/>
                      <a:pt x="4598295" y="1336594"/>
                      <a:pt x="4385718" y="971448"/>
                    </a:cubicBezTo>
                    <a:cubicBezTo>
                      <a:pt x="4184094" y="625586"/>
                      <a:pt x="3287967" y="14927"/>
                      <a:pt x="2884795" y="735"/>
                    </a:cubicBezTo>
                    <a:cubicBezTo>
                      <a:pt x="2443596" y="-14769"/>
                      <a:pt x="2060325" y="217863"/>
                      <a:pt x="1695410" y="432677"/>
                    </a:cubicBezTo>
                    <a:cubicBezTo>
                      <a:pt x="1351399" y="635150"/>
                      <a:pt x="122214" y="447718"/>
                      <a:pt x="10603" y="833304"/>
                    </a:cubicBezTo>
                    <a:cubicBezTo>
                      <a:pt x="-110418" y="1251362"/>
                      <a:pt x="840318" y="1802706"/>
                      <a:pt x="1041789" y="2175951"/>
                    </a:cubicBezTo>
                    <a:cubicBezTo>
                      <a:pt x="1339983" y="2730842"/>
                      <a:pt x="1686617" y="2854485"/>
                      <a:pt x="2069581" y="2965634"/>
                    </a:cubicBezTo>
                    <a:cubicBezTo>
                      <a:pt x="2487022" y="3086809"/>
                      <a:pt x="2789228" y="3124141"/>
                      <a:pt x="3154065" y="2908401"/>
                    </a:cubicBezTo>
                    <a:cubicBezTo>
                      <a:pt x="3494528" y="2707240"/>
                      <a:pt x="3650644" y="2330524"/>
                      <a:pt x="3762949" y="19485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1C3DA1CD-63EA-102E-2EB0-7748AF9FC8BB}"/>
                  </a:ext>
                </a:extLst>
              </p:cNvPr>
              <p:cNvSpPr/>
              <p:nvPr/>
            </p:nvSpPr>
            <p:spPr>
              <a:xfrm>
                <a:off x="3526436" y="2746166"/>
                <a:ext cx="4516838" cy="3129085"/>
              </a:xfrm>
              <a:custGeom>
                <a:avLst/>
                <a:gdLst>
                  <a:gd name="connsiteX0" fmla="*/ 3753086 w 4516838"/>
                  <a:gd name="connsiteY0" fmla="*/ 2004037 h 3129085"/>
                  <a:gd name="connsiteX1" fmla="*/ 4482992 w 4516838"/>
                  <a:gd name="connsiteY1" fmla="*/ 1005942 h 3129085"/>
                  <a:gd name="connsiteX2" fmla="*/ 2850866 w 4516838"/>
                  <a:gd name="connsiteY2" fmla="*/ 1059 h 3129085"/>
                  <a:gd name="connsiteX3" fmla="*/ 1632171 w 4516838"/>
                  <a:gd name="connsiteY3" fmla="*/ 511136 h 3129085"/>
                  <a:gd name="connsiteX4" fmla="*/ 9147 w 4516838"/>
                  <a:gd name="connsiteY4" fmla="*/ 965447 h 3129085"/>
                  <a:gd name="connsiteX5" fmla="*/ 1011871 w 4516838"/>
                  <a:gd name="connsiteY5" fmla="*/ 2212681 h 3129085"/>
                  <a:gd name="connsiteX6" fmla="*/ 2046065 w 4516838"/>
                  <a:gd name="connsiteY6" fmla="*/ 3075871 h 3129085"/>
                  <a:gd name="connsiteX7" fmla="*/ 3080644 w 4516838"/>
                  <a:gd name="connsiteY7" fmla="*/ 2910345 h 3129085"/>
                  <a:gd name="connsiteX8" fmla="*/ 3753163 w 4516838"/>
                  <a:gd name="connsiteY8" fmla="*/ 2004114 h 3129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16838" h="3129085">
                    <a:moveTo>
                      <a:pt x="3753086" y="2004037"/>
                    </a:moveTo>
                    <a:cubicBezTo>
                      <a:pt x="3864928" y="1598166"/>
                      <a:pt x="4692561" y="1365534"/>
                      <a:pt x="4482992" y="1005942"/>
                    </a:cubicBezTo>
                    <a:cubicBezTo>
                      <a:pt x="4274888" y="649589"/>
                      <a:pt x="3260286" y="21962"/>
                      <a:pt x="2850866" y="1059"/>
                    </a:cubicBezTo>
                    <a:cubicBezTo>
                      <a:pt x="2423783" y="-20770"/>
                      <a:pt x="1990992" y="299870"/>
                      <a:pt x="1632171" y="511136"/>
                    </a:cubicBezTo>
                    <a:cubicBezTo>
                      <a:pt x="1276976" y="720166"/>
                      <a:pt x="115667" y="570837"/>
                      <a:pt x="9147" y="965447"/>
                    </a:cubicBezTo>
                    <a:cubicBezTo>
                      <a:pt x="-100767" y="1372553"/>
                      <a:pt x="812252" y="1847149"/>
                      <a:pt x="1011871" y="2212681"/>
                    </a:cubicBezTo>
                    <a:cubicBezTo>
                      <a:pt x="1302892" y="2748444"/>
                      <a:pt x="1654000" y="2969583"/>
                      <a:pt x="2046065" y="3075871"/>
                    </a:cubicBezTo>
                    <a:cubicBezTo>
                      <a:pt x="2452939" y="3186094"/>
                      <a:pt x="2721978" y="3122305"/>
                      <a:pt x="3080644" y="2910345"/>
                    </a:cubicBezTo>
                    <a:cubicBezTo>
                      <a:pt x="3431906" y="2702935"/>
                      <a:pt x="3645563" y="2394405"/>
                      <a:pt x="3753163" y="20041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070E756A-E279-614F-6C22-BDB0E49F6AA9}"/>
                  </a:ext>
                </a:extLst>
              </p:cNvPr>
              <p:cNvSpPr/>
              <p:nvPr/>
            </p:nvSpPr>
            <p:spPr>
              <a:xfrm>
                <a:off x="3586413" y="2696421"/>
                <a:ext cx="4609879" cy="3215724"/>
              </a:xfrm>
              <a:custGeom>
                <a:avLst/>
                <a:gdLst>
                  <a:gd name="connsiteX0" fmla="*/ 3743322 w 4609879"/>
                  <a:gd name="connsiteY0" fmla="*/ 2059413 h 3215724"/>
                  <a:gd name="connsiteX1" fmla="*/ 4580365 w 4609879"/>
                  <a:gd name="connsiteY1" fmla="*/ 1040414 h 3215724"/>
                  <a:gd name="connsiteX2" fmla="*/ 2817037 w 4609879"/>
                  <a:gd name="connsiteY2" fmla="*/ 1361 h 3215724"/>
                  <a:gd name="connsiteX3" fmla="*/ 1568955 w 4609879"/>
                  <a:gd name="connsiteY3" fmla="*/ 589575 h 3215724"/>
                  <a:gd name="connsiteX4" fmla="*/ 7791 w 4609879"/>
                  <a:gd name="connsiteY4" fmla="*/ 1097493 h 3215724"/>
                  <a:gd name="connsiteX5" fmla="*/ 981976 w 4609879"/>
                  <a:gd name="connsiteY5" fmla="*/ 2249313 h 3215724"/>
                  <a:gd name="connsiteX6" fmla="*/ 2022571 w 4609879"/>
                  <a:gd name="connsiteY6" fmla="*/ 3185934 h 3215724"/>
                  <a:gd name="connsiteX7" fmla="*/ 3007169 w 4609879"/>
                  <a:gd name="connsiteY7" fmla="*/ 2912190 h 3215724"/>
                  <a:gd name="connsiteX8" fmla="*/ 3743322 w 4609879"/>
                  <a:gd name="connsiteY8" fmla="*/ 2059567 h 3215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09879" h="3215724">
                    <a:moveTo>
                      <a:pt x="3743322" y="2059413"/>
                    </a:moveTo>
                    <a:cubicBezTo>
                      <a:pt x="3845138" y="1663337"/>
                      <a:pt x="4786926" y="1394376"/>
                      <a:pt x="4580365" y="1040414"/>
                    </a:cubicBezTo>
                    <a:cubicBezTo>
                      <a:pt x="4365783" y="673495"/>
                      <a:pt x="3232782" y="29284"/>
                      <a:pt x="2817037" y="1361"/>
                    </a:cubicBezTo>
                    <a:cubicBezTo>
                      <a:pt x="2401292" y="-26560"/>
                      <a:pt x="1921836" y="381934"/>
                      <a:pt x="1568955" y="589575"/>
                    </a:cubicBezTo>
                    <a:cubicBezTo>
                      <a:pt x="1202498" y="805237"/>
                      <a:pt x="108757" y="693858"/>
                      <a:pt x="7791" y="1097493"/>
                    </a:cubicBezTo>
                    <a:cubicBezTo>
                      <a:pt x="-91324" y="1493568"/>
                      <a:pt x="784362" y="1891418"/>
                      <a:pt x="981976" y="2249313"/>
                    </a:cubicBezTo>
                    <a:cubicBezTo>
                      <a:pt x="1265746" y="2765947"/>
                      <a:pt x="1621328" y="3084968"/>
                      <a:pt x="2022571" y="3185934"/>
                    </a:cubicBezTo>
                    <a:cubicBezTo>
                      <a:pt x="2418724" y="3285589"/>
                      <a:pt x="2654827" y="3120217"/>
                      <a:pt x="3007169" y="2912190"/>
                    </a:cubicBezTo>
                    <a:cubicBezTo>
                      <a:pt x="3369229" y="2698533"/>
                      <a:pt x="3640813" y="2458265"/>
                      <a:pt x="3743322" y="205956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1256D58-5119-442C-3934-AA75F636254D}"/>
                  </a:ext>
                </a:extLst>
              </p:cNvPr>
              <p:cNvSpPr/>
              <p:nvPr/>
            </p:nvSpPr>
            <p:spPr>
              <a:xfrm>
                <a:off x="3646345" y="2646648"/>
                <a:ext cx="4703818" cy="3313713"/>
              </a:xfrm>
              <a:custGeom>
                <a:avLst/>
                <a:gdLst>
                  <a:gd name="connsiteX0" fmla="*/ 3733681 w 4703818"/>
                  <a:gd name="connsiteY0" fmla="*/ 2114893 h 3313713"/>
                  <a:gd name="connsiteX1" fmla="*/ 4677784 w 4703818"/>
                  <a:gd name="connsiteY1" fmla="*/ 1074915 h 3313713"/>
                  <a:gd name="connsiteX2" fmla="*/ 2783330 w 4703818"/>
                  <a:gd name="connsiteY2" fmla="*/ 1615 h 3313713"/>
                  <a:gd name="connsiteX3" fmla="*/ 1505937 w 4703818"/>
                  <a:gd name="connsiteY3" fmla="*/ 667886 h 3313713"/>
                  <a:gd name="connsiteX4" fmla="*/ 6557 w 4703818"/>
                  <a:gd name="connsiteY4" fmla="*/ 1229411 h 3313713"/>
                  <a:gd name="connsiteX5" fmla="*/ 952280 w 4703818"/>
                  <a:gd name="connsiteY5" fmla="*/ 2285819 h 3313713"/>
                  <a:gd name="connsiteX6" fmla="*/ 1999200 w 4703818"/>
                  <a:gd name="connsiteY6" fmla="*/ 3295947 h 3313713"/>
                  <a:gd name="connsiteX7" fmla="*/ 2933893 w 4703818"/>
                  <a:gd name="connsiteY7" fmla="*/ 2913910 h 3313713"/>
                  <a:gd name="connsiteX8" fmla="*/ 3733681 w 4703818"/>
                  <a:gd name="connsiteY8" fmla="*/ 2114816 h 3313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03818" h="3313713">
                    <a:moveTo>
                      <a:pt x="3733681" y="2114893"/>
                    </a:moveTo>
                    <a:cubicBezTo>
                      <a:pt x="3825777" y="1728690"/>
                      <a:pt x="4881491" y="1423323"/>
                      <a:pt x="4677784" y="1074915"/>
                    </a:cubicBezTo>
                    <a:cubicBezTo>
                      <a:pt x="4456722" y="697428"/>
                      <a:pt x="3205245" y="37019"/>
                      <a:pt x="2783330" y="1615"/>
                    </a:cubicBezTo>
                    <a:cubicBezTo>
                      <a:pt x="2384478" y="-31860"/>
                      <a:pt x="1852725" y="463871"/>
                      <a:pt x="1505937" y="667886"/>
                    </a:cubicBezTo>
                    <a:cubicBezTo>
                      <a:pt x="1128296" y="890105"/>
                      <a:pt x="101738" y="816675"/>
                      <a:pt x="6557" y="1229411"/>
                    </a:cubicBezTo>
                    <a:cubicBezTo>
                      <a:pt x="-82223" y="1614457"/>
                      <a:pt x="756517" y="1935560"/>
                      <a:pt x="952280" y="2285819"/>
                    </a:cubicBezTo>
                    <a:cubicBezTo>
                      <a:pt x="1228877" y="2783324"/>
                      <a:pt x="1588778" y="3200611"/>
                      <a:pt x="1999200" y="3295947"/>
                    </a:cubicBezTo>
                    <a:cubicBezTo>
                      <a:pt x="2384478" y="3385421"/>
                      <a:pt x="2587799" y="3118157"/>
                      <a:pt x="2933893" y="2913910"/>
                    </a:cubicBezTo>
                    <a:cubicBezTo>
                      <a:pt x="3306752" y="2694082"/>
                      <a:pt x="3636494" y="2522076"/>
                      <a:pt x="3733681" y="2114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A0F15F6C-15FE-A3D8-102F-81A93F09499F}"/>
                  </a:ext>
                </a:extLst>
              </p:cNvPr>
              <p:cNvSpPr/>
              <p:nvPr/>
            </p:nvSpPr>
            <p:spPr>
              <a:xfrm>
                <a:off x="3706188" y="2596973"/>
                <a:ext cx="4798420" cy="3416920"/>
              </a:xfrm>
              <a:custGeom>
                <a:avLst/>
                <a:gdLst>
                  <a:gd name="connsiteX0" fmla="*/ 3724051 w 4798420"/>
                  <a:gd name="connsiteY0" fmla="*/ 2170199 h 3416920"/>
                  <a:gd name="connsiteX1" fmla="*/ 4775292 w 4798420"/>
                  <a:gd name="connsiteY1" fmla="*/ 1109318 h 3416920"/>
                  <a:gd name="connsiteX2" fmla="*/ 2749635 w 4798420"/>
                  <a:gd name="connsiteY2" fmla="*/ 1848 h 3416920"/>
                  <a:gd name="connsiteX3" fmla="*/ 1442932 w 4798420"/>
                  <a:gd name="connsiteY3" fmla="*/ 746255 h 3416920"/>
                  <a:gd name="connsiteX4" fmla="*/ 5412 w 4798420"/>
                  <a:gd name="connsiteY4" fmla="*/ 1361387 h 3416920"/>
                  <a:gd name="connsiteX5" fmla="*/ 922596 w 4798420"/>
                  <a:gd name="connsiteY5" fmla="*/ 2322304 h 3416920"/>
                  <a:gd name="connsiteX6" fmla="*/ 1975918 w 4798420"/>
                  <a:gd name="connsiteY6" fmla="*/ 3405863 h 3416920"/>
                  <a:gd name="connsiteX7" fmla="*/ 2860706 w 4798420"/>
                  <a:gd name="connsiteY7" fmla="*/ 2915608 h 3416920"/>
                  <a:gd name="connsiteX8" fmla="*/ 3724129 w 4798420"/>
                  <a:gd name="connsiteY8" fmla="*/ 2170122 h 3416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98420" h="3416920">
                    <a:moveTo>
                      <a:pt x="3724051" y="2170199"/>
                    </a:moveTo>
                    <a:cubicBezTo>
                      <a:pt x="3806815" y="1793946"/>
                      <a:pt x="4975991" y="1452172"/>
                      <a:pt x="4775292" y="1109318"/>
                    </a:cubicBezTo>
                    <a:cubicBezTo>
                      <a:pt x="4547751" y="721341"/>
                      <a:pt x="3177798" y="45042"/>
                      <a:pt x="2749635" y="1848"/>
                    </a:cubicBezTo>
                    <a:cubicBezTo>
                      <a:pt x="2364821" y="-36950"/>
                      <a:pt x="1783627" y="545787"/>
                      <a:pt x="1442932" y="746255"/>
                    </a:cubicBezTo>
                    <a:cubicBezTo>
                      <a:pt x="1054030" y="975107"/>
                      <a:pt x="94192" y="939472"/>
                      <a:pt x="5412" y="1361387"/>
                    </a:cubicBezTo>
                    <a:cubicBezTo>
                      <a:pt x="-73263" y="1735248"/>
                      <a:pt x="728761" y="1979759"/>
                      <a:pt x="922596" y="2322304"/>
                    </a:cubicBezTo>
                    <a:cubicBezTo>
                      <a:pt x="1191943" y="2800681"/>
                      <a:pt x="1556163" y="3316697"/>
                      <a:pt x="1975918" y="3405863"/>
                    </a:cubicBezTo>
                    <a:cubicBezTo>
                      <a:pt x="2350320" y="3485463"/>
                      <a:pt x="2520860" y="3115999"/>
                      <a:pt x="2860706" y="2915608"/>
                    </a:cubicBezTo>
                    <a:cubicBezTo>
                      <a:pt x="3244364" y="2689532"/>
                      <a:pt x="3632649" y="2585944"/>
                      <a:pt x="3724129" y="217012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5FCB79BE-2D45-452E-D0A7-B6A133C3E5D1}"/>
                  </a:ext>
                </a:extLst>
              </p:cNvPr>
              <p:cNvSpPr/>
              <p:nvPr/>
            </p:nvSpPr>
            <p:spPr>
              <a:xfrm>
                <a:off x="3765757" y="2547325"/>
                <a:ext cx="4893698" cy="3522930"/>
              </a:xfrm>
              <a:custGeom>
                <a:avLst/>
                <a:gdLst>
                  <a:gd name="connsiteX0" fmla="*/ 3714695 w 4893698"/>
                  <a:gd name="connsiteY0" fmla="*/ 2225478 h 3522930"/>
                  <a:gd name="connsiteX1" fmla="*/ 4872995 w 4893698"/>
                  <a:gd name="connsiteY1" fmla="*/ 1143693 h 3522930"/>
                  <a:gd name="connsiteX2" fmla="*/ 2716137 w 4893698"/>
                  <a:gd name="connsiteY2" fmla="*/ 2054 h 3522930"/>
                  <a:gd name="connsiteX3" fmla="*/ 1380123 w 4893698"/>
                  <a:gd name="connsiteY3" fmla="*/ 824596 h 3522930"/>
                  <a:gd name="connsiteX4" fmla="*/ 4386 w 4893698"/>
                  <a:gd name="connsiteY4" fmla="*/ 1493335 h 3522930"/>
                  <a:gd name="connsiteX5" fmla="*/ 893031 w 4893698"/>
                  <a:gd name="connsiteY5" fmla="*/ 2358840 h 3522930"/>
                  <a:gd name="connsiteX6" fmla="*/ 1952756 w 4893698"/>
                  <a:gd name="connsiteY6" fmla="*/ 3515905 h 3522930"/>
                  <a:gd name="connsiteX7" fmla="*/ 2787562 w 4893698"/>
                  <a:gd name="connsiteY7" fmla="*/ 2917357 h 3522930"/>
                  <a:gd name="connsiteX8" fmla="*/ 3714541 w 4893698"/>
                  <a:gd name="connsiteY8" fmla="*/ 2225478 h 3522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93698" h="3522930">
                    <a:moveTo>
                      <a:pt x="3714695" y="2225478"/>
                    </a:moveTo>
                    <a:cubicBezTo>
                      <a:pt x="3788357" y="1859175"/>
                      <a:pt x="5070764" y="1480917"/>
                      <a:pt x="4872995" y="1143693"/>
                    </a:cubicBezTo>
                    <a:cubicBezTo>
                      <a:pt x="4639053" y="745149"/>
                      <a:pt x="3150470" y="53347"/>
                      <a:pt x="2716137" y="2054"/>
                    </a:cubicBezTo>
                    <a:cubicBezTo>
                      <a:pt x="2345360" y="-41757"/>
                      <a:pt x="1714801" y="627676"/>
                      <a:pt x="1380123" y="824596"/>
                    </a:cubicBezTo>
                    <a:cubicBezTo>
                      <a:pt x="980036" y="1060081"/>
                      <a:pt x="86455" y="1062164"/>
                      <a:pt x="4386" y="1493335"/>
                    </a:cubicBezTo>
                    <a:cubicBezTo>
                      <a:pt x="-64647" y="1856012"/>
                      <a:pt x="701202" y="2023930"/>
                      <a:pt x="893031" y="2358840"/>
                    </a:cubicBezTo>
                    <a:cubicBezTo>
                      <a:pt x="1155205" y="2818087"/>
                      <a:pt x="1523590" y="3433219"/>
                      <a:pt x="1952756" y="3515905"/>
                    </a:cubicBezTo>
                    <a:cubicBezTo>
                      <a:pt x="2316282" y="3585942"/>
                      <a:pt x="2454040" y="3113968"/>
                      <a:pt x="2787562" y="2917357"/>
                    </a:cubicBezTo>
                    <a:cubicBezTo>
                      <a:pt x="3182018" y="2685033"/>
                      <a:pt x="3629232" y="2649938"/>
                      <a:pt x="3714541" y="22254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A82ED3E7-0873-3B1B-17AA-BD54AA445F89}"/>
                  </a:ext>
                </a:extLst>
              </p:cNvPr>
              <p:cNvSpPr/>
              <p:nvPr/>
            </p:nvSpPr>
            <p:spPr>
              <a:xfrm>
                <a:off x="3825389" y="2497697"/>
                <a:ext cx="4989429" cy="3630406"/>
              </a:xfrm>
              <a:custGeom>
                <a:avLst/>
                <a:gdLst>
                  <a:gd name="connsiteX0" fmla="*/ 3705354 w 4989429"/>
                  <a:gd name="connsiteY0" fmla="*/ 2280737 h 3630406"/>
                  <a:gd name="connsiteX1" fmla="*/ 4970792 w 4989429"/>
                  <a:gd name="connsiteY1" fmla="*/ 1178049 h 3630406"/>
                  <a:gd name="connsiteX2" fmla="*/ 2682730 w 4989429"/>
                  <a:gd name="connsiteY2" fmla="*/ 2241 h 3630406"/>
                  <a:gd name="connsiteX3" fmla="*/ 1317406 w 4989429"/>
                  <a:gd name="connsiteY3" fmla="*/ 902918 h 3630406"/>
                  <a:gd name="connsiteX4" fmla="*/ 3453 w 4989429"/>
                  <a:gd name="connsiteY4" fmla="*/ 1625341 h 3630406"/>
                  <a:gd name="connsiteX5" fmla="*/ 863635 w 4989429"/>
                  <a:gd name="connsiteY5" fmla="*/ 2395433 h 3630406"/>
                  <a:gd name="connsiteX6" fmla="*/ 1929762 w 4989429"/>
                  <a:gd name="connsiteY6" fmla="*/ 3625929 h 3630406"/>
                  <a:gd name="connsiteX7" fmla="*/ 2714663 w 4989429"/>
                  <a:gd name="connsiteY7" fmla="*/ 2919163 h 3630406"/>
                  <a:gd name="connsiteX8" fmla="*/ 3705277 w 4989429"/>
                  <a:gd name="connsiteY8" fmla="*/ 2280814 h 3630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89429" h="3630406">
                    <a:moveTo>
                      <a:pt x="3705354" y="2280737"/>
                    </a:moveTo>
                    <a:cubicBezTo>
                      <a:pt x="3770145" y="1924384"/>
                      <a:pt x="5165629" y="1509720"/>
                      <a:pt x="4970792" y="1178049"/>
                    </a:cubicBezTo>
                    <a:cubicBezTo>
                      <a:pt x="4730370" y="769015"/>
                      <a:pt x="3123080" y="62173"/>
                      <a:pt x="2682730" y="2241"/>
                    </a:cubicBezTo>
                    <a:cubicBezTo>
                      <a:pt x="2325838" y="-46353"/>
                      <a:pt x="1645991" y="709546"/>
                      <a:pt x="1317406" y="902918"/>
                    </a:cubicBezTo>
                    <a:cubicBezTo>
                      <a:pt x="906058" y="1144960"/>
                      <a:pt x="78271" y="1184760"/>
                      <a:pt x="3453" y="1625341"/>
                    </a:cubicBezTo>
                    <a:cubicBezTo>
                      <a:pt x="-56171" y="1976757"/>
                      <a:pt x="673658" y="2068236"/>
                      <a:pt x="863635" y="2395433"/>
                    </a:cubicBezTo>
                    <a:cubicBezTo>
                      <a:pt x="1118636" y="2835628"/>
                      <a:pt x="1491186" y="3550339"/>
                      <a:pt x="1929762" y="3625929"/>
                    </a:cubicBezTo>
                    <a:cubicBezTo>
                      <a:pt x="2282335" y="3686709"/>
                      <a:pt x="2387313" y="3111917"/>
                      <a:pt x="2714663" y="2919163"/>
                    </a:cubicBezTo>
                    <a:cubicBezTo>
                      <a:pt x="3119918" y="2680592"/>
                      <a:pt x="3626525" y="2714067"/>
                      <a:pt x="3705277" y="22808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C2BBD195-B96C-02FC-5D6B-4C37B7EF09FD}"/>
                  </a:ext>
                </a:extLst>
              </p:cNvPr>
              <p:cNvSpPr/>
              <p:nvPr/>
            </p:nvSpPr>
            <p:spPr>
              <a:xfrm>
                <a:off x="3884910" y="2448010"/>
                <a:ext cx="5085470" cy="3738674"/>
              </a:xfrm>
              <a:custGeom>
                <a:avLst/>
                <a:gdLst>
                  <a:gd name="connsiteX0" fmla="*/ 5068621 w 5085470"/>
                  <a:gd name="connsiteY0" fmla="*/ 1212464 h 3738674"/>
                  <a:gd name="connsiteX1" fmla="*/ 2649357 w 5085470"/>
                  <a:gd name="connsiteY1" fmla="*/ 2408 h 3738674"/>
                  <a:gd name="connsiteX2" fmla="*/ 1254723 w 5085470"/>
                  <a:gd name="connsiteY2" fmla="*/ 981143 h 3738674"/>
                  <a:gd name="connsiteX3" fmla="*/ 2629 w 5085470"/>
                  <a:gd name="connsiteY3" fmla="*/ 1757174 h 3738674"/>
                  <a:gd name="connsiteX4" fmla="*/ 834273 w 5085470"/>
                  <a:gd name="connsiteY4" fmla="*/ 2431853 h 3738674"/>
                  <a:gd name="connsiteX5" fmla="*/ 1906801 w 5085470"/>
                  <a:gd name="connsiteY5" fmla="*/ 3735856 h 3738674"/>
                  <a:gd name="connsiteX6" fmla="*/ 2641798 w 5085470"/>
                  <a:gd name="connsiteY6" fmla="*/ 2920796 h 3738674"/>
                  <a:gd name="connsiteX7" fmla="*/ 3696046 w 5085470"/>
                  <a:gd name="connsiteY7" fmla="*/ 2336054 h 3738674"/>
                  <a:gd name="connsiteX8" fmla="*/ 5068621 w 5085470"/>
                  <a:gd name="connsiteY8" fmla="*/ 1212464 h 373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5470" h="3738674">
                    <a:moveTo>
                      <a:pt x="5068621" y="1212464"/>
                    </a:moveTo>
                    <a:cubicBezTo>
                      <a:pt x="4821720" y="792863"/>
                      <a:pt x="3095646" y="71519"/>
                      <a:pt x="2649357" y="2408"/>
                    </a:cubicBezTo>
                    <a:cubicBezTo>
                      <a:pt x="2306348" y="-50736"/>
                      <a:pt x="1577214" y="791397"/>
                      <a:pt x="1254723" y="981143"/>
                    </a:cubicBezTo>
                    <a:cubicBezTo>
                      <a:pt x="832190" y="1229819"/>
                      <a:pt x="69503" y="1307260"/>
                      <a:pt x="2629" y="1757174"/>
                    </a:cubicBezTo>
                    <a:cubicBezTo>
                      <a:pt x="-47970" y="2097406"/>
                      <a:pt x="646301" y="2112292"/>
                      <a:pt x="834273" y="2431853"/>
                    </a:cubicBezTo>
                    <a:cubicBezTo>
                      <a:pt x="1082023" y="2852919"/>
                      <a:pt x="1458738" y="3667825"/>
                      <a:pt x="1906801" y="3735856"/>
                    </a:cubicBezTo>
                    <a:cubicBezTo>
                      <a:pt x="2248499" y="3787689"/>
                      <a:pt x="2320695" y="3109771"/>
                      <a:pt x="2641798" y="2920796"/>
                    </a:cubicBezTo>
                    <a:cubicBezTo>
                      <a:pt x="3057851" y="2675977"/>
                      <a:pt x="3624313" y="2778024"/>
                      <a:pt x="3696046" y="2336054"/>
                    </a:cubicBezTo>
                    <a:cubicBezTo>
                      <a:pt x="3752276" y="1989652"/>
                      <a:pt x="5260450" y="1538503"/>
                      <a:pt x="5068621" y="12124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aphic 5">
              <a:extLst>
                <a:ext uri="{FF2B5EF4-FFF2-40B4-BE49-F238E27FC236}">
                  <a16:creationId xmlns:a16="http://schemas.microsoft.com/office/drawing/2014/main" id="{A76A43D8-5382-A9E4-C785-87EF90BC2E10}"/>
                </a:ext>
              </a:extLst>
            </p:cNvPr>
            <p:cNvGrpSpPr/>
            <p:nvPr/>
          </p:nvGrpSpPr>
          <p:grpSpPr>
            <a:xfrm rot="753948">
              <a:off x="-682780" y="-299489"/>
              <a:ext cx="5854605" cy="7484643"/>
              <a:chOff x="4061078" y="1549502"/>
              <a:chExt cx="3873961" cy="4952549"/>
            </a:xfrm>
            <a:noFill/>
          </p:grpSpPr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394DE06E-43B3-6E91-F2CC-6CC4CFF9392D}"/>
                  </a:ext>
                </a:extLst>
              </p:cNvPr>
              <p:cNvSpPr/>
              <p:nvPr/>
            </p:nvSpPr>
            <p:spPr>
              <a:xfrm>
                <a:off x="4475868" y="1549502"/>
                <a:ext cx="3007008" cy="4952549"/>
              </a:xfrm>
              <a:custGeom>
                <a:avLst/>
                <a:gdLst>
                  <a:gd name="connsiteX0" fmla="*/ 2976817 w 3007008"/>
                  <a:gd name="connsiteY0" fmla="*/ 2669180 h 4952549"/>
                  <a:gd name="connsiteX1" fmla="*/ 2432801 w 3007008"/>
                  <a:gd name="connsiteY1" fmla="*/ 1308330 h 4952549"/>
                  <a:gd name="connsiteX2" fmla="*/ 1795840 w 3007008"/>
                  <a:gd name="connsiteY2" fmla="*/ 7 h 4952549"/>
                  <a:gd name="connsiteX3" fmla="*/ 437072 w 3007008"/>
                  <a:gd name="connsiteY3" fmla="*/ 1607682 h 4952549"/>
                  <a:gd name="connsiteX4" fmla="*/ 310112 w 3007008"/>
                  <a:gd name="connsiteY4" fmla="*/ 2718545 h 4952549"/>
                  <a:gd name="connsiteX5" fmla="*/ 413007 w 3007008"/>
                  <a:gd name="connsiteY5" fmla="*/ 3875302 h 4952549"/>
                  <a:gd name="connsiteX6" fmla="*/ 1776248 w 3007008"/>
                  <a:gd name="connsiteY6" fmla="*/ 4952536 h 4952549"/>
                  <a:gd name="connsiteX7" fmla="*/ 2522815 w 3007008"/>
                  <a:gd name="connsiteY7" fmla="*/ 3870057 h 4952549"/>
                  <a:gd name="connsiteX8" fmla="*/ 2976817 w 3007008"/>
                  <a:gd name="connsiteY8" fmla="*/ 2669180 h 4952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07008" h="4952549">
                    <a:moveTo>
                      <a:pt x="2976817" y="2669180"/>
                    </a:moveTo>
                    <a:cubicBezTo>
                      <a:pt x="2795478" y="2205613"/>
                      <a:pt x="2780206" y="1596883"/>
                      <a:pt x="2432801" y="1308330"/>
                    </a:cubicBezTo>
                    <a:cubicBezTo>
                      <a:pt x="2165768" y="1086497"/>
                      <a:pt x="2170087" y="2861"/>
                      <a:pt x="1795840" y="7"/>
                    </a:cubicBezTo>
                    <a:cubicBezTo>
                      <a:pt x="1305585" y="-3772"/>
                      <a:pt x="857599" y="1434442"/>
                      <a:pt x="437072" y="1607682"/>
                    </a:cubicBezTo>
                    <a:cubicBezTo>
                      <a:pt x="-439463" y="1968739"/>
                      <a:pt x="265838" y="2328563"/>
                      <a:pt x="310112" y="2718545"/>
                    </a:cubicBezTo>
                    <a:cubicBezTo>
                      <a:pt x="365185" y="3203940"/>
                      <a:pt x="63519" y="3586749"/>
                      <a:pt x="413007" y="3875302"/>
                    </a:cubicBezTo>
                    <a:cubicBezTo>
                      <a:pt x="679500" y="4095361"/>
                      <a:pt x="1403775" y="4949682"/>
                      <a:pt x="1776248" y="4952536"/>
                    </a:cubicBezTo>
                    <a:cubicBezTo>
                      <a:pt x="2258944" y="4956238"/>
                      <a:pt x="2234184" y="4212294"/>
                      <a:pt x="2522815" y="3870057"/>
                    </a:cubicBezTo>
                    <a:cubicBezTo>
                      <a:pt x="2749045" y="3601790"/>
                      <a:pt x="3114576" y="3021444"/>
                      <a:pt x="2976817" y="266918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6EFDBBB3-BE73-B8BE-EC15-220341644680}"/>
                  </a:ext>
                </a:extLst>
              </p:cNvPr>
              <p:cNvSpPr/>
              <p:nvPr/>
            </p:nvSpPr>
            <p:spPr>
              <a:xfrm>
                <a:off x="4482456" y="1627788"/>
                <a:ext cx="3018571" cy="4778052"/>
              </a:xfrm>
              <a:custGeom>
                <a:avLst/>
                <a:gdLst>
                  <a:gd name="connsiteX0" fmla="*/ 1752691 w 3018571"/>
                  <a:gd name="connsiteY0" fmla="*/ 4776677 h 4778052"/>
                  <a:gd name="connsiteX1" fmla="*/ 2591277 w 3018571"/>
                  <a:gd name="connsiteY1" fmla="*/ 3811826 h 4778052"/>
                  <a:gd name="connsiteX2" fmla="*/ 2984730 w 3018571"/>
                  <a:gd name="connsiteY2" fmla="*/ 2584107 h 4778052"/>
                  <a:gd name="connsiteX3" fmla="*/ 2466168 w 3018571"/>
                  <a:gd name="connsiteY3" fmla="*/ 1202817 h 4778052"/>
                  <a:gd name="connsiteX4" fmla="*/ 1720373 w 3018571"/>
                  <a:gd name="connsiteY4" fmla="*/ 11 h 4778052"/>
                  <a:gd name="connsiteX5" fmla="*/ 440974 w 3018571"/>
                  <a:gd name="connsiteY5" fmla="*/ 1547522 h 4778052"/>
                  <a:gd name="connsiteX6" fmla="*/ 238116 w 3018571"/>
                  <a:gd name="connsiteY6" fmla="*/ 2690858 h 4778052"/>
                  <a:gd name="connsiteX7" fmla="*/ 359985 w 3018571"/>
                  <a:gd name="connsiteY7" fmla="*/ 3853863 h 4778052"/>
                  <a:gd name="connsiteX8" fmla="*/ 1752691 w 3018571"/>
                  <a:gd name="connsiteY8" fmla="*/ 4776754 h 4778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18571" h="4778052">
                    <a:moveTo>
                      <a:pt x="1752691" y="4776677"/>
                    </a:moveTo>
                    <a:cubicBezTo>
                      <a:pt x="2216181" y="4812235"/>
                      <a:pt x="2306966" y="4149435"/>
                      <a:pt x="2591277" y="3811826"/>
                    </a:cubicBezTo>
                    <a:cubicBezTo>
                      <a:pt x="2825220" y="3533917"/>
                      <a:pt x="3119172" y="2944162"/>
                      <a:pt x="2984730" y="2584107"/>
                    </a:cubicBezTo>
                    <a:cubicBezTo>
                      <a:pt x="2815579" y="2131107"/>
                      <a:pt x="2808174" y="1486896"/>
                      <a:pt x="2466168" y="1202817"/>
                    </a:cubicBezTo>
                    <a:cubicBezTo>
                      <a:pt x="2189185" y="972730"/>
                      <a:pt x="2101099" y="-3845"/>
                      <a:pt x="1720373" y="11"/>
                    </a:cubicBezTo>
                    <a:cubicBezTo>
                      <a:pt x="1244079" y="4794"/>
                      <a:pt x="830648" y="1354614"/>
                      <a:pt x="440974" y="1547522"/>
                    </a:cubicBezTo>
                    <a:cubicBezTo>
                      <a:pt x="-382030" y="1955091"/>
                      <a:pt x="190216" y="2298408"/>
                      <a:pt x="238116" y="2690858"/>
                    </a:cubicBezTo>
                    <a:cubicBezTo>
                      <a:pt x="294422" y="3162909"/>
                      <a:pt x="16205" y="3569861"/>
                      <a:pt x="359985" y="3853863"/>
                    </a:cubicBezTo>
                    <a:cubicBezTo>
                      <a:pt x="635965" y="4081944"/>
                      <a:pt x="1362169" y="4746827"/>
                      <a:pt x="1752691" y="47767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8BF4B64B-07EF-0432-3EF6-8E6749180521}"/>
                  </a:ext>
                </a:extLst>
              </p:cNvPr>
              <p:cNvSpPr/>
              <p:nvPr/>
            </p:nvSpPr>
            <p:spPr>
              <a:xfrm>
                <a:off x="4484173" y="1705758"/>
                <a:ext cx="3036493" cy="4605873"/>
              </a:xfrm>
              <a:custGeom>
                <a:avLst/>
                <a:gdLst>
                  <a:gd name="connsiteX0" fmla="*/ 1734082 w 3036493"/>
                  <a:gd name="connsiteY0" fmla="*/ 4601058 h 4605873"/>
                  <a:gd name="connsiteX1" fmla="*/ 2664764 w 3036493"/>
                  <a:gd name="connsiteY1" fmla="*/ 3753833 h 4605873"/>
                  <a:gd name="connsiteX2" fmla="*/ 2997591 w 3036493"/>
                  <a:gd name="connsiteY2" fmla="*/ 2499272 h 4605873"/>
                  <a:gd name="connsiteX3" fmla="*/ 2504559 w 3036493"/>
                  <a:gd name="connsiteY3" fmla="*/ 1097465 h 4605873"/>
                  <a:gd name="connsiteX4" fmla="*/ 1649930 w 3036493"/>
                  <a:gd name="connsiteY4" fmla="*/ 100 h 4605873"/>
                  <a:gd name="connsiteX5" fmla="*/ 449901 w 3036493"/>
                  <a:gd name="connsiteY5" fmla="*/ 1487524 h 4605873"/>
                  <a:gd name="connsiteX6" fmla="*/ 171221 w 3036493"/>
                  <a:gd name="connsiteY6" fmla="*/ 2663410 h 4605873"/>
                  <a:gd name="connsiteX7" fmla="*/ 311988 w 3036493"/>
                  <a:gd name="connsiteY7" fmla="*/ 3832586 h 4605873"/>
                  <a:gd name="connsiteX8" fmla="*/ 1734159 w 3036493"/>
                  <a:gd name="connsiteY8" fmla="*/ 4601135 h 46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36493" h="4605873">
                    <a:moveTo>
                      <a:pt x="1734082" y="4601058"/>
                    </a:moveTo>
                    <a:cubicBezTo>
                      <a:pt x="2177440" y="4664460"/>
                      <a:pt x="2384618" y="4086814"/>
                      <a:pt x="2664764" y="3753833"/>
                    </a:cubicBezTo>
                    <a:cubicBezTo>
                      <a:pt x="2906420" y="3466283"/>
                      <a:pt x="3128562" y="2867271"/>
                      <a:pt x="2997591" y="2499272"/>
                    </a:cubicBezTo>
                    <a:cubicBezTo>
                      <a:pt x="2840240" y="2056917"/>
                      <a:pt x="2841089" y="1377070"/>
                      <a:pt x="2504559" y="1097465"/>
                    </a:cubicBezTo>
                    <a:cubicBezTo>
                      <a:pt x="2217549" y="859048"/>
                      <a:pt x="2037290" y="-10699"/>
                      <a:pt x="1649930" y="100"/>
                    </a:cubicBezTo>
                    <a:cubicBezTo>
                      <a:pt x="1187597" y="12981"/>
                      <a:pt x="808491" y="1275410"/>
                      <a:pt x="449901" y="1487524"/>
                    </a:cubicBezTo>
                    <a:cubicBezTo>
                      <a:pt x="-320113" y="1942838"/>
                      <a:pt x="120622" y="2268337"/>
                      <a:pt x="171221" y="2663410"/>
                    </a:cubicBezTo>
                    <a:cubicBezTo>
                      <a:pt x="229996" y="3121963"/>
                      <a:pt x="-26007" y="3553212"/>
                      <a:pt x="311988" y="3832586"/>
                    </a:cubicBezTo>
                    <a:cubicBezTo>
                      <a:pt x="597533" y="4068688"/>
                      <a:pt x="1324122" y="4542514"/>
                      <a:pt x="1734159" y="460113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AD09D0EA-39C9-0A3D-9AE7-BBE849BD98C2}"/>
                  </a:ext>
                </a:extLst>
              </p:cNvPr>
              <p:cNvSpPr/>
              <p:nvPr/>
            </p:nvSpPr>
            <p:spPr>
              <a:xfrm>
                <a:off x="4477865" y="1783678"/>
                <a:ext cx="3064583" cy="4435839"/>
              </a:xfrm>
              <a:custGeom>
                <a:avLst/>
                <a:gdLst>
                  <a:gd name="connsiteX0" fmla="*/ 1723421 w 3064583"/>
                  <a:gd name="connsiteY0" fmla="*/ 4425487 h 4435839"/>
                  <a:gd name="connsiteX1" fmla="*/ 2746122 w 3064583"/>
                  <a:gd name="connsiteY1" fmla="*/ 3695890 h 4435839"/>
                  <a:gd name="connsiteX2" fmla="*/ 3018400 w 3064583"/>
                  <a:gd name="connsiteY2" fmla="*/ 2414487 h 4435839"/>
                  <a:gd name="connsiteX3" fmla="*/ 2550822 w 3064583"/>
                  <a:gd name="connsiteY3" fmla="*/ 992240 h 4435839"/>
                  <a:gd name="connsiteX4" fmla="*/ 1587359 w 3064583"/>
                  <a:gd name="connsiteY4" fmla="*/ 315 h 4435839"/>
                  <a:gd name="connsiteX5" fmla="*/ 466700 w 3064583"/>
                  <a:gd name="connsiteY5" fmla="*/ 1427576 h 4435839"/>
                  <a:gd name="connsiteX6" fmla="*/ 112198 w 3064583"/>
                  <a:gd name="connsiteY6" fmla="*/ 2635935 h 4435839"/>
                  <a:gd name="connsiteX7" fmla="*/ 271940 w 3064583"/>
                  <a:gd name="connsiteY7" fmla="*/ 3811281 h 4435839"/>
                  <a:gd name="connsiteX8" fmla="*/ 1723498 w 3064583"/>
                  <a:gd name="connsiteY8" fmla="*/ 4425487 h 4435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64583" h="4435839">
                    <a:moveTo>
                      <a:pt x="1723421" y="4425487"/>
                    </a:moveTo>
                    <a:cubicBezTo>
                      <a:pt x="2146185" y="4513187"/>
                      <a:pt x="2470296" y="4024167"/>
                      <a:pt x="2746122" y="3695890"/>
                    </a:cubicBezTo>
                    <a:cubicBezTo>
                      <a:pt x="2995492" y="3398699"/>
                      <a:pt x="3145592" y="2790508"/>
                      <a:pt x="3018400" y="2414487"/>
                    </a:cubicBezTo>
                    <a:cubicBezTo>
                      <a:pt x="2872465" y="1983084"/>
                      <a:pt x="2881952" y="1267371"/>
                      <a:pt x="2550822" y="992240"/>
                    </a:cubicBezTo>
                    <a:cubicBezTo>
                      <a:pt x="2253785" y="745493"/>
                      <a:pt x="1981275" y="-17734"/>
                      <a:pt x="1587359" y="315"/>
                    </a:cubicBezTo>
                    <a:cubicBezTo>
                      <a:pt x="1138987" y="20832"/>
                      <a:pt x="794205" y="1197181"/>
                      <a:pt x="466700" y="1427576"/>
                    </a:cubicBezTo>
                    <a:cubicBezTo>
                      <a:pt x="-250479" y="1932100"/>
                      <a:pt x="58205" y="2238316"/>
                      <a:pt x="112198" y="2635935"/>
                    </a:cubicBezTo>
                    <a:cubicBezTo>
                      <a:pt x="172593" y="3081144"/>
                      <a:pt x="-60347" y="3536534"/>
                      <a:pt x="271940" y="3811281"/>
                    </a:cubicBezTo>
                    <a:cubicBezTo>
                      <a:pt x="566972" y="4055483"/>
                      <a:pt x="1293253" y="4336245"/>
                      <a:pt x="1723498" y="442548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26C35A8D-9154-67FA-1166-110520631B72}"/>
                  </a:ext>
                </a:extLst>
              </p:cNvPr>
              <p:cNvSpPr/>
              <p:nvPr/>
            </p:nvSpPr>
            <p:spPr>
              <a:xfrm>
                <a:off x="4460130" y="1861400"/>
                <a:ext cx="3107969" cy="4268490"/>
              </a:xfrm>
              <a:custGeom>
                <a:avLst/>
                <a:gdLst>
                  <a:gd name="connsiteX0" fmla="*/ 1724263 w 3107969"/>
                  <a:gd name="connsiteY0" fmla="*/ 4250116 h 4268490"/>
                  <a:gd name="connsiteX1" fmla="*/ 2838983 w 3107969"/>
                  <a:gd name="connsiteY1" fmla="*/ 3638145 h 4268490"/>
                  <a:gd name="connsiteX2" fmla="*/ 3050712 w 3107969"/>
                  <a:gd name="connsiteY2" fmla="*/ 2329900 h 4268490"/>
                  <a:gd name="connsiteX3" fmla="*/ 2608666 w 3107969"/>
                  <a:gd name="connsiteY3" fmla="*/ 887212 h 4268490"/>
                  <a:gd name="connsiteX4" fmla="*/ 1536291 w 3107969"/>
                  <a:gd name="connsiteY4" fmla="*/ 728 h 4268490"/>
                  <a:gd name="connsiteX5" fmla="*/ 495001 w 3107969"/>
                  <a:gd name="connsiteY5" fmla="*/ 1367826 h 4268490"/>
                  <a:gd name="connsiteX6" fmla="*/ 64601 w 3107969"/>
                  <a:gd name="connsiteY6" fmla="*/ 2608657 h 4268490"/>
                  <a:gd name="connsiteX7" fmla="*/ 243317 w 3107969"/>
                  <a:gd name="connsiteY7" fmla="*/ 3790251 h 4268490"/>
                  <a:gd name="connsiteX8" fmla="*/ 1724340 w 3107969"/>
                  <a:gd name="connsiteY8" fmla="*/ 4250116 h 4268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07969" h="4268490">
                    <a:moveTo>
                      <a:pt x="1724263" y="4250116"/>
                    </a:moveTo>
                    <a:cubicBezTo>
                      <a:pt x="2126510" y="4359027"/>
                      <a:pt x="2567400" y="3961794"/>
                      <a:pt x="2838983" y="3638145"/>
                    </a:cubicBezTo>
                    <a:cubicBezTo>
                      <a:pt x="3096066" y="3331235"/>
                      <a:pt x="3173893" y="2714020"/>
                      <a:pt x="3050712" y="2329900"/>
                    </a:cubicBezTo>
                    <a:cubicBezTo>
                      <a:pt x="2915808" y="1909528"/>
                      <a:pt x="2934396" y="1157793"/>
                      <a:pt x="2608666" y="887212"/>
                    </a:cubicBezTo>
                    <a:cubicBezTo>
                      <a:pt x="2301601" y="632135"/>
                      <a:pt x="1936918" y="-24880"/>
                      <a:pt x="1536291" y="728"/>
                    </a:cubicBezTo>
                    <a:cubicBezTo>
                      <a:pt x="1101957" y="28496"/>
                      <a:pt x="791576" y="1119844"/>
                      <a:pt x="495001" y="1367826"/>
                    </a:cubicBezTo>
                    <a:cubicBezTo>
                      <a:pt x="-169265" y="1923180"/>
                      <a:pt x="7215" y="2208570"/>
                      <a:pt x="64601" y="2608657"/>
                    </a:cubicBezTo>
                    <a:cubicBezTo>
                      <a:pt x="126539" y="3040445"/>
                      <a:pt x="-83262" y="3520055"/>
                      <a:pt x="243317" y="3790251"/>
                    </a:cubicBezTo>
                    <a:cubicBezTo>
                      <a:pt x="547914" y="4042475"/>
                      <a:pt x="1273500" y="4128092"/>
                      <a:pt x="1724340" y="42501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4A6D92A3-61A1-3C70-1904-47E6CC1FAC9A}"/>
                  </a:ext>
                </a:extLst>
              </p:cNvPr>
              <p:cNvSpPr/>
              <p:nvPr/>
            </p:nvSpPr>
            <p:spPr>
              <a:xfrm>
                <a:off x="4426209" y="1938811"/>
                <a:ext cx="3173562" cy="4104897"/>
              </a:xfrm>
              <a:custGeom>
                <a:avLst/>
                <a:gdLst>
                  <a:gd name="connsiteX0" fmla="*/ 1741215 w 3173562"/>
                  <a:gd name="connsiteY0" fmla="*/ 4075055 h 4104897"/>
                  <a:gd name="connsiteX1" fmla="*/ 2947955 w 3173562"/>
                  <a:gd name="connsiteY1" fmla="*/ 3580712 h 4104897"/>
                  <a:gd name="connsiteX2" fmla="*/ 3099057 w 3173562"/>
                  <a:gd name="connsiteY2" fmla="*/ 2245625 h 4104897"/>
                  <a:gd name="connsiteX3" fmla="*/ 2682464 w 3173562"/>
                  <a:gd name="connsiteY3" fmla="*/ 782497 h 4104897"/>
                  <a:gd name="connsiteX4" fmla="*/ 1501255 w 3173562"/>
                  <a:gd name="connsiteY4" fmla="*/ 1452 h 4104897"/>
                  <a:gd name="connsiteX5" fmla="*/ 539335 w 3173562"/>
                  <a:gd name="connsiteY5" fmla="*/ 1308387 h 4104897"/>
                  <a:gd name="connsiteX6" fmla="*/ 33114 w 3173562"/>
                  <a:gd name="connsiteY6" fmla="*/ 2581691 h 4104897"/>
                  <a:gd name="connsiteX7" fmla="*/ 230727 w 3173562"/>
                  <a:gd name="connsiteY7" fmla="*/ 3769455 h 4104897"/>
                  <a:gd name="connsiteX8" fmla="*/ 1741215 w 3173562"/>
                  <a:gd name="connsiteY8" fmla="*/ 4074978 h 4104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73562" h="4104897">
                    <a:moveTo>
                      <a:pt x="1741215" y="4075055"/>
                    </a:moveTo>
                    <a:cubicBezTo>
                      <a:pt x="2123407" y="4202555"/>
                      <a:pt x="2680613" y="3899655"/>
                      <a:pt x="2947955" y="3580712"/>
                    </a:cubicBezTo>
                    <a:cubicBezTo>
                      <a:pt x="3212750" y="3264160"/>
                      <a:pt x="3218073" y="2637921"/>
                      <a:pt x="3099057" y="2245625"/>
                    </a:cubicBezTo>
                    <a:cubicBezTo>
                      <a:pt x="2974874" y="1836359"/>
                      <a:pt x="3002796" y="1048604"/>
                      <a:pt x="2682464" y="782497"/>
                    </a:cubicBezTo>
                    <a:cubicBezTo>
                      <a:pt x="2365449" y="519089"/>
                      <a:pt x="1908516" y="-31946"/>
                      <a:pt x="1501255" y="1452"/>
                    </a:cubicBezTo>
                    <a:cubicBezTo>
                      <a:pt x="1080960" y="36008"/>
                      <a:pt x="805288" y="1043668"/>
                      <a:pt x="539335" y="1308387"/>
                    </a:cubicBezTo>
                    <a:cubicBezTo>
                      <a:pt x="-71324" y="1916191"/>
                      <a:pt x="-27821" y="2179059"/>
                      <a:pt x="33114" y="2581691"/>
                    </a:cubicBezTo>
                    <a:cubicBezTo>
                      <a:pt x="96440" y="3000135"/>
                      <a:pt x="-90144" y="3503888"/>
                      <a:pt x="230727" y="3769455"/>
                    </a:cubicBezTo>
                    <a:cubicBezTo>
                      <a:pt x="544811" y="4029701"/>
                      <a:pt x="1270089" y="3917782"/>
                      <a:pt x="1741215" y="40749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71812BFE-BF9D-CED3-F70B-B6B9A5CFA506}"/>
                  </a:ext>
                </a:extLst>
              </p:cNvPr>
              <p:cNvSpPr/>
              <p:nvPr/>
            </p:nvSpPr>
            <p:spPr>
              <a:xfrm>
                <a:off x="4376099" y="2015664"/>
                <a:ext cx="3263713" cy="3947335"/>
              </a:xfrm>
              <a:custGeom>
                <a:avLst/>
                <a:gdLst>
                  <a:gd name="connsiteX0" fmla="*/ 1774433 w 3263713"/>
                  <a:gd name="connsiteY0" fmla="*/ 3900552 h 3947335"/>
                  <a:gd name="connsiteX1" fmla="*/ 3073192 w 3263713"/>
                  <a:gd name="connsiteY1" fmla="*/ 3523836 h 3947335"/>
                  <a:gd name="connsiteX2" fmla="*/ 3163745 w 3263713"/>
                  <a:gd name="connsiteY2" fmla="*/ 2161907 h 3947335"/>
                  <a:gd name="connsiteX3" fmla="*/ 2772683 w 3263713"/>
                  <a:gd name="connsiteY3" fmla="*/ 678262 h 3947335"/>
                  <a:gd name="connsiteX4" fmla="*/ 1482563 w 3263713"/>
                  <a:gd name="connsiteY4" fmla="*/ 2735 h 3947335"/>
                  <a:gd name="connsiteX5" fmla="*/ 600012 w 3263713"/>
                  <a:gd name="connsiteY5" fmla="*/ 1249583 h 3947335"/>
                  <a:gd name="connsiteX6" fmla="*/ 17970 w 3263713"/>
                  <a:gd name="connsiteY6" fmla="*/ 2555437 h 3947335"/>
                  <a:gd name="connsiteX7" fmla="*/ 234558 w 3263713"/>
                  <a:gd name="connsiteY7" fmla="*/ 3749449 h 3947335"/>
                  <a:gd name="connsiteX8" fmla="*/ 1774433 w 3263713"/>
                  <a:gd name="connsiteY8" fmla="*/ 3900629 h 394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3713" h="3947335">
                    <a:moveTo>
                      <a:pt x="1774433" y="3900552"/>
                    </a:moveTo>
                    <a:cubicBezTo>
                      <a:pt x="2137188" y="4044635"/>
                      <a:pt x="2810169" y="3838151"/>
                      <a:pt x="3073192" y="3523836"/>
                    </a:cubicBezTo>
                    <a:cubicBezTo>
                      <a:pt x="3345701" y="3197643"/>
                      <a:pt x="3278210" y="2562533"/>
                      <a:pt x="3163745" y="2161907"/>
                    </a:cubicBezTo>
                    <a:cubicBezTo>
                      <a:pt x="3049975" y="1763902"/>
                      <a:pt x="3087538" y="939895"/>
                      <a:pt x="2772683" y="678262"/>
                    </a:cubicBezTo>
                    <a:cubicBezTo>
                      <a:pt x="2445641" y="406524"/>
                      <a:pt x="1896534" y="-38994"/>
                      <a:pt x="1482563" y="2735"/>
                    </a:cubicBezTo>
                    <a:cubicBezTo>
                      <a:pt x="1068593" y="44463"/>
                      <a:pt x="835884" y="968666"/>
                      <a:pt x="600012" y="1249583"/>
                    </a:cubicBezTo>
                    <a:cubicBezTo>
                      <a:pt x="44118" y="1911380"/>
                      <a:pt x="-46590" y="2150260"/>
                      <a:pt x="17970" y="2555437"/>
                    </a:cubicBezTo>
                    <a:cubicBezTo>
                      <a:pt x="82530" y="2960460"/>
                      <a:pt x="-80606" y="3488355"/>
                      <a:pt x="234558" y="3749449"/>
                    </a:cubicBezTo>
                    <a:cubicBezTo>
                      <a:pt x="558206" y="4017716"/>
                      <a:pt x="1283870" y="3705792"/>
                      <a:pt x="1774433" y="39006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9F498D6A-1483-A976-CE72-161E13D6039E}"/>
                  </a:ext>
                </a:extLst>
              </p:cNvPr>
              <p:cNvSpPr/>
              <p:nvPr/>
            </p:nvSpPr>
            <p:spPr>
              <a:xfrm>
                <a:off x="4316854" y="2091550"/>
                <a:ext cx="3371549" cy="3814147"/>
              </a:xfrm>
              <a:custGeom>
                <a:avLst/>
                <a:gdLst>
                  <a:gd name="connsiteX0" fmla="*/ 1816709 w 3371549"/>
                  <a:gd name="connsiteY0" fmla="*/ 3727016 h 3814147"/>
                  <a:gd name="connsiteX1" fmla="*/ 3207564 w 3371549"/>
                  <a:gd name="connsiteY1" fmla="*/ 3467928 h 3814147"/>
                  <a:gd name="connsiteX2" fmla="*/ 3237568 w 3371549"/>
                  <a:gd name="connsiteY2" fmla="*/ 2079156 h 3814147"/>
                  <a:gd name="connsiteX3" fmla="*/ 2871960 w 3371549"/>
                  <a:gd name="connsiteY3" fmla="*/ 575071 h 3814147"/>
                  <a:gd name="connsiteX4" fmla="*/ 1473006 w 3371549"/>
                  <a:gd name="connsiteY4" fmla="*/ 4984 h 3814147"/>
                  <a:gd name="connsiteX5" fmla="*/ 669824 w 3371549"/>
                  <a:gd name="connsiteY5" fmla="*/ 1191668 h 3814147"/>
                  <a:gd name="connsiteX6" fmla="*/ 11883 w 3371549"/>
                  <a:gd name="connsiteY6" fmla="*/ 2529996 h 3814147"/>
                  <a:gd name="connsiteX7" fmla="*/ 247369 w 3371549"/>
                  <a:gd name="connsiteY7" fmla="*/ 3730178 h 3814147"/>
                  <a:gd name="connsiteX8" fmla="*/ 1816709 w 3371549"/>
                  <a:gd name="connsiteY8" fmla="*/ 3727016 h 3814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1549" h="3814147">
                    <a:moveTo>
                      <a:pt x="1816709" y="3727016"/>
                    </a:moveTo>
                    <a:cubicBezTo>
                      <a:pt x="2160874" y="3886063"/>
                      <a:pt x="2948707" y="3777615"/>
                      <a:pt x="3207564" y="3467928"/>
                    </a:cubicBezTo>
                    <a:cubicBezTo>
                      <a:pt x="3487786" y="3132092"/>
                      <a:pt x="3347173" y="2488190"/>
                      <a:pt x="3237568" y="2079156"/>
                    </a:cubicBezTo>
                    <a:cubicBezTo>
                      <a:pt x="3133902" y="1692567"/>
                      <a:pt x="3181416" y="832231"/>
                      <a:pt x="2871960" y="575071"/>
                    </a:cubicBezTo>
                    <a:cubicBezTo>
                      <a:pt x="2534890" y="295002"/>
                      <a:pt x="1893533" y="-45307"/>
                      <a:pt x="1473006" y="4984"/>
                    </a:cubicBezTo>
                    <a:cubicBezTo>
                      <a:pt x="1080710" y="51880"/>
                      <a:pt x="876308" y="895248"/>
                      <a:pt x="669824" y="1191668"/>
                    </a:cubicBezTo>
                    <a:cubicBezTo>
                      <a:pt x="170313" y="1908693"/>
                      <a:pt x="-56379" y="2122427"/>
                      <a:pt x="11883" y="2529996"/>
                    </a:cubicBezTo>
                    <a:cubicBezTo>
                      <a:pt x="80145" y="2937564"/>
                      <a:pt x="-62010" y="3473713"/>
                      <a:pt x="247369" y="3730178"/>
                    </a:cubicBezTo>
                    <a:cubicBezTo>
                      <a:pt x="580505" y="4006544"/>
                      <a:pt x="1307942" y="3491916"/>
                      <a:pt x="1816709" y="37270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DA819172-5CE8-A988-98E6-7EDD2AC89459}"/>
                  </a:ext>
                </a:extLst>
              </p:cNvPr>
              <p:cNvSpPr/>
              <p:nvPr/>
            </p:nvSpPr>
            <p:spPr>
              <a:xfrm>
                <a:off x="4254170" y="2165535"/>
                <a:ext cx="3489733" cy="3780696"/>
              </a:xfrm>
              <a:custGeom>
                <a:avLst/>
                <a:gdLst>
                  <a:gd name="connsiteX0" fmla="*/ 1862424 w 3489733"/>
                  <a:gd name="connsiteY0" fmla="*/ 3555381 h 3780696"/>
                  <a:gd name="connsiteX1" fmla="*/ 3345298 w 3489733"/>
                  <a:gd name="connsiteY1" fmla="*/ 3413920 h 3780696"/>
                  <a:gd name="connsiteX2" fmla="*/ 3314677 w 3489733"/>
                  <a:gd name="connsiteY2" fmla="*/ 1998383 h 3780696"/>
                  <a:gd name="connsiteX3" fmla="*/ 2974599 w 3489733"/>
                  <a:gd name="connsiteY3" fmla="*/ 473858 h 3780696"/>
                  <a:gd name="connsiteX4" fmla="*/ 1466734 w 3489733"/>
                  <a:gd name="connsiteY4" fmla="*/ 9211 h 3780696"/>
                  <a:gd name="connsiteX5" fmla="*/ 742922 w 3489733"/>
                  <a:gd name="connsiteY5" fmla="*/ 1135733 h 3780696"/>
                  <a:gd name="connsiteX6" fmla="*/ 9159 w 3489733"/>
                  <a:gd name="connsiteY6" fmla="*/ 2506532 h 3780696"/>
                  <a:gd name="connsiteX7" fmla="*/ 263620 w 3489733"/>
                  <a:gd name="connsiteY7" fmla="*/ 3712886 h 3780696"/>
                  <a:gd name="connsiteX8" fmla="*/ 1862424 w 3489733"/>
                  <a:gd name="connsiteY8" fmla="*/ 3555381 h 3780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9733" h="3780696">
                    <a:moveTo>
                      <a:pt x="1862424" y="3555381"/>
                    </a:moveTo>
                    <a:cubicBezTo>
                      <a:pt x="2188927" y="3728158"/>
                      <a:pt x="3090761" y="3718902"/>
                      <a:pt x="3345298" y="3413920"/>
                    </a:cubicBezTo>
                    <a:cubicBezTo>
                      <a:pt x="3633311" y="3068443"/>
                      <a:pt x="3419114" y="2415825"/>
                      <a:pt x="3314677" y="1998383"/>
                    </a:cubicBezTo>
                    <a:cubicBezTo>
                      <a:pt x="3220807" y="1623210"/>
                      <a:pt x="3278656" y="726467"/>
                      <a:pt x="2974599" y="473858"/>
                    </a:cubicBezTo>
                    <a:cubicBezTo>
                      <a:pt x="2627580" y="185459"/>
                      <a:pt x="1893894" y="-50104"/>
                      <a:pt x="1466734" y="9211"/>
                    </a:cubicBezTo>
                    <a:cubicBezTo>
                      <a:pt x="1088321" y="61816"/>
                      <a:pt x="920789" y="824040"/>
                      <a:pt x="742922" y="1135733"/>
                    </a:cubicBezTo>
                    <a:cubicBezTo>
                      <a:pt x="301800" y="1908755"/>
                      <a:pt x="-63037" y="2096496"/>
                      <a:pt x="9159" y="2506532"/>
                    </a:cubicBezTo>
                    <a:cubicBezTo>
                      <a:pt x="75802" y="2884945"/>
                      <a:pt x="-40051" y="3461048"/>
                      <a:pt x="263620" y="3712886"/>
                    </a:cubicBezTo>
                    <a:cubicBezTo>
                      <a:pt x="606320" y="3997273"/>
                      <a:pt x="1337228" y="3277473"/>
                      <a:pt x="1862424" y="355538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17D1C7C0-E976-0965-1343-AED143224587}"/>
                  </a:ext>
                </a:extLst>
              </p:cNvPr>
              <p:cNvSpPr/>
              <p:nvPr/>
            </p:nvSpPr>
            <p:spPr>
              <a:xfrm>
                <a:off x="4190357" y="2234963"/>
                <a:ext cx="3614123" cy="3758010"/>
              </a:xfrm>
              <a:custGeom>
                <a:avLst/>
                <a:gdLst>
                  <a:gd name="connsiteX0" fmla="*/ 1909345 w 3614123"/>
                  <a:gd name="connsiteY0" fmla="*/ 3388303 h 3758010"/>
                  <a:gd name="connsiteX1" fmla="*/ 3484238 w 3614123"/>
                  <a:gd name="connsiteY1" fmla="*/ 3364469 h 3758010"/>
                  <a:gd name="connsiteX2" fmla="*/ 3393067 w 3614123"/>
                  <a:gd name="connsiteY2" fmla="*/ 1922090 h 3758010"/>
                  <a:gd name="connsiteX3" fmla="*/ 3078443 w 3614123"/>
                  <a:gd name="connsiteY3" fmla="*/ 377125 h 3758010"/>
                  <a:gd name="connsiteX4" fmla="*/ 1461744 w 3614123"/>
                  <a:gd name="connsiteY4" fmla="*/ 17919 h 3758010"/>
                  <a:gd name="connsiteX5" fmla="*/ 817301 w 3614123"/>
                  <a:gd name="connsiteY5" fmla="*/ 1084276 h 3758010"/>
                  <a:gd name="connsiteX6" fmla="*/ 7718 w 3614123"/>
                  <a:gd name="connsiteY6" fmla="*/ 2487549 h 3758010"/>
                  <a:gd name="connsiteX7" fmla="*/ 281153 w 3614123"/>
                  <a:gd name="connsiteY7" fmla="*/ 3700150 h 3758010"/>
                  <a:gd name="connsiteX8" fmla="*/ 1909345 w 3614123"/>
                  <a:gd name="connsiteY8" fmla="*/ 3388303 h 3758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14123" h="3758010">
                    <a:moveTo>
                      <a:pt x="1909345" y="3388303"/>
                    </a:moveTo>
                    <a:cubicBezTo>
                      <a:pt x="2219418" y="3574116"/>
                      <a:pt x="3233943" y="3664824"/>
                      <a:pt x="3484238" y="3364469"/>
                    </a:cubicBezTo>
                    <a:cubicBezTo>
                      <a:pt x="3779964" y="3009351"/>
                      <a:pt x="3491874" y="2348094"/>
                      <a:pt x="3393067" y="1922090"/>
                    </a:cubicBezTo>
                    <a:cubicBezTo>
                      <a:pt x="3308684" y="1558333"/>
                      <a:pt x="3377101" y="625260"/>
                      <a:pt x="3078443" y="377125"/>
                    </a:cubicBezTo>
                    <a:cubicBezTo>
                      <a:pt x="2721397" y="80473"/>
                      <a:pt x="1895307" y="-50884"/>
                      <a:pt x="1461744" y="17919"/>
                    </a:cubicBezTo>
                    <a:cubicBezTo>
                      <a:pt x="1097138" y="75845"/>
                      <a:pt x="967324" y="757388"/>
                      <a:pt x="817301" y="1084276"/>
                    </a:cubicBezTo>
                    <a:cubicBezTo>
                      <a:pt x="436652" y="1913683"/>
                      <a:pt x="-68566" y="2075121"/>
                      <a:pt x="7718" y="2487549"/>
                    </a:cubicBezTo>
                    <a:cubicBezTo>
                      <a:pt x="75286" y="2852695"/>
                      <a:pt x="-16810" y="3452863"/>
                      <a:pt x="281153" y="3700150"/>
                    </a:cubicBezTo>
                    <a:cubicBezTo>
                      <a:pt x="633340" y="3992560"/>
                      <a:pt x="1370034" y="3065041"/>
                      <a:pt x="1909345" y="3388303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FEE3D760-B5FA-6D67-0BB7-6674A10A4C43}"/>
                  </a:ext>
                </a:extLst>
              </p:cNvPr>
              <p:cNvSpPr/>
              <p:nvPr/>
            </p:nvSpPr>
            <p:spPr>
              <a:xfrm>
                <a:off x="4125770" y="2293347"/>
                <a:ext cx="3742715" cy="3749606"/>
              </a:xfrm>
              <a:custGeom>
                <a:avLst/>
                <a:gdLst>
                  <a:gd name="connsiteX0" fmla="*/ 1956963 w 3742715"/>
                  <a:gd name="connsiteY0" fmla="*/ 3232269 h 3749606"/>
                  <a:gd name="connsiteX1" fmla="*/ 3623876 w 3742715"/>
                  <a:gd name="connsiteY1" fmla="*/ 3326063 h 3749606"/>
                  <a:gd name="connsiteX2" fmla="*/ 3472155 w 3742715"/>
                  <a:gd name="connsiteY2" fmla="*/ 1856842 h 3749606"/>
                  <a:gd name="connsiteX3" fmla="*/ 3183063 w 3742715"/>
                  <a:gd name="connsiteY3" fmla="*/ 291359 h 3749606"/>
                  <a:gd name="connsiteX4" fmla="*/ 1457529 w 3742715"/>
                  <a:gd name="connsiteY4" fmla="*/ 37593 h 3749606"/>
                  <a:gd name="connsiteX5" fmla="*/ 892456 w 3742715"/>
                  <a:gd name="connsiteY5" fmla="*/ 1043864 h 3749606"/>
                  <a:gd name="connsiteX6" fmla="*/ 6974 w 3742715"/>
                  <a:gd name="connsiteY6" fmla="*/ 2479687 h 3749606"/>
                  <a:gd name="connsiteX7" fmla="*/ 299306 w 3742715"/>
                  <a:gd name="connsiteY7" fmla="*/ 3698459 h 3749606"/>
                  <a:gd name="connsiteX8" fmla="*/ 1956963 w 3742715"/>
                  <a:gd name="connsiteY8" fmla="*/ 3232269 h 3749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42715" h="3749606">
                    <a:moveTo>
                      <a:pt x="1956963" y="3232269"/>
                    </a:moveTo>
                    <a:cubicBezTo>
                      <a:pt x="2251687" y="3430655"/>
                      <a:pt x="3377822" y="3621712"/>
                      <a:pt x="3623876" y="3326063"/>
                    </a:cubicBezTo>
                    <a:cubicBezTo>
                      <a:pt x="3927315" y="2961226"/>
                      <a:pt x="3564869" y="2291484"/>
                      <a:pt x="3472155" y="1856842"/>
                    </a:cubicBezTo>
                    <a:cubicBezTo>
                      <a:pt x="3397028" y="1504577"/>
                      <a:pt x="3476244" y="535021"/>
                      <a:pt x="3183063" y="291359"/>
                    </a:cubicBezTo>
                    <a:cubicBezTo>
                      <a:pt x="2815989" y="-13623"/>
                      <a:pt x="1897339" y="-41237"/>
                      <a:pt x="1457529" y="37593"/>
                    </a:cubicBezTo>
                    <a:cubicBezTo>
                      <a:pt x="1106653" y="100533"/>
                      <a:pt x="1015405" y="701550"/>
                      <a:pt x="892456" y="1043864"/>
                    </a:cubicBezTo>
                    <a:cubicBezTo>
                      <a:pt x="574361" y="1929346"/>
                      <a:pt x="-74247" y="2064945"/>
                      <a:pt x="6974" y="2479687"/>
                    </a:cubicBezTo>
                    <a:cubicBezTo>
                      <a:pt x="74696" y="2831643"/>
                      <a:pt x="7128" y="3455800"/>
                      <a:pt x="299306" y="3698459"/>
                    </a:cubicBezTo>
                    <a:cubicBezTo>
                      <a:pt x="661058" y="3998967"/>
                      <a:pt x="1405928" y="2861262"/>
                      <a:pt x="1956963" y="323226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FDB0A1F9-C859-7959-8547-6C068026AC92}"/>
                  </a:ext>
                </a:extLst>
              </p:cNvPr>
              <p:cNvSpPr/>
              <p:nvPr/>
            </p:nvSpPr>
            <p:spPr>
              <a:xfrm>
                <a:off x="4061078" y="2330966"/>
                <a:ext cx="3873961" cy="3763840"/>
              </a:xfrm>
              <a:custGeom>
                <a:avLst/>
                <a:gdLst>
                  <a:gd name="connsiteX0" fmla="*/ 3763695 w 3873961"/>
                  <a:gd name="connsiteY0" fmla="*/ 3308421 h 3763840"/>
                  <a:gd name="connsiteX1" fmla="*/ 3551425 w 3873961"/>
                  <a:gd name="connsiteY1" fmla="*/ 1812358 h 3763840"/>
                  <a:gd name="connsiteX2" fmla="*/ 3287786 w 3873961"/>
                  <a:gd name="connsiteY2" fmla="*/ 226435 h 3763840"/>
                  <a:gd name="connsiteX3" fmla="*/ 1453342 w 3873961"/>
                  <a:gd name="connsiteY3" fmla="*/ 78186 h 3763840"/>
                  <a:gd name="connsiteX4" fmla="*/ 967638 w 3873961"/>
                  <a:gd name="connsiteY4" fmla="*/ 1024294 h 3763840"/>
                  <a:gd name="connsiteX5" fmla="*/ 6334 w 3873961"/>
                  <a:gd name="connsiteY5" fmla="*/ 2492590 h 3763840"/>
                  <a:gd name="connsiteX6" fmla="*/ 317642 w 3873961"/>
                  <a:gd name="connsiteY6" fmla="*/ 3717532 h 3763840"/>
                  <a:gd name="connsiteX7" fmla="*/ 2004763 w 3873961"/>
                  <a:gd name="connsiteY7" fmla="*/ 3096923 h 3763840"/>
                  <a:gd name="connsiteX8" fmla="*/ 3763772 w 3873961"/>
                  <a:gd name="connsiteY8" fmla="*/ 3308421 h 3763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73961" h="3763840">
                    <a:moveTo>
                      <a:pt x="3763695" y="3308421"/>
                    </a:moveTo>
                    <a:cubicBezTo>
                      <a:pt x="4074847" y="2933942"/>
                      <a:pt x="3637583" y="2255716"/>
                      <a:pt x="3551425" y="1812358"/>
                    </a:cubicBezTo>
                    <a:cubicBezTo>
                      <a:pt x="3485169" y="1471586"/>
                      <a:pt x="3575568" y="465623"/>
                      <a:pt x="3287786" y="226435"/>
                    </a:cubicBezTo>
                    <a:cubicBezTo>
                      <a:pt x="2910685" y="-86878"/>
                      <a:pt x="1899323" y="-11288"/>
                      <a:pt x="1453342" y="78186"/>
                    </a:cubicBezTo>
                    <a:cubicBezTo>
                      <a:pt x="1116041" y="145831"/>
                      <a:pt x="1064131" y="666245"/>
                      <a:pt x="967638" y="1024294"/>
                    </a:cubicBezTo>
                    <a:cubicBezTo>
                      <a:pt x="714026" y="1965311"/>
                      <a:pt x="-78589" y="2075380"/>
                      <a:pt x="6334" y="2492590"/>
                    </a:cubicBezTo>
                    <a:cubicBezTo>
                      <a:pt x="75291" y="2831202"/>
                      <a:pt x="31094" y="3479501"/>
                      <a:pt x="317642" y="3717532"/>
                    </a:cubicBezTo>
                    <a:cubicBezTo>
                      <a:pt x="688958" y="4026062"/>
                      <a:pt x="1444780" y="2676242"/>
                      <a:pt x="2004763" y="3096923"/>
                    </a:cubicBezTo>
                    <a:cubicBezTo>
                      <a:pt x="2285294" y="3307727"/>
                      <a:pt x="3521961" y="3599365"/>
                      <a:pt x="3763772" y="330842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0" name="Title 6">
            <a:extLst>
              <a:ext uri="{FF2B5EF4-FFF2-40B4-BE49-F238E27FC236}">
                <a16:creationId xmlns:a16="http://schemas.microsoft.com/office/drawing/2014/main" id="{9F2CB4F9-9E8A-EBD4-61D3-9EC47AF54F14}"/>
              </a:ext>
            </a:extLst>
          </p:cNvPr>
          <p:cNvSpPr txBox="1">
            <a:spLocks/>
          </p:cNvSpPr>
          <p:nvPr/>
        </p:nvSpPr>
        <p:spPr>
          <a:xfrm>
            <a:off x="737757" y="861774"/>
            <a:ext cx="11017250" cy="55403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-50" normalizeH="0" baseline="0" noProof="0" dirty="0">
                <a:ln w="3175"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+mn-lt"/>
                <a:ea typeface="+mn-ea"/>
                <a:cs typeface="Segoe Sans Text" pitchFamily="2" charset="0"/>
              </a:rPr>
              <a:t>Peer-to</a:t>
            </a:r>
            <a:r>
              <a:rPr lang="en-US" sz="2000" b="1" i="1" dirty="0">
                <a:solidFill>
                  <a:srgbClr val="C03BC4"/>
                </a:solidFill>
                <a:latin typeface="+mn-lt"/>
                <a:cs typeface="Segoe Sans Text" pitchFamily="2" charset="0"/>
              </a:rPr>
              <a:t>-Peer Conversation</a:t>
            </a:r>
            <a:endParaRPr kumimoji="0" lang="en-US" sz="2000" b="1" i="1" u="none" strike="noStrike" kern="1200" cap="none" spc="-50" normalizeH="0" baseline="0" noProof="0" dirty="0">
              <a:ln w="3175">
                <a:noFill/>
              </a:ln>
              <a:solidFill>
                <a:srgbClr val="C03BC4"/>
              </a:solidFill>
              <a:effectLst/>
              <a:uLnTx/>
              <a:uFillTx/>
              <a:latin typeface="Segoe Sans Text Semibold"/>
              <a:ea typeface="+mn-ea"/>
              <a:cs typeface="Segoe Sans Text" pitchFamily="2" charset="0"/>
            </a:endParaRPr>
          </a:p>
        </p:txBody>
      </p:sp>
      <p:sp>
        <p:nvSpPr>
          <p:cNvPr id="66" name="Title 2">
            <a:extLst>
              <a:ext uri="{FF2B5EF4-FFF2-40B4-BE49-F238E27FC236}">
                <a16:creationId xmlns:a16="http://schemas.microsoft.com/office/drawing/2014/main" id="{27B15B0A-58D1-ACB1-8068-9BDD6978B00F}"/>
              </a:ext>
            </a:extLst>
          </p:cNvPr>
          <p:cNvSpPr txBox="1">
            <a:spLocks/>
          </p:cNvSpPr>
          <p:nvPr/>
        </p:nvSpPr>
        <p:spPr>
          <a:xfrm>
            <a:off x="736487" y="0"/>
            <a:ext cx="11018520" cy="861774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8661C5"/>
                </a:solidFill>
              </a:rPr>
              <a:t>Why Move From Naïve RAG to Agentic RAG?</a:t>
            </a:r>
            <a:endParaRPr lang="en-US" sz="2000" dirty="0">
              <a:solidFill>
                <a:srgbClr val="8661C5"/>
              </a:solidFill>
              <a:latin typeface="+mn-lt"/>
            </a:endParaRPr>
          </a:p>
        </p:txBody>
      </p:sp>
      <p:graphicFrame>
        <p:nvGraphicFramePr>
          <p:cNvPr id="131" name="Table 130">
            <a:extLst>
              <a:ext uri="{FF2B5EF4-FFF2-40B4-BE49-F238E27FC236}">
                <a16:creationId xmlns:a16="http://schemas.microsoft.com/office/drawing/2014/main" id="{FD462849-764A-1010-78AC-2551C04B43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3814357"/>
              </p:ext>
            </p:extLst>
          </p:nvPr>
        </p:nvGraphicFramePr>
        <p:xfrm>
          <a:off x="2778760" y="1723548"/>
          <a:ext cx="7406640" cy="3867798"/>
        </p:xfrm>
        <a:graphic>
          <a:graphicData uri="http://schemas.openxmlformats.org/drawingml/2006/table">
            <a:tbl>
              <a:tblPr/>
              <a:tblGrid>
                <a:gridCol w="3703320">
                  <a:extLst>
                    <a:ext uri="{9D8B030D-6E8A-4147-A177-3AD203B41FA5}">
                      <a16:colId xmlns:a16="http://schemas.microsoft.com/office/drawing/2014/main" val="155362385"/>
                    </a:ext>
                  </a:extLst>
                </a:gridCol>
                <a:gridCol w="3703320">
                  <a:extLst>
                    <a:ext uri="{9D8B030D-6E8A-4147-A177-3AD203B41FA5}">
                      <a16:colId xmlns:a16="http://schemas.microsoft.com/office/drawing/2014/main" val="3319297770"/>
                    </a:ext>
                  </a:extLst>
                </a:gridCol>
              </a:tblGrid>
              <a:tr h="396698">
                <a:tc>
                  <a:txBody>
                    <a:bodyPr/>
                    <a:lstStyle/>
                    <a:p>
                      <a:r>
                        <a:rPr lang="en-US" sz="1400" b="1" i="1" dirty="0">
                          <a:solidFill>
                            <a:srgbClr val="8661C5"/>
                          </a:solidFill>
                        </a:rPr>
                        <a:t>Reason</a:t>
                      </a:r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1" dirty="0">
                          <a:solidFill>
                            <a:srgbClr val="8661C5"/>
                          </a:solidFill>
                        </a:rPr>
                        <a:t>Reason</a:t>
                      </a:r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1347021"/>
                  </a:ext>
                </a:extLst>
              </a:tr>
              <a:tr h="694220">
                <a:tc>
                  <a:txBody>
                    <a:bodyPr/>
                    <a:lstStyle/>
                    <a:p>
                      <a:r>
                        <a:rPr lang="en-US" sz="1400" b="1" dirty="0"/>
                        <a:t>Handle complexity</a:t>
                      </a:r>
                      <a:endParaRPr lang="en-US" sz="1400" dirty="0"/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Traditional RAGs are rigid and brittle with complex or multi-hop queries.</a:t>
                      </a:r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8530153"/>
                  </a:ext>
                </a:extLst>
              </a:tr>
              <a:tr h="694220">
                <a:tc>
                  <a:txBody>
                    <a:bodyPr/>
                    <a:lstStyle/>
                    <a:p>
                      <a:r>
                        <a:rPr lang="en-US" sz="1400" b="1" dirty="0"/>
                        <a:t>Be adaptive</a:t>
                      </a:r>
                      <a:endParaRPr lang="en-US" sz="1400" dirty="0"/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tatic workflows don’t adapt to query type, user context, or quality of retrieved docs.</a:t>
                      </a:r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7565199"/>
                  </a:ext>
                </a:extLst>
              </a:tr>
              <a:tr h="694220">
                <a:tc>
                  <a:txBody>
                    <a:bodyPr/>
                    <a:lstStyle/>
                    <a:p>
                      <a:r>
                        <a:rPr lang="en-US" sz="1400" b="1"/>
                        <a:t>Enable autonomy</a:t>
                      </a:r>
                      <a:endParaRPr lang="en-US" sz="1400"/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gentic RAG lets agents reflect, plan, use tools, and collaborate—offering autonomy.</a:t>
                      </a:r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86963"/>
                  </a:ext>
                </a:extLst>
              </a:tr>
              <a:tr h="694220">
                <a:tc>
                  <a:txBody>
                    <a:bodyPr/>
                    <a:lstStyle/>
                    <a:p>
                      <a:r>
                        <a:rPr lang="en-US" sz="1400" b="1"/>
                        <a:t>Boost retrieval precision</a:t>
                      </a:r>
                      <a:endParaRPr lang="en-US" sz="1400"/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Agents iteratively refine queries, assess quality, and re-retrieve if needed.</a:t>
                      </a:r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8237920"/>
                  </a:ext>
                </a:extLst>
              </a:tr>
              <a:tr h="694220">
                <a:tc>
                  <a:txBody>
                    <a:bodyPr/>
                    <a:lstStyle/>
                    <a:p>
                      <a:r>
                        <a:rPr lang="en-US" sz="1400" b="1" dirty="0"/>
                        <a:t>Scale across tasks/domains</a:t>
                      </a:r>
                      <a:endParaRPr lang="en-US" sz="1400" dirty="0"/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ulti-agent systems can specialize and handle diverse, real-world tasks.</a:t>
                      </a:r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0152637"/>
                  </a:ext>
                </a:extLst>
              </a:tr>
            </a:tbl>
          </a:graphicData>
        </a:graphic>
      </p:graphicFrame>
      <p:sp>
        <p:nvSpPr>
          <p:cNvPr id="132" name="TextBox 131">
            <a:extLst>
              <a:ext uri="{FF2B5EF4-FFF2-40B4-BE49-F238E27FC236}">
                <a16:creationId xmlns:a16="http://schemas.microsoft.com/office/drawing/2014/main" id="{E284286C-B8BC-6D70-D5F5-AB90BE8759D2}"/>
              </a:ext>
            </a:extLst>
          </p:cNvPr>
          <p:cNvSpPr txBox="1"/>
          <p:nvPr/>
        </p:nvSpPr>
        <p:spPr>
          <a:xfrm>
            <a:off x="2778760" y="5996226"/>
            <a:ext cx="644144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/>
              <a:t>Agentic RAG doesn’t just “retrieve and generate”—it </a:t>
            </a:r>
            <a:r>
              <a:rPr lang="en-US" sz="1400" b="1" dirty="0"/>
              <a:t>thinks, decides, and adapts</a:t>
            </a:r>
            <a:r>
              <a:rPr lang="en-US" sz="14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04749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646758-3B06-0F07-D3E8-F1DAFEA2AB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" name="Group 66">
            <a:extLst>
              <a:ext uri="{FF2B5EF4-FFF2-40B4-BE49-F238E27FC236}">
                <a16:creationId xmlns:a16="http://schemas.microsoft.com/office/drawing/2014/main" id="{590A67C0-7831-096C-4848-3735F6A55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6981742">
            <a:off x="-5667041" y="-2680355"/>
            <a:ext cx="8334992" cy="7408967"/>
            <a:chOff x="-1641318" y="-299489"/>
            <a:chExt cx="8683276" cy="7718554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298C380C-7D76-D30F-2601-CB3FC620B328}"/>
                </a:ext>
              </a:extLst>
            </p:cNvPr>
            <p:cNvGrpSpPr/>
            <p:nvPr/>
          </p:nvGrpSpPr>
          <p:grpSpPr>
            <a:xfrm rot="13963223">
              <a:off x="-1235110" y="-252874"/>
              <a:ext cx="7671937" cy="7671942"/>
              <a:chOff x="-13073550" y="260470"/>
              <a:chExt cx="10868115" cy="10868116"/>
            </a:xfrm>
            <a:solidFill>
              <a:schemeClr val="bg1">
                <a:lumMod val="85000"/>
              </a:schemeClr>
            </a:solidFill>
          </p:grpSpPr>
          <p:grpSp>
            <p:nvGrpSpPr>
              <p:cNvPr id="121" name="Group 120">
                <a:extLst>
                  <a:ext uri="{FF2B5EF4-FFF2-40B4-BE49-F238E27FC236}">
                    <a16:creationId xmlns:a16="http://schemas.microsoft.com/office/drawing/2014/main" id="{63D2AB5F-F37F-921B-88D7-92EE8779DD14}"/>
                  </a:ext>
                </a:extLst>
              </p:cNvPr>
              <p:cNvGrpSpPr/>
              <p:nvPr/>
            </p:nvGrpSpPr>
            <p:grpSpPr>
              <a:xfrm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28" name="Graphic 127">
                  <a:extLst>
                    <a:ext uri="{FF2B5EF4-FFF2-40B4-BE49-F238E27FC236}">
                      <a16:creationId xmlns:a16="http://schemas.microsoft.com/office/drawing/2014/main" id="{380C1905-A9C3-2576-34EC-3B494837D5E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29" name="Graphic 128">
                  <a:extLst>
                    <a:ext uri="{FF2B5EF4-FFF2-40B4-BE49-F238E27FC236}">
                      <a16:creationId xmlns:a16="http://schemas.microsoft.com/office/drawing/2014/main" id="{FEB0D6F1-2AA4-199D-36B2-744940A2C88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id="{52BCE8E1-DDC2-6FA4-FECF-86D99C87FCEA}"/>
                  </a:ext>
                </a:extLst>
              </p:cNvPr>
              <p:cNvGrpSpPr/>
              <p:nvPr/>
            </p:nvGrpSpPr>
            <p:grpSpPr>
              <a:xfrm rot="18000000"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26" name="Graphic 125">
                  <a:extLst>
                    <a:ext uri="{FF2B5EF4-FFF2-40B4-BE49-F238E27FC236}">
                      <a16:creationId xmlns:a16="http://schemas.microsoft.com/office/drawing/2014/main" id="{4EE685A8-1990-7576-43EF-7FFDD665C8C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27" name="Graphic 126">
                  <a:extLst>
                    <a:ext uri="{FF2B5EF4-FFF2-40B4-BE49-F238E27FC236}">
                      <a16:creationId xmlns:a16="http://schemas.microsoft.com/office/drawing/2014/main" id="{9B24F5DB-12E2-2A17-84C2-F80C5E8EC72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123" name="Group 122">
                <a:extLst>
                  <a:ext uri="{FF2B5EF4-FFF2-40B4-BE49-F238E27FC236}">
                    <a16:creationId xmlns:a16="http://schemas.microsoft.com/office/drawing/2014/main" id="{990E6220-86D7-CC05-042E-5D3E1DA739C0}"/>
                  </a:ext>
                </a:extLst>
              </p:cNvPr>
              <p:cNvGrpSpPr/>
              <p:nvPr/>
            </p:nvGrpSpPr>
            <p:grpSpPr>
              <a:xfrm rot="3600000">
                <a:off x="-13073550" y="3398291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24" name="Graphic 123">
                  <a:extLst>
                    <a:ext uri="{FF2B5EF4-FFF2-40B4-BE49-F238E27FC236}">
                      <a16:creationId xmlns:a16="http://schemas.microsoft.com/office/drawing/2014/main" id="{1FFDA59D-9C8B-D1E6-6DB6-2FA74B34EA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25" name="Graphic 124">
                  <a:extLst>
                    <a:ext uri="{FF2B5EF4-FFF2-40B4-BE49-F238E27FC236}">
                      <a16:creationId xmlns:a16="http://schemas.microsoft.com/office/drawing/2014/main" id="{123A141F-36B9-8F79-F921-BEA4948B5AD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69" name="Graphic 5">
              <a:extLst>
                <a:ext uri="{FF2B5EF4-FFF2-40B4-BE49-F238E27FC236}">
                  <a16:creationId xmlns:a16="http://schemas.microsoft.com/office/drawing/2014/main" id="{08CEDE8B-AB4C-1838-8074-C67271EACDF9}"/>
                </a:ext>
              </a:extLst>
            </p:cNvPr>
            <p:cNvGrpSpPr/>
            <p:nvPr/>
          </p:nvGrpSpPr>
          <p:grpSpPr>
            <a:xfrm rot="15746055">
              <a:off x="-177888" y="1123433"/>
              <a:ext cx="5330696" cy="5499097"/>
              <a:chOff x="4071312" y="2489702"/>
              <a:chExt cx="3527293" cy="3638722"/>
            </a:xfrm>
            <a:noFill/>
          </p:grpSpPr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DB12BB40-BDDC-EAF1-6033-8206BCEFEF18}"/>
                  </a:ext>
                </a:extLst>
              </p:cNvPr>
              <p:cNvSpPr/>
              <p:nvPr/>
            </p:nvSpPr>
            <p:spPr>
              <a:xfrm>
                <a:off x="4071312" y="2489702"/>
                <a:ext cx="3259151" cy="3638722"/>
              </a:xfrm>
              <a:custGeom>
                <a:avLst/>
                <a:gdLst>
                  <a:gd name="connsiteX0" fmla="*/ 3079707 w 3259151"/>
                  <a:gd name="connsiteY0" fmla="*/ 3021953 h 3638722"/>
                  <a:gd name="connsiteX1" fmla="*/ 3132080 w 3259151"/>
                  <a:gd name="connsiteY1" fmla="*/ 1787369 h 3638722"/>
                  <a:gd name="connsiteX2" fmla="*/ 3107243 w 3259151"/>
                  <a:gd name="connsiteY2" fmla="*/ 829383 h 3638722"/>
                  <a:gd name="connsiteX3" fmla="*/ 1658848 w 3259151"/>
                  <a:gd name="connsiteY3" fmla="*/ 4990 h 3638722"/>
                  <a:gd name="connsiteX4" fmla="*/ 849418 w 3259151"/>
                  <a:gd name="connsiteY4" fmla="*/ 1005939 h 3638722"/>
                  <a:gd name="connsiteX5" fmla="*/ 4585 w 3259151"/>
                  <a:gd name="connsiteY5" fmla="*/ 2043526 h 3638722"/>
                  <a:gd name="connsiteX6" fmla="*/ 820725 w 3259151"/>
                  <a:gd name="connsiteY6" fmla="*/ 2918441 h 3638722"/>
                  <a:gd name="connsiteX7" fmla="*/ 2033249 w 3259151"/>
                  <a:gd name="connsiteY7" fmla="*/ 3633846 h 3638722"/>
                  <a:gd name="connsiteX8" fmla="*/ 3079785 w 3259151"/>
                  <a:gd name="connsiteY8" fmla="*/ 3022030 h 3638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59151" h="3638722">
                    <a:moveTo>
                      <a:pt x="3079707" y="3021953"/>
                    </a:moveTo>
                    <a:cubicBezTo>
                      <a:pt x="3412226" y="2666372"/>
                      <a:pt x="3192167" y="2234970"/>
                      <a:pt x="3132080" y="1787369"/>
                    </a:cubicBezTo>
                    <a:cubicBezTo>
                      <a:pt x="3085955" y="1443358"/>
                      <a:pt x="3380525" y="1084923"/>
                      <a:pt x="3107243" y="829383"/>
                    </a:cubicBezTo>
                    <a:cubicBezTo>
                      <a:pt x="2749194" y="494473"/>
                      <a:pt x="2109225" y="-58259"/>
                      <a:pt x="1658848" y="4990"/>
                    </a:cubicBezTo>
                    <a:cubicBezTo>
                      <a:pt x="1318153" y="52812"/>
                      <a:pt x="1102645" y="735127"/>
                      <a:pt x="849418" y="1005939"/>
                    </a:cubicBezTo>
                    <a:cubicBezTo>
                      <a:pt x="515743" y="1362755"/>
                      <a:pt x="-56967" y="1594538"/>
                      <a:pt x="4585" y="2043526"/>
                    </a:cubicBezTo>
                    <a:cubicBezTo>
                      <a:pt x="51559" y="2385918"/>
                      <a:pt x="548678" y="2663981"/>
                      <a:pt x="820725" y="2918441"/>
                    </a:cubicBezTo>
                    <a:cubicBezTo>
                      <a:pt x="1173298" y="3248183"/>
                      <a:pt x="1589043" y="3690075"/>
                      <a:pt x="2033249" y="3633846"/>
                    </a:cubicBezTo>
                    <a:cubicBezTo>
                      <a:pt x="2381349" y="3589726"/>
                      <a:pt x="2821390" y="3298397"/>
                      <a:pt x="3079785" y="302203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492E8D96-B04E-304E-79A1-A0FF1F718FB4}"/>
                  </a:ext>
                </a:extLst>
              </p:cNvPr>
              <p:cNvSpPr/>
              <p:nvPr/>
            </p:nvSpPr>
            <p:spPr>
              <a:xfrm>
                <a:off x="4109618" y="2534620"/>
                <a:ext cx="3220782" cy="3579817"/>
              </a:xfrm>
              <a:custGeom>
                <a:avLst/>
                <a:gdLst>
                  <a:gd name="connsiteX0" fmla="*/ 791058 w 3220782"/>
                  <a:gd name="connsiteY0" fmla="*/ 2907154 h 3579817"/>
                  <a:gd name="connsiteX1" fmla="*/ 2002194 w 3220782"/>
                  <a:gd name="connsiteY1" fmla="*/ 3574659 h 3579817"/>
                  <a:gd name="connsiteX2" fmla="*/ 3028289 w 3220782"/>
                  <a:gd name="connsiteY2" fmla="*/ 2934613 h 3579817"/>
                  <a:gd name="connsiteX3" fmla="*/ 3129333 w 3220782"/>
                  <a:gd name="connsiteY3" fmla="*/ 1743455 h 3579817"/>
                  <a:gd name="connsiteX4" fmla="*/ 3052277 w 3220782"/>
                  <a:gd name="connsiteY4" fmla="*/ 731167 h 3579817"/>
                  <a:gd name="connsiteX5" fmla="*/ 1620928 w 3220782"/>
                  <a:gd name="connsiteY5" fmla="*/ 5581 h 3579817"/>
                  <a:gd name="connsiteX6" fmla="*/ 765913 w 3220782"/>
                  <a:gd name="connsiteY6" fmla="*/ 939888 h 3579817"/>
                  <a:gd name="connsiteX7" fmla="*/ 5000 w 3220782"/>
                  <a:gd name="connsiteY7" fmla="*/ 1991745 h 3579817"/>
                  <a:gd name="connsiteX8" fmla="*/ 791058 w 3220782"/>
                  <a:gd name="connsiteY8" fmla="*/ 2907231 h 3579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782" h="3579817">
                    <a:moveTo>
                      <a:pt x="791058" y="2907154"/>
                    </a:moveTo>
                    <a:cubicBezTo>
                      <a:pt x="1139775" y="3222549"/>
                      <a:pt x="1564312" y="3630426"/>
                      <a:pt x="2002194" y="3574659"/>
                    </a:cubicBezTo>
                    <a:cubicBezTo>
                      <a:pt x="2362558" y="3528688"/>
                      <a:pt x="2770743" y="3219772"/>
                      <a:pt x="3028289" y="2934613"/>
                    </a:cubicBezTo>
                    <a:cubicBezTo>
                      <a:pt x="3345767" y="2583197"/>
                      <a:pt x="3188417" y="2184113"/>
                      <a:pt x="3129333" y="1743455"/>
                    </a:cubicBezTo>
                    <a:cubicBezTo>
                      <a:pt x="3081433" y="1386485"/>
                      <a:pt x="3334968" y="986244"/>
                      <a:pt x="3052277" y="731167"/>
                    </a:cubicBezTo>
                    <a:cubicBezTo>
                      <a:pt x="2698624" y="412069"/>
                      <a:pt x="2063823" y="-56434"/>
                      <a:pt x="1620928" y="5581"/>
                    </a:cubicBezTo>
                    <a:cubicBezTo>
                      <a:pt x="1267198" y="54946"/>
                      <a:pt x="1018908" y="659665"/>
                      <a:pt x="765913" y="939888"/>
                    </a:cubicBezTo>
                    <a:cubicBezTo>
                      <a:pt x="447664" y="1292461"/>
                      <a:pt x="-55549" y="1549929"/>
                      <a:pt x="5000" y="1991745"/>
                    </a:cubicBezTo>
                    <a:cubicBezTo>
                      <a:pt x="53516" y="2346477"/>
                      <a:pt x="510218" y="2653234"/>
                      <a:pt x="791058" y="290723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6FAC2E68-3F6F-EAD7-7FE9-C5869C1A83FF}"/>
                  </a:ext>
                </a:extLst>
              </p:cNvPr>
              <p:cNvSpPr/>
              <p:nvPr/>
            </p:nvSpPr>
            <p:spPr>
              <a:xfrm>
                <a:off x="4147825" y="2579175"/>
                <a:ext cx="3187979" cy="3521387"/>
              </a:xfrm>
              <a:custGeom>
                <a:avLst/>
                <a:gdLst>
                  <a:gd name="connsiteX0" fmla="*/ 761567 w 3187979"/>
                  <a:gd name="connsiteY0" fmla="*/ 2896229 h 3521387"/>
                  <a:gd name="connsiteX1" fmla="*/ 1971315 w 3187979"/>
                  <a:gd name="connsiteY1" fmla="*/ 3515912 h 3521387"/>
                  <a:gd name="connsiteX2" fmla="*/ 2977047 w 3187979"/>
                  <a:gd name="connsiteY2" fmla="*/ 2847635 h 3521387"/>
                  <a:gd name="connsiteX3" fmla="*/ 3126683 w 3187979"/>
                  <a:gd name="connsiteY3" fmla="*/ 1699825 h 3521387"/>
                  <a:gd name="connsiteX4" fmla="*/ 2997409 w 3187979"/>
                  <a:gd name="connsiteY4" fmla="*/ 633236 h 3521387"/>
                  <a:gd name="connsiteX5" fmla="*/ 1583183 w 3187979"/>
                  <a:gd name="connsiteY5" fmla="*/ 6380 h 3521387"/>
                  <a:gd name="connsiteX6" fmla="*/ 682583 w 3187979"/>
                  <a:gd name="connsiteY6" fmla="*/ 874121 h 3521387"/>
                  <a:gd name="connsiteX7" fmla="*/ 5513 w 3187979"/>
                  <a:gd name="connsiteY7" fmla="*/ 1940171 h 3521387"/>
                  <a:gd name="connsiteX8" fmla="*/ 761567 w 3187979"/>
                  <a:gd name="connsiteY8" fmla="*/ 2896229 h 3521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87979" h="3521387">
                    <a:moveTo>
                      <a:pt x="761567" y="2896229"/>
                    </a:moveTo>
                    <a:cubicBezTo>
                      <a:pt x="1106195" y="3197508"/>
                      <a:pt x="1539681" y="3571139"/>
                      <a:pt x="1971315" y="3515912"/>
                    </a:cubicBezTo>
                    <a:cubicBezTo>
                      <a:pt x="2343865" y="3468090"/>
                      <a:pt x="2720426" y="3141742"/>
                      <a:pt x="2977047" y="2847635"/>
                    </a:cubicBezTo>
                    <a:cubicBezTo>
                      <a:pt x="3279715" y="2500770"/>
                      <a:pt x="3184842" y="2133542"/>
                      <a:pt x="3126683" y="1699825"/>
                    </a:cubicBezTo>
                    <a:cubicBezTo>
                      <a:pt x="3077087" y="1329975"/>
                      <a:pt x="3289665" y="887620"/>
                      <a:pt x="2997409" y="633236"/>
                    </a:cubicBezTo>
                    <a:cubicBezTo>
                      <a:pt x="2648539" y="329565"/>
                      <a:pt x="2018520" y="-54246"/>
                      <a:pt x="1583183" y="6380"/>
                    </a:cubicBezTo>
                    <a:cubicBezTo>
                      <a:pt x="1216418" y="57287"/>
                      <a:pt x="935115" y="584257"/>
                      <a:pt x="682583" y="874121"/>
                    </a:cubicBezTo>
                    <a:cubicBezTo>
                      <a:pt x="379529" y="1222066"/>
                      <a:pt x="-53879" y="1505683"/>
                      <a:pt x="5513" y="1940171"/>
                    </a:cubicBezTo>
                    <a:cubicBezTo>
                      <a:pt x="55572" y="2307322"/>
                      <a:pt x="471703" y="2642848"/>
                      <a:pt x="761567" y="28962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C37CC994-D10B-0676-7522-5CF88955E89F}"/>
                  </a:ext>
                </a:extLst>
              </p:cNvPr>
              <p:cNvSpPr/>
              <p:nvPr/>
            </p:nvSpPr>
            <p:spPr>
              <a:xfrm>
                <a:off x="4185926" y="2623532"/>
                <a:ext cx="3162650" cy="3463280"/>
              </a:xfrm>
              <a:custGeom>
                <a:avLst/>
                <a:gdLst>
                  <a:gd name="connsiteX0" fmla="*/ 732182 w 3162650"/>
                  <a:gd name="connsiteY0" fmla="*/ 2885579 h 3463280"/>
                  <a:gd name="connsiteX1" fmla="*/ 1940541 w 3162650"/>
                  <a:gd name="connsiteY1" fmla="*/ 3457440 h 3463280"/>
                  <a:gd name="connsiteX2" fmla="*/ 2925910 w 3162650"/>
                  <a:gd name="connsiteY2" fmla="*/ 2760933 h 3463280"/>
                  <a:gd name="connsiteX3" fmla="*/ 3124217 w 3162650"/>
                  <a:gd name="connsiteY3" fmla="*/ 1656549 h 3463280"/>
                  <a:gd name="connsiteX4" fmla="*/ 2942725 w 3162650"/>
                  <a:gd name="connsiteY4" fmla="*/ 535658 h 3463280"/>
                  <a:gd name="connsiteX5" fmla="*/ 1545622 w 3162650"/>
                  <a:gd name="connsiteY5" fmla="*/ 7609 h 3463280"/>
                  <a:gd name="connsiteX6" fmla="*/ 599436 w 3162650"/>
                  <a:gd name="connsiteY6" fmla="*/ 808708 h 3463280"/>
                  <a:gd name="connsiteX7" fmla="*/ 6210 w 3162650"/>
                  <a:gd name="connsiteY7" fmla="*/ 1888949 h 3463280"/>
                  <a:gd name="connsiteX8" fmla="*/ 732182 w 3162650"/>
                  <a:gd name="connsiteY8" fmla="*/ 2885579 h 3463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62650" h="3463280">
                    <a:moveTo>
                      <a:pt x="732182" y="2885579"/>
                    </a:moveTo>
                    <a:cubicBezTo>
                      <a:pt x="1072413" y="3173052"/>
                      <a:pt x="1515232" y="3512050"/>
                      <a:pt x="1940541" y="3457440"/>
                    </a:cubicBezTo>
                    <a:cubicBezTo>
                      <a:pt x="2325355" y="3407689"/>
                      <a:pt x="2670370" y="3064218"/>
                      <a:pt x="2925910" y="2760933"/>
                    </a:cubicBezTo>
                    <a:cubicBezTo>
                      <a:pt x="3214077" y="2418850"/>
                      <a:pt x="3181450" y="2083246"/>
                      <a:pt x="3124217" y="1656549"/>
                    </a:cubicBezTo>
                    <a:cubicBezTo>
                      <a:pt x="3072847" y="1273817"/>
                      <a:pt x="3244776" y="789270"/>
                      <a:pt x="2942725" y="535658"/>
                    </a:cubicBezTo>
                    <a:cubicBezTo>
                      <a:pt x="2599022" y="247105"/>
                      <a:pt x="1973399" y="-51783"/>
                      <a:pt x="1545622" y="7609"/>
                    </a:cubicBezTo>
                    <a:cubicBezTo>
                      <a:pt x="1165821" y="60059"/>
                      <a:pt x="851352" y="508970"/>
                      <a:pt x="599436" y="808708"/>
                    </a:cubicBezTo>
                    <a:cubicBezTo>
                      <a:pt x="311192" y="1151639"/>
                      <a:pt x="-52025" y="1461712"/>
                      <a:pt x="6210" y="1888949"/>
                    </a:cubicBezTo>
                    <a:cubicBezTo>
                      <a:pt x="57888" y="2268441"/>
                      <a:pt x="433139" y="2632970"/>
                      <a:pt x="732182" y="28855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94D59738-F7D6-2089-C02C-B23D3E687556}"/>
                  </a:ext>
                </a:extLst>
              </p:cNvPr>
              <p:cNvSpPr/>
              <p:nvPr/>
            </p:nvSpPr>
            <p:spPr>
              <a:xfrm>
                <a:off x="4223622" y="2666959"/>
                <a:ext cx="3145783" cy="3406134"/>
              </a:xfrm>
              <a:custGeom>
                <a:avLst/>
                <a:gdLst>
                  <a:gd name="connsiteX0" fmla="*/ 703202 w 3145783"/>
                  <a:gd name="connsiteY0" fmla="*/ 2875858 h 3406134"/>
                  <a:gd name="connsiteX1" fmla="*/ 1910173 w 3145783"/>
                  <a:gd name="connsiteY1" fmla="*/ 3399820 h 3406134"/>
                  <a:gd name="connsiteX2" fmla="*/ 2875101 w 3145783"/>
                  <a:gd name="connsiteY2" fmla="*/ 2675082 h 3406134"/>
                  <a:gd name="connsiteX3" fmla="*/ 3122003 w 3145783"/>
                  <a:gd name="connsiteY3" fmla="*/ 1614047 h 3406134"/>
                  <a:gd name="connsiteX4" fmla="*/ 2888291 w 3145783"/>
                  <a:gd name="connsiteY4" fmla="*/ 438855 h 3406134"/>
                  <a:gd name="connsiteX5" fmla="*/ 1508312 w 3145783"/>
                  <a:gd name="connsiteY5" fmla="*/ 9612 h 3406134"/>
                  <a:gd name="connsiteX6" fmla="*/ 516541 w 3145783"/>
                  <a:gd name="connsiteY6" fmla="*/ 744146 h 3406134"/>
                  <a:gd name="connsiteX7" fmla="*/ 7234 w 3145783"/>
                  <a:gd name="connsiteY7" fmla="*/ 1838580 h 3406134"/>
                  <a:gd name="connsiteX8" fmla="*/ 703125 w 3145783"/>
                  <a:gd name="connsiteY8" fmla="*/ 2875858 h 340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45783" h="3406134">
                    <a:moveTo>
                      <a:pt x="703202" y="2875858"/>
                    </a:moveTo>
                    <a:cubicBezTo>
                      <a:pt x="1038729" y="3149756"/>
                      <a:pt x="1491188" y="3453967"/>
                      <a:pt x="1910173" y="3399820"/>
                    </a:cubicBezTo>
                    <a:cubicBezTo>
                      <a:pt x="2307174" y="3348218"/>
                      <a:pt x="2620872" y="2987778"/>
                      <a:pt x="2875101" y="2675082"/>
                    </a:cubicBezTo>
                    <a:cubicBezTo>
                      <a:pt x="3149077" y="2338167"/>
                      <a:pt x="3178310" y="2033802"/>
                      <a:pt x="3122003" y="1614047"/>
                    </a:cubicBezTo>
                    <a:cubicBezTo>
                      <a:pt x="3068936" y="1218434"/>
                      <a:pt x="3200369" y="691464"/>
                      <a:pt x="2888291" y="438855"/>
                    </a:cubicBezTo>
                    <a:cubicBezTo>
                      <a:pt x="2549988" y="165034"/>
                      <a:pt x="1928530" y="-48546"/>
                      <a:pt x="1508312" y="9612"/>
                    </a:cubicBezTo>
                    <a:cubicBezTo>
                      <a:pt x="1115476" y="63605"/>
                      <a:pt x="767685" y="434304"/>
                      <a:pt x="516541" y="744146"/>
                    </a:cubicBezTo>
                    <a:cubicBezTo>
                      <a:pt x="242797" y="1081832"/>
                      <a:pt x="-49998" y="1418593"/>
                      <a:pt x="7234" y="1838580"/>
                    </a:cubicBezTo>
                    <a:cubicBezTo>
                      <a:pt x="60456" y="2230413"/>
                      <a:pt x="394749" y="2624098"/>
                      <a:pt x="703125" y="287585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41D1F96F-A280-7890-EBFB-DE0C14410755}"/>
                  </a:ext>
                </a:extLst>
              </p:cNvPr>
              <p:cNvSpPr/>
              <p:nvPr/>
            </p:nvSpPr>
            <p:spPr>
              <a:xfrm>
                <a:off x="4260986" y="2709255"/>
                <a:ext cx="3135893" cy="3350272"/>
              </a:xfrm>
              <a:custGeom>
                <a:avLst/>
                <a:gdLst>
                  <a:gd name="connsiteX0" fmla="*/ 674554 w 3135893"/>
                  <a:gd name="connsiteY0" fmla="*/ 2867269 h 3350272"/>
                  <a:gd name="connsiteX1" fmla="*/ 1880214 w 3135893"/>
                  <a:gd name="connsiteY1" fmla="*/ 3343408 h 3350272"/>
                  <a:gd name="connsiteX2" fmla="*/ 2824779 w 3135893"/>
                  <a:gd name="connsiteY2" fmla="*/ 2590440 h 3350272"/>
                  <a:gd name="connsiteX3" fmla="*/ 3120352 w 3135893"/>
                  <a:gd name="connsiteY3" fmla="*/ 1572830 h 3350272"/>
                  <a:gd name="connsiteX4" fmla="*/ 2834498 w 3135893"/>
                  <a:gd name="connsiteY4" fmla="*/ 343337 h 3350272"/>
                  <a:gd name="connsiteX5" fmla="*/ 1471565 w 3135893"/>
                  <a:gd name="connsiteY5" fmla="*/ 12824 h 3350272"/>
                  <a:gd name="connsiteX6" fmla="*/ 434209 w 3135893"/>
                  <a:gd name="connsiteY6" fmla="*/ 680715 h 3350272"/>
                  <a:gd name="connsiteX7" fmla="*/ 8746 w 3135893"/>
                  <a:gd name="connsiteY7" fmla="*/ 1789341 h 3350272"/>
                  <a:gd name="connsiteX8" fmla="*/ 674631 w 3135893"/>
                  <a:gd name="connsiteY8" fmla="*/ 2867192 h 3350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893" h="3350272">
                    <a:moveTo>
                      <a:pt x="674554" y="2867269"/>
                    </a:moveTo>
                    <a:cubicBezTo>
                      <a:pt x="1005144" y="3127900"/>
                      <a:pt x="1467477" y="3396938"/>
                      <a:pt x="1880214" y="3343408"/>
                    </a:cubicBezTo>
                    <a:cubicBezTo>
                      <a:pt x="2289402" y="3289956"/>
                      <a:pt x="2572016" y="2912777"/>
                      <a:pt x="2824779" y="2590440"/>
                    </a:cubicBezTo>
                    <a:cubicBezTo>
                      <a:pt x="3084794" y="2258847"/>
                      <a:pt x="3175656" y="1985567"/>
                      <a:pt x="3120352" y="1572830"/>
                    </a:cubicBezTo>
                    <a:cubicBezTo>
                      <a:pt x="3065587" y="1164336"/>
                      <a:pt x="3156758" y="594635"/>
                      <a:pt x="2834498" y="343337"/>
                    </a:cubicBezTo>
                    <a:cubicBezTo>
                      <a:pt x="2512238" y="92039"/>
                      <a:pt x="1884302" y="-44023"/>
                      <a:pt x="1471565" y="12824"/>
                    </a:cubicBezTo>
                    <a:cubicBezTo>
                      <a:pt x="1065694" y="68359"/>
                      <a:pt x="684273" y="360692"/>
                      <a:pt x="434209" y="680715"/>
                    </a:cubicBezTo>
                    <a:cubicBezTo>
                      <a:pt x="174658" y="1012848"/>
                      <a:pt x="-47330" y="1376605"/>
                      <a:pt x="8746" y="1789341"/>
                    </a:cubicBezTo>
                    <a:cubicBezTo>
                      <a:pt x="63510" y="2193593"/>
                      <a:pt x="356691" y="2616588"/>
                      <a:pt x="674631" y="286719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DE78006D-D4E1-A94A-7B15-ED6C02999FE7}"/>
                  </a:ext>
                </a:extLst>
              </p:cNvPr>
              <p:cNvSpPr/>
              <p:nvPr/>
            </p:nvSpPr>
            <p:spPr>
              <a:xfrm>
                <a:off x="4297185" y="2745782"/>
                <a:ext cx="3130741" cy="3300265"/>
              </a:xfrm>
              <a:custGeom>
                <a:avLst/>
                <a:gdLst>
                  <a:gd name="connsiteX0" fmla="*/ 647071 w 3130741"/>
                  <a:gd name="connsiteY0" fmla="*/ 2864372 h 3300265"/>
                  <a:gd name="connsiteX1" fmla="*/ 1851342 w 3130741"/>
                  <a:gd name="connsiteY1" fmla="*/ 3292689 h 3300265"/>
                  <a:gd name="connsiteX2" fmla="*/ 2775545 w 3130741"/>
                  <a:gd name="connsiteY2" fmla="*/ 2511491 h 3300265"/>
                  <a:gd name="connsiteX3" fmla="*/ 3119711 w 3130741"/>
                  <a:gd name="connsiteY3" fmla="*/ 1537229 h 3300265"/>
                  <a:gd name="connsiteX4" fmla="*/ 2781639 w 3130741"/>
                  <a:gd name="connsiteY4" fmla="*/ 253435 h 3300265"/>
                  <a:gd name="connsiteX5" fmla="*/ 1435829 w 3130741"/>
                  <a:gd name="connsiteY5" fmla="*/ 21729 h 3300265"/>
                  <a:gd name="connsiteX6" fmla="*/ 352887 w 3130741"/>
                  <a:gd name="connsiteY6" fmla="*/ 622977 h 3300265"/>
                  <a:gd name="connsiteX7" fmla="*/ 11267 w 3130741"/>
                  <a:gd name="connsiteY7" fmla="*/ 1745873 h 3300265"/>
                  <a:gd name="connsiteX8" fmla="*/ 647071 w 3130741"/>
                  <a:gd name="connsiteY8" fmla="*/ 2864295 h 3300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0741" h="3300265">
                    <a:moveTo>
                      <a:pt x="647071" y="2864372"/>
                    </a:moveTo>
                    <a:cubicBezTo>
                      <a:pt x="972571" y="3111968"/>
                      <a:pt x="1444853" y="3345679"/>
                      <a:pt x="1851342" y="3292689"/>
                    </a:cubicBezTo>
                    <a:cubicBezTo>
                      <a:pt x="2272795" y="3237385"/>
                      <a:pt x="2524556" y="2843624"/>
                      <a:pt x="2775545" y="2511491"/>
                    </a:cubicBezTo>
                    <a:cubicBezTo>
                      <a:pt x="3021907" y="2185529"/>
                      <a:pt x="3174166" y="1943024"/>
                      <a:pt x="3119711" y="1537229"/>
                    </a:cubicBezTo>
                    <a:cubicBezTo>
                      <a:pt x="3063172" y="1115777"/>
                      <a:pt x="3114388" y="503190"/>
                      <a:pt x="2781639" y="253435"/>
                    </a:cubicBezTo>
                    <a:cubicBezTo>
                      <a:pt x="2455059" y="8308"/>
                      <a:pt x="1841007" y="-33884"/>
                      <a:pt x="1435829" y="21729"/>
                    </a:cubicBezTo>
                    <a:cubicBezTo>
                      <a:pt x="1016845" y="78884"/>
                      <a:pt x="601640" y="292464"/>
                      <a:pt x="352887" y="622977"/>
                    </a:cubicBezTo>
                    <a:cubicBezTo>
                      <a:pt x="107297" y="949325"/>
                      <a:pt x="-43651" y="1340387"/>
                      <a:pt x="11267" y="1745873"/>
                    </a:cubicBezTo>
                    <a:cubicBezTo>
                      <a:pt x="67574" y="2162466"/>
                      <a:pt x="319412" y="2615080"/>
                      <a:pt x="647071" y="286429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7D607D0F-A214-6DA0-F2F4-6165D84E6C97}"/>
                  </a:ext>
                </a:extLst>
              </p:cNvPr>
              <p:cNvSpPr/>
              <p:nvPr/>
            </p:nvSpPr>
            <p:spPr>
              <a:xfrm>
                <a:off x="4331073" y="2769810"/>
                <a:ext cx="3129679" cy="3263042"/>
              </a:xfrm>
              <a:custGeom>
                <a:avLst/>
                <a:gdLst>
                  <a:gd name="connsiteX0" fmla="*/ 621899 w 3129679"/>
                  <a:gd name="connsiteY0" fmla="*/ 2874051 h 3263042"/>
                  <a:gd name="connsiteX1" fmla="*/ 1824782 w 3129679"/>
                  <a:gd name="connsiteY1" fmla="*/ 3254546 h 3263042"/>
                  <a:gd name="connsiteX2" fmla="*/ 2728544 w 3129679"/>
                  <a:gd name="connsiteY2" fmla="*/ 2445116 h 3263042"/>
                  <a:gd name="connsiteX3" fmla="*/ 3121380 w 3129679"/>
                  <a:gd name="connsiteY3" fmla="*/ 1514281 h 3263042"/>
                  <a:gd name="connsiteX4" fmla="*/ 2731090 w 3129679"/>
                  <a:gd name="connsiteY4" fmla="*/ 176262 h 3263042"/>
                  <a:gd name="connsiteX5" fmla="*/ 1402404 w 3129679"/>
                  <a:gd name="connsiteY5" fmla="*/ 43363 h 3263042"/>
                  <a:gd name="connsiteX6" fmla="*/ 273877 w 3129679"/>
                  <a:gd name="connsiteY6" fmla="*/ 578045 h 3263042"/>
                  <a:gd name="connsiteX7" fmla="*/ 16177 w 3129679"/>
                  <a:gd name="connsiteY7" fmla="*/ 1715134 h 3263042"/>
                  <a:gd name="connsiteX8" fmla="*/ 621899 w 3129679"/>
                  <a:gd name="connsiteY8" fmla="*/ 2874205 h 3263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29679" h="3263042">
                    <a:moveTo>
                      <a:pt x="621899" y="2874051"/>
                    </a:moveTo>
                    <a:cubicBezTo>
                      <a:pt x="941999" y="3108842"/>
                      <a:pt x="1424618" y="3306996"/>
                      <a:pt x="1824782" y="3254546"/>
                    </a:cubicBezTo>
                    <a:cubicBezTo>
                      <a:pt x="2258421" y="3197313"/>
                      <a:pt x="2479637" y="2787277"/>
                      <a:pt x="2728544" y="2445116"/>
                    </a:cubicBezTo>
                    <a:cubicBezTo>
                      <a:pt x="2961485" y="2124939"/>
                      <a:pt x="3174833" y="1913056"/>
                      <a:pt x="3121380" y="1514281"/>
                    </a:cubicBezTo>
                    <a:cubicBezTo>
                      <a:pt x="3063145" y="1079947"/>
                      <a:pt x="3074561" y="424089"/>
                      <a:pt x="2731090" y="176262"/>
                    </a:cubicBezTo>
                    <a:cubicBezTo>
                      <a:pt x="2410681" y="-54982"/>
                      <a:pt x="1800022" y="-10939"/>
                      <a:pt x="1402404" y="43363"/>
                    </a:cubicBezTo>
                    <a:cubicBezTo>
                      <a:pt x="970384" y="102060"/>
                      <a:pt x="521009" y="236734"/>
                      <a:pt x="273877" y="578045"/>
                    </a:cubicBezTo>
                    <a:cubicBezTo>
                      <a:pt x="41862" y="898377"/>
                      <a:pt x="-37739" y="1316898"/>
                      <a:pt x="16177" y="1715134"/>
                    </a:cubicBezTo>
                    <a:cubicBezTo>
                      <a:pt x="74026" y="2144068"/>
                      <a:pt x="284289" y="2626532"/>
                      <a:pt x="621899" y="287420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A9AB46C5-65F1-E42E-D635-DDB2E0F69AEE}"/>
                  </a:ext>
                </a:extLst>
              </p:cNvPr>
              <p:cNvSpPr/>
              <p:nvPr/>
            </p:nvSpPr>
            <p:spPr>
              <a:xfrm>
                <a:off x="4358871" y="2771233"/>
                <a:ext cx="3135688" cy="3248662"/>
              </a:xfrm>
              <a:custGeom>
                <a:avLst/>
                <a:gdLst>
                  <a:gd name="connsiteX0" fmla="*/ 602817 w 3135688"/>
                  <a:gd name="connsiteY0" fmla="*/ 2906335 h 3248662"/>
                  <a:gd name="connsiteX1" fmla="*/ 1804311 w 3135688"/>
                  <a:gd name="connsiteY1" fmla="*/ 3238930 h 3248662"/>
                  <a:gd name="connsiteX2" fmla="*/ 2687711 w 3135688"/>
                  <a:gd name="connsiteY2" fmla="*/ 2401271 h 3248662"/>
                  <a:gd name="connsiteX3" fmla="*/ 3129140 w 3135688"/>
                  <a:gd name="connsiteY3" fmla="*/ 1513860 h 3248662"/>
                  <a:gd name="connsiteX4" fmla="*/ 2686631 w 3135688"/>
                  <a:gd name="connsiteY4" fmla="*/ 121540 h 3248662"/>
                  <a:gd name="connsiteX5" fmla="*/ 1375068 w 3135688"/>
                  <a:gd name="connsiteY5" fmla="*/ 87448 h 3248662"/>
                  <a:gd name="connsiteX6" fmla="*/ 200956 w 3135688"/>
                  <a:gd name="connsiteY6" fmla="*/ 555488 h 3248662"/>
                  <a:gd name="connsiteX7" fmla="*/ 27099 w 3135688"/>
                  <a:gd name="connsiteY7" fmla="*/ 1706769 h 3248662"/>
                  <a:gd name="connsiteX8" fmla="*/ 602817 w 3135688"/>
                  <a:gd name="connsiteY8" fmla="*/ 2906412 h 3248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688" h="3248662">
                    <a:moveTo>
                      <a:pt x="602817" y="2906335"/>
                    </a:moveTo>
                    <a:cubicBezTo>
                      <a:pt x="917441" y="3128631"/>
                      <a:pt x="1410472" y="3290840"/>
                      <a:pt x="1804311" y="3238930"/>
                    </a:cubicBezTo>
                    <a:cubicBezTo>
                      <a:pt x="2250214" y="3179847"/>
                      <a:pt x="2441195" y="2753612"/>
                      <a:pt x="2687711" y="2401271"/>
                    </a:cubicBezTo>
                    <a:cubicBezTo>
                      <a:pt x="2907538" y="2087032"/>
                      <a:pt x="3181668" y="1905617"/>
                      <a:pt x="3129140" y="1513860"/>
                    </a:cubicBezTo>
                    <a:cubicBezTo>
                      <a:pt x="3069209" y="1066646"/>
                      <a:pt x="3040978" y="367208"/>
                      <a:pt x="2686631" y="121540"/>
                    </a:cubicBezTo>
                    <a:cubicBezTo>
                      <a:pt x="2372624" y="-96128"/>
                      <a:pt x="1765128" y="34381"/>
                      <a:pt x="1375068" y="87448"/>
                    </a:cubicBezTo>
                    <a:cubicBezTo>
                      <a:pt x="930013" y="147688"/>
                      <a:pt x="446083" y="203301"/>
                      <a:pt x="200956" y="555488"/>
                    </a:cubicBezTo>
                    <a:cubicBezTo>
                      <a:pt x="-17715" y="869649"/>
                      <a:pt x="-25660" y="1315784"/>
                      <a:pt x="27099" y="1706769"/>
                    </a:cubicBezTo>
                    <a:cubicBezTo>
                      <a:pt x="86568" y="2148122"/>
                      <a:pt x="255026" y="2660667"/>
                      <a:pt x="602817" y="290641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281335CA-1F85-3648-A037-4CA3DFE41F27}"/>
                  </a:ext>
                </a:extLst>
              </p:cNvPr>
              <p:cNvSpPr/>
              <p:nvPr/>
            </p:nvSpPr>
            <p:spPr>
              <a:xfrm>
                <a:off x="4372952" y="2753381"/>
                <a:ext cx="3156027" cy="3254119"/>
              </a:xfrm>
              <a:custGeom>
                <a:avLst/>
                <a:gdLst>
                  <a:gd name="connsiteX0" fmla="*/ 597452 w 3156027"/>
                  <a:gd name="connsiteY0" fmla="*/ 2957894 h 3254119"/>
                  <a:gd name="connsiteX1" fmla="*/ 1797558 w 3156027"/>
                  <a:gd name="connsiteY1" fmla="*/ 3242667 h 3254119"/>
                  <a:gd name="connsiteX2" fmla="*/ 2660594 w 3156027"/>
                  <a:gd name="connsiteY2" fmla="*/ 2376700 h 3254119"/>
                  <a:gd name="connsiteX3" fmla="*/ 3150695 w 3156027"/>
                  <a:gd name="connsiteY3" fmla="*/ 1532638 h 3254119"/>
                  <a:gd name="connsiteX4" fmla="*/ 2655966 w 3156027"/>
                  <a:gd name="connsiteY4" fmla="*/ 86017 h 3254119"/>
                  <a:gd name="connsiteX5" fmla="*/ 1361450 w 3156027"/>
                  <a:gd name="connsiteY5" fmla="*/ 150654 h 3254119"/>
                  <a:gd name="connsiteX6" fmla="*/ 141752 w 3156027"/>
                  <a:gd name="connsiteY6" fmla="*/ 552129 h 3254119"/>
                  <a:gd name="connsiteX7" fmla="*/ 51738 w 3156027"/>
                  <a:gd name="connsiteY7" fmla="*/ 1717602 h 3254119"/>
                  <a:gd name="connsiteX8" fmla="*/ 597374 w 3156027"/>
                  <a:gd name="connsiteY8" fmla="*/ 2957816 h 3254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56027" h="3254119">
                    <a:moveTo>
                      <a:pt x="597452" y="2957894"/>
                    </a:moveTo>
                    <a:cubicBezTo>
                      <a:pt x="906445" y="3167925"/>
                      <a:pt x="1410044" y="3294037"/>
                      <a:pt x="1797558" y="3242667"/>
                    </a:cubicBezTo>
                    <a:cubicBezTo>
                      <a:pt x="2255648" y="3181732"/>
                      <a:pt x="2416778" y="2739608"/>
                      <a:pt x="2660594" y="2376700"/>
                    </a:cubicBezTo>
                    <a:cubicBezTo>
                      <a:pt x="2867541" y="2068555"/>
                      <a:pt x="3202297" y="1917452"/>
                      <a:pt x="3150695" y="1532638"/>
                    </a:cubicBezTo>
                    <a:cubicBezTo>
                      <a:pt x="3088989" y="1072542"/>
                      <a:pt x="3021574" y="329061"/>
                      <a:pt x="2655966" y="86017"/>
                    </a:cubicBezTo>
                    <a:cubicBezTo>
                      <a:pt x="2348516" y="-118385"/>
                      <a:pt x="1744028" y="98898"/>
                      <a:pt x="1361450" y="150654"/>
                    </a:cubicBezTo>
                    <a:cubicBezTo>
                      <a:pt x="903359" y="212437"/>
                      <a:pt x="384566" y="188680"/>
                      <a:pt x="141752" y="552129"/>
                    </a:cubicBezTo>
                    <a:cubicBezTo>
                      <a:pt x="-63883" y="859965"/>
                      <a:pt x="60" y="1333867"/>
                      <a:pt x="51738" y="1717602"/>
                    </a:cubicBezTo>
                    <a:cubicBezTo>
                      <a:pt x="112750" y="2171296"/>
                      <a:pt x="239248" y="2714386"/>
                      <a:pt x="597374" y="2957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36A1D3E3-E45C-5355-15C9-AB94BCCF8E47}"/>
                  </a:ext>
                </a:extLst>
              </p:cNvPr>
              <p:cNvSpPr/>
              <p:nvPr/>
            </p:nvSpPr>
            <p:spPr>
              <a:xfrm>
                <a:off x="4369454" y="2723578"/>
                <a:ext cx="3194199" cy="3272228"/>
              </a:xfrm>
              <a:custGeom>
                <a:avLst/>
                <a:gdLst>
                  <a:gd name="connsiteX0" fmla="*/ 609666 w 3194199"/>
                  <a:gd name="connsiteY0" fmla="*/ 3021327 h 3272228"/>
                  <a:gd name="connsiteX1" fmla="*/ 1808461 w 3194199"/>
                  <a:gd name="connsiteY1" fmla="*/ 3258278 h 3272228"/>
                  <a:gd name="connsiteX2" fmla="*/ 2651057 w 3194199"/>
                  <a:gd name="connsiteY2" fmla="*/ 2364080 h 3272228"/>
                  <a:gd name="connsiteX3" fmla="*/ 3189751 w 3194199"/>
                  <a:gd name="connsiteY3" fmla="*/ 1563444 h 3272228"/>
                  <a:gd name="connsiteX4" fmla="*/ 2642804 w 3194199"/>
                  <a:gd name="connsiteY4" fmla="*/ 62522 h 3272228"/>
                  <a:gd name="connsiteX5" fmla="*/ 1365411 w 3194199"/>
                  <a:gd name="connsiteY5" fmla="*/ 225965 h 3272228"/>
                  <a:gd name="connsiteX6" fmla="*/ 100128 w 3194199"/>
                  <a:gd name="connsiteY6" fmla="*/ 560798 h 3272228"/>
                  <a:gd name="connsiteX7" fmla="*/ 94034 w 3194199"/>
                  <a:gd name="connsiteY7" fmla="*/ 1740540 h 3272228"/>
                  <a:gd name="connsiteX8" fmla="*/ 609589 w 3194199"/>
                  <a:gd name="connsiteY8" fmla="*/ 3021327 h 3272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94199" h="3272228">
                    <a:moveTo>
                      <a:pt x="609666" y="3021327"/>
                    </a:moveTo>
                    <a:cubicBezTo>
                      <a:pt x="912874" y="3219326"/>
                      <a:pt x="1427194" y="3309031"/>
                      <a:pt x="1808461" y="3258278"/>
                    </a:cubicBezTo>
                    <a:cubicBezTo>
                      <a:pt x="2278815" y="3195492"/>
                      <a:pt x="2410481" y="2737710"/>
                      <a:pt x="2651057" y="2364080"/>
                    </a:cubicBezTo>
                    <a:cubicBezTo>
                      <a:pt x="2845431" y="2062183"/>
                      <a:pt x="3240427" y="1941240"/>
                      <a:pt x="3189751" y="1563444"/>
                    </a:cubicBezTo>
                    <a:cubicBezTo>
                      <a:pt x="3126348" y="1090390"/>
                      <a:pt x="3019828" y="302481"/>
                      <a:pt x="2642804" y="62522"/>
                    </a:cubicBezTo>
                    <a:cubicBezTo>
                      <a:pt x="2342064" y="-128844"/>
                      <a:pt x="1740430" y="175444"/>
                      <a:pt x="1365411" y="225965"/>
                    </a:cubicBezTo>
                    <a:cubicBezTo>
                      <a:pt x="894285" y="289291"/>
                      <a:pt x="340087" y="185934"/>
                      <a:pt x="100128" y="560798"/>
                    </a:cubicBezTo>
                    <a:cubicBezTo>
                      <a:pt x="-92781" y="862155"/>
                      <a:pt x="43435" y="1364056"/>
                      <a:pt x="94034" y="1740540"/>
                    </a:cubicBezTo>
                    <a:cubicBezTo>
                      <a:pt x="156589" y="2206653"/>
                      <a:pt x="240972" y="2780596"/>
                      <a:pt x="609589" y="302132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55F69819-520D-AD9A-07D4-639E9230B6A6}"/>
                  </a:ext>
                </a:extLst>
              </p:cNvPr>
              <p:cNvSpPr/>
              <p:nvPr/>
            </p:nvSpPr>
            <p:spPr>
              <a:xfrm>
                <a:off x="4352455" y="2686397"/>
                <a:ext cx="3246150" cy="3299210"/>
              </a:xfrm>
              <a:custGeom>
                <a:avLst/>
                <a:gdLst>
                  <a:gd name="connsiteX0" fmla="*/ 1832787 w 3246150"/>
                  <a:gd name="connsiteY0" fmla="*/ 3281344 h 3299210"/>
                  <a:gd name="connsiteX1" fmla="*/ 2655021 w 3246150"/>
                  <a:gd name="connsiteY1" fmla="*/ 2358915 h 3299210"/>
                  <a:gd name="connsiteX2" fmla="*/ 3242385 w 3246150"/>
                  <a:gd name="connsiteY2" fmla="*/ 1601628 h 3299210"/>
                  <a:gd name="connsiteX3" fmla="*/ 2643296 w 3246150"/>
                  <a:gd name="connsiteY3" fmla="*/ 46404 h 3299210"/>
                  <a:gd name="connsiteX4" fmla="*/ 1383027 w 3246150"/>
                  <a:gd name="connsiteY4" fmla="*/ 308655 h 3299210"/>
                  <a:gd name="connsiteX5" fmla="*/ 72158 w 3246150"/>
                  <a:gd name="connsiteY5" fmla="*/ 576844 h 3299210"/>
                  <a:gd name="connsiteX6" fmla="*/ 149908 w 3246150"/>
                  <a:gd name="connsiteY6" fmla="*/ 1770779 h 3299210"/>
                  <a:gd name="connsiteX7" fmla="*/ 635458 w 3246150"/>
                  <a:gd name="connsiteY7" fmla="*/ 3092214 h 3299210"/>
                  <a:gd name="connsiteX8" fmla="*/ 1832864 w 3246150"/>
                  <a:gd name="connsiteY8" fmla="*/ 3281266 h 3299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6150" h="3299210">
                    <a:moveTo>
                      <a:pt x="1832787" y="3281344"/>
                    </a:moveTo>
                    <a:cubicBezTo>
                      <a:pt x="2315329" y="3216707"/>
                      <a:pt x="2418069" y="2743421"/>
                      <a:pt x="2655021" y="2358915"/>
                    </a:cubicBezTo>
                    <a:cubicBezTo>
                      <a:pt x="2837131" y="2063420"/>
                      <a:pt x="3292059" y="1972558"/>
                      <a:pt x="3242385" y="1601628"/>
                    </a:cubicBezTo>
                    <a:cubicBezTo>
                      <a:pt x="3177285" y="1115693"/>
                      <a:pt x="3031967" y="282661"/>
                      <a:pt x="2643296" y="46404"/>
                    </a:cubicBezTo>
                    <a:cubicBezTo>
                      <a:pt x="2349344" y="-132312"/>
                      <a:pt x="1750487" y="259367"/>
                      <a:pt x="1383027" y="308655"/>
                    </a:cubicBezTo>
                    <a:cubicBezTo>
                      <a:pt x="898866" y="373523"/>
                      <a:pt x="308801" y="190333"/>
                      <a:pt x="72158" y="576844"/>
                    </a:cubicBezTo>
                    <a:cubicBezTo>
                      <a:pt x="-108255" y="871568"/>
                      <a:pt x="100466" y="1401546"/>
                      <a:pt x="149908" y="1770779"/>
                    </a:cubicBezTo>
                    <a:cubicBezTo>
                      <a:pt x="214005" y="2249233"/>
                      <a:pt x="255965" y="2854492"/>
                      <a:pt x="635458" y="3092214"/>
                    </a:cubicBezTo>
                    <a:cubicBezTo>
                      <a:pt x="932804" y="3278490"/>
                      <a:pt x="1457845" y="3331557"/>
                      <a:pt x="1832864" y="328126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70" name="Graphic 5">
              <a:extLst>
                <a:ext uri="{FF2B5EF4-FFF2-40B4-BE49-F238E27FC236}">
                  <a16:creationId xmlns:a16="http://schemas.microsoft.com/office/drawing/2014/main" id="{E81B1640-C7AB-6449-F07B-36A65084D6B9}"/>
                </a:ext>
              </a:extLst>
            </p:cNvPr>
            <p:cNvGrpSpPr/>
            <p:nvPr/>
          </p:nvGrpSpPr>
          <p:grpSpPr>
            <a:xfrm rot="180525">
              <a:off x="-597053" y="441139"/>
              <a:ext cx="6472770" cy="6313556"/>
              <a:chOff x="4270587" y="2574268"/>
              <a:chExt cx="3544376" cy="3457192"/>
            </a:xfrm>
            <a:noFill/>
          </p:grpSpPr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88139AE-0311-6C95-F22A-5BDF46FB59D1}"/>
                  </a:ext>
                </a:extLst>
              </p:cNvPr>
              <p:cNvSpPr/>
              <p:nvPr/>
            </p:nvSpPr>
            <p:spPr>
              <a:xfrm>
                <a:off x="4270587" y="2606803"/>
                <a:ext cx="3544376" cy="3424657"/>
              </a:xfrm>
              <a:custGeom>
                <a:avLst/>
                <a:gdLst>
                  <a:gd name="connsiteX0" fmla="*/ 3338832 w 3544376"/>
                  <a:gd name="connsiteY0" fmla="*/ 932573 h 3424657"/>
                  <a:gd name="connsiteX1" fmla="*/ 2419102 w 3544376"/>
                  <a:gd name="connsiteY1" fmla="*/ 117205 h 3424657"/>
                  <a:gd name="connsiteX2" fmla="*/ 1318575 w 3544376"/>
                  <a:gd name="connsiteY2" fmla="*/ 80027 h 3424657"/>
                  <a:gd name="connsiteX3" fmla="*/ 8709 w 3544376"/>
                  <a:gd name="connsiteY3" fmla="*/ 1110518 h 3424657"/>
                  <a:gd name="connsiteX4" fmla="*/ 630398 w 3544376"/>
                  <a:gd name="connsiteY4" fmla="*/ 2237733 h 3424657"/>
                  <a:gd name="connsiteX5" fmla="*/ 1272758 w 3544376"/>
                  <a:gd name="connsiteY5" fmla="*/ 3411536 h 3424657"/>
                  <a:gd name="connsiteX6" fmla="*/ 2390872 w 3544376"/>
                  <a:gd name="connsiteY6" fmla="*/ 2985687 h 3424657"/>
                  <a:gd name="connsiteX7" fmla="*/ 3510760 w 3544376"/>
                  <a:gd name="connsiteY7" fmla="*/ 2132601 h 3424657"/>
                  <a:gd name="connsiteX8" fmla="*/ 3338908 w 3544376"/>
                  <a:gd name="connsiteY8" fmla="*/ 932650 h 342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44376" h="3424657">
                    <a:moveTo>
                      <a:pt x="3338832" y="932573"/>
                    </a:moveTo>
                    <a:cubicBezTo>
                      <a:pt x="3134970" y="490449"/>
                      <a:pt x="2856290" y="230435"/>
                      <a:pt x="2419102" y="117205"/>
                    </a:cubicBezTo>
                    <a:cubicBezTo>
                      <a:pt x="2083036" y="30199"/>
                      <a:pt x="1658344" y="-76630"/>
                      <a:pt x="1318575" y="80027"/>
                    </a:cubicBezTo>
                    <a:cubicBezTo>
                      <a:pt x="873365" y="285354"/>
                      <a:pt x="120088" y="669551"/>
                      <a:pt x="8709" y="1110518"/>
                    </a:cubicBezTo>
                    <a:cubicBezTo>
                      <a:pt x="-75520" y="1444039"/>
                      <a:pt x="475130" y="1900972"/>
                      <a:pt x="630398" y="2237733"/>
                    </a:cubicBezTo>
                    <a:cubicBezTo>
                      <a:pt x="834953" y="2681323"/>
                      <a:pt x="833642" y="3299231"/>
                      <a:pt x="1272758" y="3411536"/>
                    </a:cubicBezTo>
                    <a:cubicBezTo>
                      <a:pt x="1607591" y="3497153"/>
                      <a:pt x="2052568" y="3141650"/>
                      <a:pt x="2390872" y="2985687"/>
                    </a:cubicBezTo>
                    <a:cubicBezTo>
                      <a:pt x="2829217" y="2783523"/>
                      <a:pt x="3395293" y="2565161"/>
                      <a:pt x="3510760" y="2132601"/>
                    </a:cubicBezTo>
                    <a:cubicBezTo>
                      <a:pt x="3601236" y="1793527"/>
                      <a:pt x="3497339" y="1276198"/>
                      <a:pt x="3338908" y="93265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92F5FCC2-57FA-B253-8197-F69E2884F96D}"/>
                  </a:ext>
                </a:extLst>
              </p:cNvPr>
              <p:cNvSpPr/>
              <p:nvPr/>
            </p:nvSpPr>
            <p:spPr>
              <a:xfrm>
                <a:off x="4311149" y="2610445"/>
                <a:ext cx="3481515" cy="3380560"/>
              </a:xfrm>
              <a:custGeom>
                <a:avLst/>
                <a:gdLst>
                  <a:gd name="connsiteX0" fmla="*/ 2384788 w 3481515"/>
                  <a:gd name="connsiteY0" fmla="*/ 2986674 h 3380560"/>
                  <a:gd name="connsiteX1" fmla="*/ 3435796 w 3481515"/>
                  <a:gd name="connsiteY1" fmla="*/ 2123946 h 3380560"/>
                  <a:gd name="connsiteX2" fmla="*/ 3309068 w 3481515"/>
                  <a:gd name="connsiteY2" fmla="*/ 911268 h 3380560"/>
                  <a:gd name="connsiteX3" fmla="*/ 2359797 w 3481515"/>
                  <a:gd name="connsiteY3" fmla="*/ 156988 h 3380560"/>
                  <a:gd name="connsiteX4" fmla="*/ 1222399 w 3481515"/>
                  <a:gd name="connsiteY4" fmla="*/ 71757 h 3380560"/>
                  <a:gd name="connsiteX5" fmla="*/ 10492 w 3481515"/>
                  <a:gd name="connsiteY5" fmla="*/ 1123691 h 3380560"/>
                  <a:gd name="connsiteX6" fmla="*/ 573097 w 3481515"/>
                  <a:gd name="connsiteY6" fmla="*/ 2302662 h 3380560"/>
                  <a:gd name="connsiteX7" fmla="*/ 1256646 w 3481515"/>
                  <a:gd name="connsiteY7" fmla="*/ 3364546 h 3380560"/>
                  <a:gd name="connsiteX8" fmla="*/ 2384788 w 3481515"/>
                  <a:gd name="connsiteY8" fmla="*/ 2986674 h 3380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1515" h="3380560">
                    <a:moveTo>
                      <a:pt x="2384788" y="2986674"/>
                    </a:moveTo>
                    <a:cubicBezTo>
                      <a:pt x="2808400" y="2782658"/>
                      <a:pt x="3322257" y="2550489"/>
                      <a:pt x="3435796" y="2123946"/>
                    </a:cubicBezTo>
                    <a:cubicBezTo>
                      <a:pt x="3529127" y="1772916"/>
                      <a:pt x="3475983" y="1257439"/>
                      <a:pt x="3309068" y="911268"/>
                    </a:cubicBezTo>
                    <a:cubicBezTo>
                      <a:pt x="3103355" y="484725"/>
                      <a:pt x="2790197" y="268368"/>
                      <a:pt x="2359797" y="156988"/>
                    </a:cubicBezTo>
                    <a:cubicBezTo>
                      <a:pt x="2011157" y="66743"/>
                      <a:pt x="1565254" y="-93770"/>
                      <a:pt x="1222399" y="71757"/>
                    </a:cubicBezTo>
                    <a:cubicBezTo>
                      <a:pt x="793465" y="278935"/>
                      <a:pt x="120175" y="690129"/>
                      <a:pt x="10492" y="1123691"/>
                    </a:cubicBezTo>
                    <a:cubicBezTo>
                      <a:pt x="-77208" y="1469862"/>
                      <a:pt x="408959" y="1962662"/>
                      <a:pt x="573097" y="2302662"/>
                    </a:cubicBezTo>
                    <a:cubicBezTo>
                      <a:pt x="779581" y="2730362"/>
                      <a:pt x="824704" y="3254015"/>
                      <a:pt x="1256646" y="3364546"/>
                    </a:cubicBezTo>
                    <a:cubicBezTo>
                      <a:pt x="1603512" y="3453403"/>
                      <a:pt x="2043630" y="3150966"/>
                      <a:pt x="2384788" y="298667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5649FCB7-0575-C73E-6ACF-7A702B9E3C57}"/>
                  </a:ext>
                </a:extLst>
              </p:cNvPr>
              <p:cNvSpPr/>
              <p:nvPr/>
            </p:nvSpPr>
            <p:spPr>
              <a:xfrm>
                <a:off x="4351228" y="2611075"/>
                <a:ext cx="3424905" cy="3340311"/>
              </a:xfrm>
              <a:custGeom>
                <a:avLst/>
                <a:gdLst>
                  <a:gd name="connsiteX0" fmla="*/ 2379187 w 3424905"/>
                  <a:gd name="connsiteY0" fmla="*/ 2990672 h 3340311"/>
                  <a:gd name="connsiteX1" fmla="*/ 3361317 w 3424905"/>
                  <a:gd name="connsiteY1" fmla="*/ 2118303 h 3340311"/>
                  <a:gd name="connsiteX2" fmla="*/ 3279788 w 3424905"/>
                  <a:gd name="connsiteY2" fmla="*/ 892974 h 3340311"/>
                  <a:gd name="connsiteX3" fmla="*/ 2300975 w 3424905"/>
                  <a:gd name="connsiteY3" fmla="*/ 199707 h 3340311"/>
                  <a:gd name="connsiteX4" fmla="*/ 1126708 w 3424905"/>
                  <a:gd name="connsiteY4" fmla="*/ 66422 h 3340311"/>
                  <a:gd name="connsiteX5" fmla="*/ 12759 w 3424905"/>
                  <a:gd name="connsiteY5" fmla="*/ 1139722 h 3340311"/>
                  <a:gd name="connsiteX6" fmla="*/ 516204 w 3424905"/>
                  <a:gd name="connsiteY6" fmla="*/ 2370449 h 3340311"/>
                  <a:gd name="connsiteX7" fmla="*/ 1241019 w 3424905"/>
                  <a:gd name="connsiteY7" fmla="*/ 3320491 h 3340311"/>
                  <a:gd name="connsiteX8" fmla="*/ 2379265 w 3424905"/>
                  <a:gd name="connsiteY8" fmla="*/ 2990594 h 3340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24905" h="3340311">
                    <a:moveTo>
                      <a:pt x="2379187" y="2990672"/>
                    </a:moveTo>
                    <a:cubicBezTo>
                      <a:pt x="2788222" y="2785113"/>
                      <a:pt x="3249628" y="2538829"/>
                      <a:pt x="3361317" y="2118303"/>
                    </a:cubicBezTo>
                    <a:cubicBezTo>
                      <a:pt x="3457501" y="1755239"/>
                      <a:pt x="3455341" y="1241614"/>
                      <a:pt x="3279788" y="892974"/>
                    </a:cubicBezTo>
                    <a:cubicBezTo>
                      <a:pt x="3072686" y="481781"/>
                      <a:pt x="2724587" y="309389"/>
                      <a:pt x="2300975" y="199707"/>
                    </a:cubicBezTo>
                    <a:cubicBezTo>
                      <a:pt x="1939763" y="106145"/>
                      <a:pt x="1472571" y="-108206"/>
                      <a:pt x="1126708" y="66422"/>
                    </a:cubicBezTo>
                    <a:cubicBezTo>
                      <a:pt x="713895" y="274988"/>
                      <a:pt x="120745" y="713641"/>
                      <a:pt x="12759" y="1139722"/>
                    </a:cubicBezTo>
                    <a:cubicBezTo>
                      <a:pt x="-78411" y="1498619"/>
                      <a:pt x="342964" y="2027286"/>
                      <a:pt x="516204" y="2370449"/>
                    </a:cubicBezTo>
                    <a:cubicBezTo>
                      <a:pt x="724076" y="2782414"/>
                      <a:pt x="816250" y="3211657"/>
                      <a:pt x="1241019" y="3320491"/>
                    </a:cubicBezTo>
                    <a:cubicBezTo>
                      <a:pt x="1599917" y="3412587"/>
                      <a:pt x="2035176" y="3163449"/>
                      <a:pt x="2379265" y="299059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DF6F7138-F663-26AC-0B39-3EA0E954FCB9}"/>
                  </a:ext>
                </a:extLst>
              </p:cNvPr>
              <p:cNvSpPr/>
              <p:nvPr/>
            </p:nvSpPr>
            <p:spPr>
              <a:xfrm>
                <a:off x="4390546" y="2609845"/>
                <a:ext cx="3375801" cy="3303429"/>
              </a:xfrm>
              <a:custGeom>
                <a:avLst/>
                <a:gdLst>
                  <a:gd name="connsiteX0" fmla="*/ 2374347 w 3375801"/>
                  <a:gd name="connsiteY0" fmla="*/ 2996529 h 3303429"/>
                  <a:gd name="connsiteX1" fmla="*/ 3287597 w 3375801"/>
                  <a:gd name="connsiteY1" fmla="*/ 2114518 h 3303429"/>
                  <a:gd name="connsiteX2" fmla="*/ 3251191 w 3375801"/>
                  <a:gd name="connsiteY2" fmla="*/ 876541 h 3303429"/>
                  <a:gd name="connsiteX3" fmla="*/ 2242836 w 3375801"/>
                  <a:gd name="connsiteY3" fmla="*/ 244285 h 3303429"/>
                  <a:gd name="connsiteX4" fmla="*/ 1031700 w 3375801"/>
                  <a:gd name="connsiteY4" fmla="*/ 62946 h 3303429"/>
                  <a:gd name="connsiteX5" fmla="*/ 15710 w 3375801"/>
                  <a:gd name="connsiteY5" fmla="*/ 1157689 h 3303429"/>
                  <a:gd name="connsiteX6" fmla="*/ 459993 w 3375801"/>
                  <a:gd name="connsiteY6" fmla="*/ 2440249 h 3303429"/>
                  <a:gd name="connsiteX7" fmla="*/ 1226074 w 3375801"/>
                  <a:gd name="connsiteY7" fmla="*/ 3278449 h 3303429"/>
                  <a:gd name="connsiteX8" fmla="*/ 2374347 w 3375801"/>
                  <a:gd name="connsiteY8" fmla="*/ 2996529 h 330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5801" h="3303429">
                    <a:moveTo>
                      <a:pt x="2374347" y="2996529"/>
                    </a:moveTo>
                    <a:cubicBezTo>
                      <a:pt x="2768881" y="2789891"/>
                      <a:pt x="3177760" y="2529029"/>
                      <a:pt x="3287597" y="2114518"/>
                    </a:cubicBezTo>
                    <a:cubicBezTo>
                      <a:pt x="3386712" y="1739423"/>
                      <a:pt x="3435692" y="1227571"/>
                      <a:pt x="3251191" y="876541"/>
                    </a:cubicBezTo>
                    <a:cubicBezTo>
                      <a:pt x="3043087" y="480619"/>
                      <a:pt x="2659584" y="352193"/>
                      <a:pt x="2242836" y="244285"/>
                    </a:cubicBezTo>
                    <a:cubicBezTo>
                      <a:pt x="1869052" y="147483"/>
                      <a:pt x="1380494" y="-121092"/>
                      <a:pt x="1031700" y="62946"/>
                    </a:cubicBezTo>
                    <a:cubicBezTo>
                      <a:pt x="634776" y="272438"/>
                      <a:pt x="121999" y="739090"/>
                      <a:pt x="15710" y="1157689"/>
                    </a:cubicBezTo>
                    <a:cubicBezTo>
                      <a:pt x="-78932" y="1529236"/>
                      <a:pt x="277421" y="2093847"/>
                      <a:pt x="459993" y="2440249"/>
                    </a:cubicBezTo>
                    <a:cubicBezTo>
                      <a:pt x="668869" y="2836556"/>
                      <a:pt x="808402" y="3171312"/>
                      <a:pt x="1226074" y="3278449"/>
                    </a:cubicBezTo>
                    <a:cubicBezTo>
                      <a:pt x="1597005" y="3373785"/>
                      <a:pt x="2027559" y="3178176"/>
                      <a:pt x="2374347" y="29965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9B6F5B6D-208D-112F-3206-2C55B59ACB5A}"/>
                  </a:ext>
                </a:extLst>
              </p:cNvPr>
              <p:cNvSpPr/>
              <p:nvPr/>
            </p:nvSpPr>
            <p:spPr>
              <a:xfrm>
                <a:off x="4428860" y="2607348"/>
                <a:ext cx="3333638" cy="3269772"/>
              </a:xfrm>
              <a:custGeom>
                <a:avLst/>
                <a:gdLst>
                  <a:gd name="connsiteX0" fmla="*/ 2370512 w 3333638"/>
                  <a:gd name="connsiteY0" fmla="*/ 3003654 h 3269772"/>
                  <a:gd name="connsiteX1" fmla="*/ 3214806 w 3333638"/>
                  <a:gd name="connsiteY1" fmla="*/ 2112002 h 3269772"/>
                  <a:gd name="connsiteX2" fmla="*/ 3223522 w 3333638"/>
                  <a:gd name="connsiteY2" fmla="*/ 861297 h 3269772"/>
                  <a:gd name="connsiteX3" fmla="*/ 2185625 w 3333638"/>
                  <a:gd name="connsiteY3" fmla="*/ 290053 h 3269772"/>
                  <a:gd name="connsiteX4" fmla="*/ 937697 w 3333638"/>
                  <a:gd name="connsiteY4" fmla="*/ 60738 h 3269772"/>
                  <a:gd name="connsiteX5" fmla="*/ 19665 w 3333638"/>
                  <a:gd name="connsiteY5" fmla="*/ 1176924 h 3269772"/>
                  <a:gd name="connsiteX6" fmla="*/ 404865 w 3333638"/>
                  <a:gd name="connsiteY6" fmla="*/ 2511240 h 3269772"/>
                  <a:gd name="connsiteX7" fmla="*/ 1212212 w 3333638"/>
                  <a:gd name="connsiteY7" fmla="*/ 3237597 h 3269772"/>
                  <a:gd name="connsiteX8" fmla="*/ 2370512 w 3333638"/>
                  <a:gd name="connsiteY8" fmla="*/ 3003654 h 3269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638" h="3269772">
                    <a:moveTo>
                      <a:pt x="2370512" y="3003654"/>
                    </a:moveTo>
                    <a:cubicBezTo>
                      <a:pt x="2750699" y="2796245"/>
                      <a:pt x="3106897" y="2520419"/>
                      <a:pt x="3214806" y="2112002"/>
                    </a:cubicBezTo>
                    <a:cubicBezTo>
                      <a:pt x="3316775" y="1724873"/>
                      <a:pt x="3417279" y="1214719"/>
                      <a:pt x="3223522" y="861297"/>
                    </a:cubicBezTo>
                    <a:cubicBezTo>
                      <a:pt x="3014800" y="480494"/>
                      <a:pt x="2595585" y="396265"/>
                      <a:pt x="2185625" y="290053"/>
                    </a:cubicBezTo>
                    <a:cubicBezTo>
                      <a:pt x="1799191" y="189935"/>
                      <a:pt x="1289268" y="-133019"/>
                      <a:pt x="937697" y="60738"/>
                    </a:cubicBezTo>
                    <a:cubicBezTo>
                      <a:pt x="556508" y="270770"/>
                      <a:pt x="124334" y="765730"/>
                      <a:pt x="19665" y="1176924"/>
                    </a:cubicBezTo>
                    <a:cubicBezTo>
                      <a:pt x="-78448" y="1561121"/>
                      <a:pt x="212651" y="2161829"/>
                      <a:pt x="404865" y="2511240"/>
                    </a:cubicBezTo>
                    <a:cubicBezTo>
                      <a:pt x="614357" y="2892120"/>
                      <a:pt x="801635" y="3132157"/>
                      <a:pt x="1212212" y="3237597"/>
                    </a:cubicBezTo>
                    <a:cubicBezTo>
                      <a:pt x="1595175" y="3336095"/>
                      <a:pt x="2021102" y="3194326"/>
                      <a:pt x="2370512" y="30036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7499D933-B4BF-66D4-D85E-714DCC8087F9}"/>
                  </a:ext>
                </a:extLst>
              </p:cNvPr>
              <p:cNvSpPr/>
              <p:nvPr/>
            </p:nvSpPr>
            <p:spPr>
              <a:xfrm>
                <a:off x="4465597" y="2604029"/>
                <a:ext cx="3297610" cy="3240257"/>
              </a:xfrm>
              <a:custGeom>
                <a:avLst/>
                <a:gdLst>
                  <a:gd name="connsiteX0" fmla="*/ 2368253 w 3297610"/>
                  <a:gd name="connsiteY0" fmla="*/ 3011601 h 3240257"/>
                  <a:gd name="connsiteX1" fmla="*/ 3143667 w 3297610"/>
                  <a:gd name="connsiteY1" fmla="*/ 2110307 h 3240257"/>
                  <a:gd name="connsiteX2" fmla="*/ 3197583 w 3297610"/>
                  <a:gd name="connsiteY2" fmla="*/ 846953 h 3240257"/>
                  <a:gd name="connsiteX3" fmla="*/ 2130145 w 3297610"/>
                  <a:gd name="connsiteY3" fmla="*/ 336721 h 3240257"/>
                  <a:gd name="connsiteX4" fmla="*/ 845347 w 3297610"/>
                  <a:gd name="connsiteY4" fmla="*/ 59352 h 3240257"/>
                  <a:gd name="connsiteX5" fmla="*/ 25197 w 3297610"/>
                  <a:gd name="connsiteY5" fmla="*/ 1196981 h 3240257"/>
                  <a:gd name="connsiteX6" fmla="*/ 351236 w 3297610"/>
                  <a:gd name="connsiteY6" fmla="*/ 2583130 h 3240257"/>
                  <a:gd name="connsiteX7" fmla="*/ 1199772 w 3297610"/>
                  <a:gd name="connsiteY7" fmla="*/ 3197645 h 3240257"/>
                  <a:gd name="connsiteX8" fmla="*/ 2368176 w 3297610"/>
                  <a:gd name="connsiteY8" fmla="*/ 3011756 h 3240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7610" h="3240257">
                    <a:moveTo>
                      <a:pt x="2368253" y="3011601"/>
                    </a:moveTo>
                    <a:cubicBezTo>
                      <a:pt x="2734325" y="2803729"/>
                      <a:pt x="3037610" y="2512708"/>
                      <a:pt x="3143667" y="2110307"/>
                    </a:cubicBezTo>
                    <a:cubicBezTo>
                      <a:pt x="3248491" y="1711146"/>
                      <a:pt x="3400750" y="1202611"/>
                      <a:pt x="3197583" y="846953"/>
                    </a:cubicBezTo>
                    <a:cubicBezTo>
                      <a:pt x="2988554" y="481113"/>
                      <a:pt x="2533317" y="441159"/>
                      <a:pt x="2130145" y="336721"/>
                    </a:cubicBezTo>
                    <a:cubicBezTo>
                      <a:pt x="1731138" y="233364"/>
                      <a:pt x="1199617" y="-144355"/>
                      <a:pt x="845347" y="59352"/>
                    </a:cubicBezTo>
                    <a:cubicBezTo>
                      <a:pt x="479739" y="269539"/>
                      <a:pt x="128246" y="793269"/>
                      <a:pt x="25197" y="1196981"/>
                    </a:cubicBezTo>
                    <a:cubicBezTo>
                      <a:pt x="-76464" y="1593828"/>
                      <a:pt x="149149" y="2230788"/>
                      <a:pt x="351236" y="2583130"/>
                    </a:cubicBezTo>
                    <a:cubicBezTo>
                      <a:pt x="560960" y="2948739"/>
                      <a:pt x="796368" y="3093902"/>
                      <a:pt x="1199772" y="3197645"/>
                    </a:cubicBezTo>
                    <a:cubicBezTo>
                      <a:pt x="1594768" y="3299383"/>
                      <a:pt x="2016143" y="3211683"/>
                      <a:pt x="2368176" y="301175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5B6E3C21-7195-6AEA-405E-FA11ABED8542}"/>
                  </a:ext>
                </a:extLst>
              </p:cNvPr>
              <p:cNvSpPr/>
              <p:nvPr/>
            </p:nvSpPr>
            <p:spPr>
              <a:xfrm>
                <a:off x="4499869" y="2600116"/>
                <a:ext cx="3267148" cy="3216006"/>
              </a:xfrm>
              <a:custGeom>
                <a:avLst/>
                <a:gdLst>
                  <a:gd name="connsiteX0" fmla="*/ 2368459 w 3267148"/>
                  <a:gd name="connsiteY0" fmla="*/ 3020220 h 3216006"/>
                  <a:gd name="connsiteX1" fmla="*/ 3074994 w 3267148"/>
                  <a:gd name="connsiteY1" fmla="*/ 2109207 h 3216006"/>
                  <a:gd name="connsiteX2" fmla="*/ 3174032 w 3267148"/>
                  <a:gd name="connsiteY2" fmla="*/ 833203 h 3216006"/>
                  <a:gd name="connsiteX3" fmla="*/ 2077052 w 3267148"/>
                  <a:gd name="connsiteY3" fmla="*/ 384060 h 3216006"/>
                  <a:gd name="connsiteX4" fmla="*/ 755385 w 3267148"/>
                  <a:gd name="connsiteY4" fmla="*/ 58637 h 3216006"/>
                  <a:gd name="connsiteX5" fmla="*/ 33193 w 3267148"/>
                  <a:gd name="connsiteY5" fmla="*/ 1217631 h 3216006"/>
                  <a:gd name="connsiteX6" fmla="*/ 300072 w 3267148"/>
                  <a:gd name="connsiteY6" fmla="*/ 2655537 h 3216006"/>
                  <a:gd name="connsiteX7" fmla="*/ 1189873 w 3267148"/>
                  <a:gd name="connsiteY7" fmla="*/ 3158209 h 3216006"/>
                  <a:gd name="connsiteX8" fmla="*/ 2368305 w 3267148"/>
                  <a:gd name="connsiteY8" fmla="*/ 3020297 h 3216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7148" h="3216006">
                    <a:moveTo>
                      <a:pt x="2368459" y="3020220"/>
                    </a:moveTo>
                    <a:cubicBezTo>
                      <a:pt x="2720493" y="2812193"/>
                      <a:pt x="2970787" y="2505668"/>
                      <a:pt x="3074994" y="2109207"/>
                    </a:cubicBezTo>
                    <a:cubicBezTo>
                      <a:pt x="3182748" y="1698013"/>
                      <a:pt x="3386995" y="1190866"/>
                      <a:pt x="3174032" y="833203"/>
                    </a:cubicBezTo>
                    <a:cubicBezTo>
                      <a:pt x="2965002" y="482095"/>
                      <a:pt x="2473360" y="486646"/>
                      <a:pt x="2077052" y="384060"/>
                    </a:cubicBezTo>
                    <a:cubicBezTo>
                      <a:pt x="1665473" y="277462"/>
                      <a:pt x="1112201" y="-155406"/>
                      <a:pt x="755385" y="58637"/>
                    </a:cubicBezTo>
                    <a:cubicBezTo>
                      <a:pt x="405203" y="268669"/>
                      <a:pt x="134545" y="821401"/>
                      <a:pt x="33193" y="1217631"/>
                    </a:cubicBezTo>
                    <a:cubicBezTo>
                      <a:pt x="-71939" y="1627205"/>
                      <a:pt x="87803" y="2300495"/>
                      <a:pt x="300072" y="2655537"/>
                    </a:cubicBezTo>
                    <a:cubicBezTo>
                      <a:pt x="509718" y="3006104"/>
                      <a:pt x="793566" y="3056163"/>
                      <a:pt x="1189873" y="3158209"/>
                    </a:cubicBezTo>
                    <a:cubicBezTo>
                      <a:pt x="1596979" y="3263187"/>
                      <a:pt x="2013881" y="3229711"/>
                      <a:pt x="2368305" y="302029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8D0201D8-CA95-C64C-B5B9-AFD888B67C0C}"/>
                  </a:ext>
                </a:extLst>
              </p:cNvPr>
              <p:cNvSpPr/>
              <p:nvPr/>
            </p:nvSpPr>
            <p:spPr>
              <a:xfrm>
                <a:off x="4530202" y="2595585"/>
                <a:ext cx="3242767" cy="3198539"/>
              </a:xfrm>
              <a:custGeom>
                <a:avLst/>
                <a:gdLst>
                  <a:gd name="connsiteX0" fmla="*/ 2372604 w 3242767"/>
                  <a:gd name="connsiteY0" fmla="*/ 3029379 h 3198539"/>
                  <a:gd name="connsiteX1" fmla="*/ 3010259 w 3242767"/>
                  <a:gd name="connsiteY1" fmla="*/ 2108724 h 3198539"/>
                  <a:gd name="connsiteX2" fmla="*/ 3154497 w 3242767"/>
                  <a:gd name="connsiteY2" fmla="*/ 819993 h 3198539"/>
                  <a:gd name="connsiteX3" fmla="*/ 2027976 w 3242767"/>
                  <a:gd name="connsiteY3" fmla="*/ 431862 h 3198539"/>
                  <a:gd name="connsiteX4" fmla="*/ 669516 w 3242767"/>
                  <a:gd name="connsiteY4" fmla="*/ 58386 h 3198539"/>
                  <a:gd name="connsiteX5" fmla="*/ 45282 w 3242767"/>
                  <a:gd name="connsiteY5" fmla="*/ 1238823 h 3198539"/>
                  <a:gd name="connsiteX6" fmla="*/ 253078 w 3242767"/>
                  <a:gd name="connsiteY6" fmla="*/ 2728484 h 3198539"/>
                  <a:gd name="connsiteX7" fmla="*/ 1184145 w 3242767"/>
                  <a:gd name="connsiteY7" fmla="*/ 3119315 h 3198539"/>
                  <a:gd name="connsiteX8" fmla="*/ 2372681 w 3242767"/>
                  <a:gd name="connsiteY8" fmla="*/ 3029379 h 319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2767" h="3198539">
                    <a:moveTo>
                      <a:pt x="2372604" y="3029379"/>
                    </a:moveTo>
                    <a:cubicBezTo>
                      <a:pt x="2710831" y="2821429"/>
                      <a:pt x="2907904" y="2499092"/>
                      <a:pt x="3010259" y="2108724"/>
                    </a:cubicBezTo>
                    <a:cubicBezTo>
                      <a:pt x="3120867" y="1685498"/>
                      <a:pt x="3377488" y="1179585"/>
                      <a:pt x="3154497" y="819993"/>
                    </a:cubicBezTo>
                    <a:cubicBezTo>
                      <a:pt x="2945776" y="483464"/>
                      <a:pt x="2417495" y="532752"/>
                      <a:pt x="2027976" y="431862"/>
                    </a:cubicBezTo>
                    <a:cubicBezTo>
                      <a:pt x="1603746" y="321948"/>
                      <a:pt x="1028569" y="-166224"/>
                      <a:pt x="669516" y="58386"/>
                    </a:cubicBezTo>
                    <a:cubicBezTo>
                      <a:pt x="334530" y="267878"/>
                      <a:pt x="144938" y="850075"/>
                      <a:pt x="45282" y="1238823"/>
                    </a:cubicBezTo>
                    <a:cubicBezTo>
                      <a:pt x="-63320" y="1661047"/>
                      <a:pt x="30241" y="2370898"/>
                      <a:pt x="253078" y="2728484"/>
                    </a:cubicBezTo>
                    <a:cubicBezTo>
                      <a:pt x="462261" y="3064165"/>
                      <a:pt x="795011" y="3018966"/>
                      <a:pt x="1184145" y="3119315"/>
                    </a:cubicBezTo>
                    <a:cubicBezTo>
                      <a:pt x="1603283" y="3227532"/>
                      <a:pt x="2015943" y="3248666"/>
                      <a:pt x="2372681" y="30293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8D3D307C-F36B-3C90-8930-002E86DAB640}"/>
                  </a:ext>
                </a:extLst>
              </p:cNvPr>
              <p:cNvSpPr/>
              <p:nvPr/>
            </p:nvSpPr>
            <p:spPr>
              <a:xfrm>
                <a:off x="4553971" y="2590726"/>
                <a:ext cx="3226504" cy="3187950"/>
              </a:xfrm>
              <a:custGeom>
                <a:avLst/>
                <a:gdLst>
                  <a:gd name="connsiteX0" fmla="*/ 2383391 w 3226504"/>
                  <a:gd name="connsiteY0" fmla="*/ 3038865 h 3187950"/>
                  <a:gd name="connsiteX1" fmla="*/ 2952166 w 3226504"/>
                  <a:gd name="connsiteY1" fmla="*/ 2108570 h 3187950"/>
                  <a:gd name="connsiteX2" fmla="*/ 3141527 w 3226504"/>
                  <a:gd name="connsiteY2" fmla="*/ 807189 h 3187950"/>
                  <a:gd name="connsiteX3" fmla="*/ 1985463 w 3226504"/>
                  <a:gd name="connsiteY3" fmla="*/ 480070 h 3187950"/>
                  <a:gd name="connsiteX4" fmla="*/ 590135 w 3226504"/>
                  <a:gd name="connsiteY4" fmla="*/ 58540 h 3187950"/>
                  <a:gd name="connsiteX5" fmla="*/ 63859 w 3226504"/>
                  <a:gd name="connsiteY5" fmla="*/ 1260420 h 3187950"/>
                  <a:gd name="connsiteX6" fmla="*/ 212494 w 3226504"/>
                  <a:gd name="connsiteY6" fmla="*/ 2801914 h 3187950"/>
                  <a:gd name="connsiteX7" fmla="*/ 1184827 w 3226504"/>
                  <a:gd name="connsiteY7" fmla="*/ 3080825 h 3187950"/>
                  <a:gd name="connsiteX8" fmla="*/ 2383391 w 3226504"/>
                  <a:gd name="connsiteY8" fmla="*/ 3038865 h 3187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6504" h="3187950">
                    <a:moveTo>
                      <a:pt x="2383391" y="3038865"/>
                    </a:moveTo>
                    <a:cubicBezTo>
                      <a:pt x="2707964" y="2831302"/>
                      <a:pt x="2851740" y="2492921"/>
                      <a:pt x="2952166" y="2108570"/>
                    </a:cubicBezTo>
                    <a:cubicBezTo>
                      <a:pt x="3065629" y="1673310"/>
                      <a:pt x="3374930" y="1168401"/>
                      <a:pt x="3141527" y="807189"/>
                    </a:cubicBezTo>
                    <a:cubicBezTo>
                      <a:pt x="2933423" y="485083"/>
                      <a:pt x="2368118" y="579185"/>
                      <a:pt x="1985463" y="480070"/>
                    </a:cubicBezTo>
                    <a:cubicBezTo>
                      <a:pt x="1548662" y="366916"/>
                      <a:pt x="951347" y="-177023"/>
                      <a:pt x="590135" y="58540"/>
                    </a:cubicBezTo>
                    <a:cubicBezTo>
                      <a:pt x="270112" y="267261"/>
                      <a:pt x="161818" y="879077"/>
                      <a:pt x="63859" y="1260420"/>
                    </a:cubicBezTo>
                    <a:cubicBezTo>
                      <a:pt x="-48214" y="1695293"/>
                      <a:pt x="-21218" y="2442014"/>
                      <a:pt x="212494" y="2801914"/>
                    </a:cubicBezTo>
                    <a:cubicBezTo>
                      <a:pt x="420983" y="3122940"/>
                      <a:pt x="802790" y="2982250"/>
                      <a:pt x="1184827" y="3080825"/>
                    </a:cubicBezTo>
                    <a:cubicBezTo>
                      <a:pt x="1615998" y="3192205"/>
                      <a:pt x="2024647" y="3268258"/>
                      <a:pt x="2383391" y="303886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0480684E-A91B-D616-28EB-93843C427BCC}"/>
                  </a:ext>
                </a:extLst>
              </p:cNvPr>
              <p:cNvSpPr/>
              <p:nvPr/>
            </p:nvSpPr>
            <p:spPr>
              <a:xfrm>
                <a:off x="4568996" y="2585529"/>
                <a:ext cx="3220062" cy="3183237"/>
              </a:xfrm>
              <a:custGeom>
                <a:avLst/>
                <a:gdLst>
                  <a:gd name="connsiteX0" fmla="*/ 2402845 w 3220062"/>
                  <a:gd name="connsiteY0" fmla="*/ 3048690 h 3183237"/>
                  <a:gd name="connsiteX1" fmla="*/ 2902741 w 3220062"/>
                  <a:gd name="connsiteY1" fmla="*/ 2108752 h 3183237"/>
                  <a:gd name="connsiteX2" fmla="*/ 3137301 w 3220062"/>
                  <a:gd name="connsiteY2" fmla="*/ 794722 h 3183237"/>
                  <a:gd name="connsiteX3" fmla="*/ 1951696 w 3220062"/>
                  <a:gd name="connsiteY3" fmla="*/ 528615 h 3183237"/>
                  <a:gd name="connsiteX4" fmla="*/ 519498 w 3220062"/>
                  <a:gd name="connsiteY4" fmla="*/ 59031 h 3183237"/>
                  <a:gd name="connsiteX5" fmla="*/ 91104 w 3220062"/>
                  <a:gd name="connsiteY5" fmla="*/ 1282277 h 3183237"/>
                  <a:gd name="connsiteX6" fmla="*/ 180577 w 3220062"/>
                  <a:gd name="connsiteY6" fmla="*/ 2875527 h 3183237"/>
                  <a:gd name="connsiteX7" fmla="*/ 1194100 w 3220062"/>
                  <a:gd name="connsiteY7" fmla="*/ 3042597 h 3183237"/>
                  <a:gd name="connsiteX8" fmla="*/ 2402690 w 3220062"/>
                  <a:gd name="connsiteY8" fmla="*/ 3048690 h 3183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062" h="3183237">
                    <a:moveTo>
                      <a:pt x="2402845" y="3048690"/>
                    </a:moveTo>
                    <a:cubicBezTo>
                      <a:pt x="2713920" y="2841743"/>
                      <a:pt x="2804166" y="2487088"/>
                      <a:pt x="2902741" y="2108752"/>
                    </a:cubicBezTo>
                    <a:cubicBezTo>
                      <a:pt x="3019057" y="1661538"/>
                      <a:pt x="3381426" y="1157322"/>
                      <a:pt x="3137301" y="794722"/>
                    </a:cubicBezTo>
                    <a:cubicBezTo>
                      <a:pt x="2930046" y="486809"/>
                      <a:pt x="2327563" y="626033"/>
                      <a:pt x="1951696" y="528615"/>
                    </a:cubicBezTo>
                    <a:cubicBezTo>
                      <a:pt x="1502322" y="412221"/>
                      <a:pt x="882484" y="-187870"/>
                      <a:pt x="519498" y="59031"/>
                    </a:cubicBezTo>
                    <a:cubicBezTo>
                      <a:pt x="214284" y="266672"/>
                      <a:pt x="187442" y="908415"/>
                      <a:pt x="91104" y="1282277"/>
                    </a:cubicBezTo>
                    <a:cubicBezTo>
                      <a:pt x="-24441" y="1729877"/>
                      <a:pt x="-64396" y="2513621"/>
                      <a:pt x="180577" y="2875527"/>
                    </a:cubicBezTo>
                    <a:cubicBezTo>
                      <a:pt x="388064" y="3182052"/>
                      <a:pt x="819235" y="2945718"/>
                      <a:pt x="1194100" y="3042597"/>
                    </a:cubicBezTo>
                    <a:cubicBezTo>
                      <a:pt x="1637304" y="3157215"/>
                      <a:pt x="2042173" y="3288495"/>
                      <a:pt x="2402690" y="304869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2F46D95A-9671-86EF-7E64-16B515AD1E88}"/>
                  </a:ext>
                </a:extLst>
              </p:cNvPr>
              <p:cNvSpPr/>
              <p:nvPr/>
            </p:nvSpPr>
            <p:spPr>
              <a:xfrm>
                <a:off x="4575239" y="2579941"/>
                <a:ext cx="3223194" cy="3183120"/>
              </a:xfrm>
              <a:custGeom>
                <a:avLst/>
                <a:gdLst>
                  <a:gd name="connsiteX0" fmla="*/ 2431079 w 3223194"/>
                  <a:gd name="connsiteY0" fmla="*/ 3058906 h 3183120"/>
                  <a:gd name="connsiteX1" fmla="*/ 2862096 w 3223194"/>
                  <a:gd name="connsiteY1" fmla="*/ 2109327 h 3183120"/>
                  <a:gd name="connsiteX2" fmla="*/ 3141779 w 3223194"/>
                  <a:gd name="connsiteY2" fmla="*/ 782570 h 3183120"/>
                  <a:gd name="connsiteX3" fmla="*/ 1926632 w 3223194"/>
                  <a:gd name="connsiteY3" fmla="*/ 577475 h 3183120"/>
                  <a:gd name="connsiteX4" fmla="*/ 457565 w 3223194"/>
                  <a:gd name="connsiteY4" fmla="*/ 59838 h 3183120"/>
                  <a:gd name="connsiteX5" fmla="*/ 127129 w 3223194"/>
                  <a:gd name="connsiteY5" fmla="*/ 1304526 h 3183120"/>
                  <a:gd name="connsiteX6" fmla="*/ 157519 w 3223194"/>
                  <a:gd name="connsiteY6" fmla="*/ 2949610 h 3183120"/>
                  <a:gd name="connsiteX7" fmla="*/ 1212307 w 3223194"/>
                  <a:gd name="connsiteY7" fmla="*/ 3004836 h 3183120"/>
                  <a:gd name="connsiteX8" fmla="*/ 2431002 w 3223194"/>
                  <a:gd name="connsiteY8" fmla="*/ 3058906 h 318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3194" h="3183120">
                    <a:moveTo>
                      <a:pt x="2431079" y="3058906"/>
                    </a:moveTo>
                    <a:cubicBezTo>
                      <a:pt x="2728888" y="2852731"/>
                      <a:pt x="2765372" y="2481646"/>
                      <a:pt x="2862096" y="2109327"/>
                    </a:cubicBezTo>
                    <a:cubicBezTo>
                      <a:pt x="2981343" y="1650080"/>
                      <a:pt x="3397011" y="1146327"/>
                      <a:pt x="3141779" y="782570"/>
                    </a:cubicBezTo>
                    <a:cubicBezTo>
                      <a:pt x="2935526" y="488695"/>
                      <a:pt x="2295712" y="673119"/>
                      <a:pt x="1926632" y="577475"/>
                    </a:cubicBezTo>
                    <a:cubicBezTo>
                      <a:pt x="1464608" y="457765"/>
                      <a:pt x="822016" y="-198865"/>
                      <a:pt x="457565" y="59838"/>
                    </a:cubicBezTo>
                    <a:cubicBezTo>
                      <a:pt x="166852" y="266168"/>
                      <a:pt x="221848" y="938146"/>
                      <a:pt x="127129" y="1304526"/>
                    </a:cubicBezTo>
                    <a:cubicBezTo>
                      <a:pt x="8113" y="1764776"/>
                      <a:pt x="-99178" y="2585930"/>
                      <a:pt x="157519" y="2949610"/>
                    </a:cubicBezTo>
                    <a:cubicBezTo>
                      <a:pt x="363849" y="3241942"/>
                      <a:pt x="844539" y="2909655"/>
                      <a:pt x="1212307" y="3004836"/>
                    </a:cubicBezTo>
                    <a:cubicBezTo>
                      <a:pt x="1667544" y="3122695"/>
                      <a:pt x="2068942" y="3309510"/>
                      <a:pt x="2431002" y="305890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73F22949-2778-8A28-BA3D-6A9A2997BDB8}"/>
                  </a:ext>
                </a:extLst>
              </p:cNvPr>
              <p:cNvSpPr/>
              <p:nvPr/>
            </p:nvSpPr>
            <p:spPr>
              <a:xfrm>
                <a:off x="4574616" y="2574268"/>
                <a:ext cx="3233910" cy="3186151"/>
              </a:xfrm>
              <a:custGeom>
                <a:avLst/>
                <a:gdLst>
                  <a:gd name="connsiteX0" fmla="*/ 2828318 w 3233910"/>
                  <a:gd name="connsiteY0" fmla="*/ 2109987 h 3186151"/>
                  <a:gd name="connsiteX1" fmla="*/ 3153201 w 3233910"/>
                  <a:gd name="connsiteY1" fmla="*/ 770580 h 3186151"/>
                  <a:gd name="connsiteX2" fmla="*/ 1908512 w 3233910"/>
                  <a:gd name="connsiteY2" fmla="*/ 626573 h 3186151"/>
                  <a:gd name="connsiteX3" fmla="*/ 402652 w 3233910"/>
                  <a:gd name="connsiteY3" fmla="*/ 60883 h 3186151"/>
                  <a:gd name="connsiteX4" fmla="*/ 170175 w 3233910"/>
                  <a:gd name="connsiteY4" fmla="*/ 1327014 h 3186151"/>
                  <a:gd name="connsiteX5" fmla="*/ 141404 w 3233910"/>
                  <a:gd name="connsiteY5" fmla="*/ 3023854 h 3186151"/>
                  <a:gd name="connsiteX6" fmla="*/ 1237458 w 3233910"/>
                  <a:gd name="connsiteY6" fmla="*/ 2967238 h 3186151"/>
                  <a:gd name="connsiteX7" fmla="*/ 2466180 w 3233910"/>
                  <a:gd name="connsiteY7" fmla="*/ 3069285 h 3186151"/>
                  <a:gd name="connsiteX8" fmla="*/ 2828318 w 3233910"/>
                  <a:gd name="connsiteY8" fmla="*/ 2110064 h 3186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3910" h="3186151">
                    <a:moveTo>
                      <a:pt x="2828318" y="2109987"/>
                    </a:moveTo>
                    <a:cubicBezTo>
                      <a:pt x="2950419" y="1638707"/>
                      <a:pt x="3419925" y="1135031"/>
                      <a:pt x="3153201" y="770580"/>
                    </a:cubicBezTo>
                    <a:cubicBezTo>
                      <a:pt x="2948182" y="490434"/>
                      <a:pt x="2270727" y="720366"/>
                      <a:pt x="1908512" y="626573"/>
                    </a:cubicBezTo>
                    <a:cubicBezTo>
                      <a:pt x="1433915" y="503624"/>
                      <a:pt x="768029" y="-210007"/>
                      <a:pt x="402652" y="60883"/>
                    </a:cubicBezTo>
                    <a:cubicBezTo>
                      <a:pt x="126286" y="265747"/>
                      <a:pt x="263197" y="968039"/>
                      <a:pt x="170175" y="1327014"/>
                    </a:cubicBezTo>
                    <a:cubicBezTo>
                      <a:pt x="47611" y="1799914"/>
                      <a:pt x="-127326" y="2658939"/>
                      <a:pt x="141404" y="3023854"/>
                    </a:cubicBezTo>
                    <a:cubicBezTo>
                      <a:pt x="346345" y="3302147"/>
                      <a:pt x="876786" y="2873831"/>
                      <a:pt x="1237458" y="2967238"/>
                    </a:cubicBezTo>
                    <a:cubicBezTo>
                      <a:pt x="1704727" y="3088336"/>
                      <a:pt x="2102963" y="3331072"/>
                      <a:pt x="2466180" y="3069285"/>
                    </a:cubicBezTo>
                    <a:cubicBezTo>
                      <a:pt x="2750877" y="2864112"/>
                      <a:pt x="2733445" y="2476289"/>
                      <a:pt x="2828318" y="21100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71" name="Graphic 5">
              <a:extLst>
                <a:ext uri="{FF2B5EF4-FFF2-40B4-BE49-F238E27FC236}">
                  <a16:creationId xmlns:a16="http://schemas.microsoft.com/office/drawing/2014/main" id="{7D4E7DE0-9AFC-3D8D-2458-FC32BA0CA174}"/>
                </a:ext>
              </a:extLst>
            </p:cNvPr>
            <p:cNvGrpSpPr/>
            <p:nvPr/>
          </p:nvGrpSpPr>
          <p:grpSpPr>
            <a:xfrm rot="20743245">
              <a:off x="-1641318" y="712755"/>
              <a:ext cx="8683276" cy="5650143"/>
              <a:chOff x="3224705" y="2448010"/>
              <a:chExt cx="5745675" cy="3738674"/>
            </a:xfrm>
            <a:noFill/>
          </p:grpSpPr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F6F5D761-3DD4-1674-8953-6AC547F086B8}"/>
                  </a:ext>
                </a:extLst>
              </p:cNvPr>
              <p:cNvSpPr/>
              <p:nvPr/>
            </p:nvSpPr>
            <p:spPr>
              <a:xfrm>
                <a:off x="3224705" y="2973429"/>
                <a:ext cx="4086746" cy="2988613"/>
              </a:xfrm>
              <a:custGeom>
                <a:avLst/>
                <a:gdLst>
                  <a:gd name="connsiteX0" fmla="*/ 3021857 w 4086746"/>
                  <a:gd name="connsiteY0" fmla="*/ 21082 h 2988613"/>
                  <a:gd name="connsiteX1" fmla="*/ 1949714 w 4086746"/>
                  <a:gd name="connsiteY1" fmla="*/ 140561 h 2988613"/>
                  <a:gd name="connsiteX2" fmla="*/ 17620 w 4086746"/>
                  <a:gd name="connsiteY2" fmla="*/ 326759 h 2988613"/>
                  <a:gd name="connsiteX3" fmla="*/ 1162808 w 4086746"/>
                  <a:gd name="connsiteY3" fmla="*/ 2051134 h 2988613"/>
                  <a:gd name="connsiteX4" fmla="*/ 2164991 w 4086746"/>
                  <a:gd name="connsiteY4" fmla="*/ 2546943 h 2988613"/>
                  <a:gd name="connsiteX5" fmla="*/ 3449172 w 4086746"/>
                  <a:gd name="connsiteY5" fmla="*/ 2922733 h 2988613"/>
                  <a:gd name="connsiteX6" fmla="*/ 3803596 w 4086746"/>
                  <a:gd name="connsiteY6" fmla="*/ 1748620 h 2988613"/>
                  <a:gd name="connsiteX7" fmla="*/ 3997970 w 4086746"/>
                  <a:gd name="connsiteY7" fmla="*/ 855117 h 2988613"/>
                  <a:gd name="connsiteX8" fmla="*/ 3021857 w 4086746"/>
                  <a:gd name="connsiteY8" fmla="*/ 21160 h 2988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6746" h="2988613">
                    <a:moveTo>
                      <a:pt x="3021857" y="21082"/>
                    </a:moveTo>
                    <a:cubicBezTo>
                      <a:pt x="2524275" y="34658"/>
                      <a:pt x="2338926" y="-88523"/>
                      <a:pt x="1949714" y="140561"/>
                    </a:cubicBezTo>
                    <a:cubicBezTo>
                      <a:pt x="1650594" y="316654"/>
                      <a:pt x="147126" y="-24349"/>
                      <a:pt x="17620" y="326759"/>
                    </a:cubicBezTo>
                    <a:cubicBezTo>
                      <a:pt x="-151995" y="786777"/>
                      <a:pt x="953624" y="1647191"/>
                      <a:pt x="1162808" y="2051134"/>
                    </a:cubicBezTo>
                    <a:cubicBezTo>
                      <a:pt x="1489850" y="2682542"/>
                      <a:pt x="1817123" y="2418671"/>
                      <a:pt x="2164991" y="2546943"/>
                    </a:cubicBezTo>
                    <a:cubicBezTo>
                      <a:pt x="2623313" y="2715940"/>
                      <a:pt x="3059267" y="3153822"/>
                      <a:pt x="3449172" y="2922733"/>
                    </a:cubicBezTo>
                    <a:cubicBezTo>
                      <a:pt x="3746441" y="2746562"/>
                      <a:pt x="3674708" y="2098108"/>
                      <a:pt x="3803596" y="1748620"/>
                    </a:cubicBezTo>
                    <a:cubicBezTo>
                      <a:pt x="3970588" y="1295698"/>
                      <a:pt x="4222272" y="1242631"/>
                      <a:pt x="3997970" y="855117"/>
                    </a:cubicBezTo>
                    <a:cubicBezTo>
                      <a:pt x="3822185" y="551446"/>
                      <a:pt x="3400038" y="10824"/>
                      <a:pt x="3021857" y="211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7AA8E063-EB5F-68C3-749B-65B2D6A51170}"/>
                  </a:ext>
                </a:extLst>
              </p:cNvPr>
              <p:cNvSpPr/>
              <p:nvPr/>
            </p:nvSpPr>
            <p:spPr>
              <a:xfrm>
                <a:off x="3285345" y="2945042"/>
                <a:ext cx="4163768" cy="2979360"/>
              </a:xfrm>
              <a:custGeom>
                <a:avLst/>
                <a:gdLst>
                  <a:gd name="connsiteX0" fmla="*/ 3793170 w 4163768"/>
                  <a:gd name="connsiteY0" fmla="*/ 1782639 h 2979360"/>
                  <a:gd name="connsiteX1" fmla="*/ 4094681 w 4163768"/>
                  <a:gd name="connsiteY1" fmla="*/ 868155 h 2979360"/>
                  <a:gd name="connsiteX2" fmla="*/ 2987366 w 4163768"/>
                  <a:gd name="connsiteY2" fmla="*/ 28 h 2979360"/>
                  <a:gd name="connsiteX3" fmla="*/ 1885912 w 4163768"/>
                  <a:gd name="connsiteY3" fmla="*/ 197641 h 2979360"/>
                  <a:gd name="connsiteX4" fmla="*/ 15678 w 4163768"/>
                  <a:gd name="connsiteY4" fmla="*/ 437446 h 2979360"/>
                  <a:gd name="connsiteX5" fmla="*/ 1132404 w 4163768"/>
                  <a:gd name="connsiteY5" fmla="*/ 2066409 h 2979360"/>
                  <a:gd name="connsiteX6" fmla="*/ 2140990 w 4163768"/>
                  <a:gd name="connsiteY6" fmla="*/ 2635648 h 2979360"/>
                  <a:gd name="connsiteX7" fmla="*/ 3375266 w 4163768"/>
                  <a:gd name="connsiteY7" fmla="*/ 2903143 h 2979360"/>
                  <a:gd name="connsiteX8" fmla="*/ 3793247 w 4163768"/>
                  <a:gd name="connsiteY8" fmla="*/ 1782639 h 2979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63768" h="2979360">
                    <a:moveTo>
                      <a:pt x="3793170" y="1782639"/>
                    </a:moveTo>
                    <a:cubicBezTo>
                      <a:pt x="3948438" y="1338818"/>
                      <a:pt x="4315975" y="1250115"/>
                      <a:pt x="4094681" y="868155"/>
                    </a:cubicBezTo>
                    <a:cubicBezTo>
                      <a:pt x="3912417" y="553917"/>
                      <a:pt x="3371717" y="-4523"/>
                      <a:pt x="2987366" y="28"/>
                    </a:cubicBezTo>
                    <a:cubicBezTo>
                      <a:pt x="2503822" y="5735"/>
                      <a:pt x="2269030" y="-27894"/>
                      <a:pt x="1885912" y="197641"/>
                    </a:cubicBezTo>
                    <a:cubicBezTo>
                      <a:pt x="1575531" y="380291"/>
                      <a:pt x="141019" y="77932"/>
                      <a:pt x="15678" y="437446"/>
                    </a:cubicBezTo>
                    <a:cubicBezTo>
                      <a:pt x="-141132" y="887207"/>
                      <a:pt x="925072" y="1670179"/>
                      <a:pt x="1132404" y="2066409"/>
                    </a:cubicBezTo>
                    <a:cubicBezTo>
                      <a:pt x="1452196" y="2678688"/>
                      <a:pt x="1784560" y="2511310"/>
                      <a:pt x="2140990" y="2635648"/>
                    </a:cubicBezTo>
                    <a:cubicBezTo>
                      <a:pt x="2589439" y="2792072"/>
                      <a:pt x="2991608" y="3130376"/>
                      <a:pt x="3375266" y="2903143"/>
                    </a:cubicBezTo>
                    <a:cubicBezTo>
                      <a:pt x="3683333" y="2720725"/>
                      <a:pt x="3668215" y="2140071"/>
                      <a:pt x="3793247" y="178263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D4B2D002-01C8-5FF4-5FA5-DD9A617AA3A5}"/>
                  </a:ext>
                </a:extLst>
              </p:cNvPr>
              <p:cNvSpPr/>
              <p:nvPr/>
            </p:nvSpPr>
            <p:spPr>
              <a:xfrm>
                <a:off x="3345777" y="2895587"/>
                <a:ext cx="4247432" cy="2996098"/>
              </a:xfrm>
              <a:custGeom>
                <a:avLst/>
                <a:gdLst>
                  <a:gd name="connsiteX0" fmla="*/ 3783028 w 4247432"/>
                  <a:gd name="connsiteY0" fmla="*/ 1837724 h 2996098"/>
                  <a:gd name="connsiteX1" fmla="*/ 4191599 w 4247432"/>
                  <a:gd name="connsiteY1" fmla="*/ 902338 h 2996098"/>
                  <a:gd name="connsiteX2" fmla="*/ 2953081 w 4247432"/>
                  <a:gd name="connsiteY2" fmla="*/ 41 h 2996098"/>
                  <a:gd name="connsiteX3" fmla="*/ 1822318 w 4247432"/>
                  <a:gd name="connsiteY3" fmla="*/ 275790 h 2996098"/>
                  <a:gd name="connsiteX4" fmla="*/ 13867 w 4247432"/>
                  <a:gd name="connsiteY4" fmla="*/ 569202 h 2996098"/>
                  <a:gd name="connsiteX5" fmla="*/ 1102053 w 4247432"/>
                  <a:gd name="connsiteY5" fmla="*/ 2102675 h 2996098"/>
                  <a:gd name="connsiteX6" fmla="*/ 2117041 w 4247432"/>
                  <a:gd name="connsiteY6" fmla="*/ 2745420 h 2996098"/>
                  <a:gd name="connsiteX7" fmla="*/ 3301335 w 4247432"/>
                  <a:gd name="connsiteY7" fmla="*/ 2904699 h 2996098"/>
                  <a:gd name="connsiteX8" fmla="*/ 3782951 w 4247432"/>
                  <a:gd name="connsiteY8" fmla="*/ 1837724 h 299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47432" h="2996098">
                    <a:moveTo>
                      <a:pt x="3783028" y="1837724"/>
                    </a:moveTo>
                    <a:cubicBezTo>
                      <a:pt x="3926880" y="1403159"/>
                      <a:pt x="4410039" y="1278667"/>
                      <a:pt x="4191599" y="902338"/>
                    </a:cubicBezTo>
                    <a:cubicBezTo>
                      <a:pt x="4002856" y="577532"/>
                      <a:pt x="3343681" y="1506"/>
                      <a:pt x="2953081" y="41"/>
                    </a:cubicBezTo>
                    <a:cubicBezTo>
                      <a:pt x="2483575" y="-1733"/>
                      <a:pt x="2199342" y="53802"/>
                      <a:pt x="1822318" y="275790"/>
                    </a:cubicBezTo>
                    <a:cubicBezTo>
                      <a:pt x="1500752" y="465073"/>
                      <a:pt x="134888" y="201125"/>
                      <a:pt x="13867" y="569202"/>
                    </a:cubicBezTo>
                    <a:cubicBezTo>
                      <a:pt x="-130603" y="1008626"/>
                      <a:pt x="896726" y="1714158"/>
                      <a:pt x="1102053" y="2102675"/>
                    </a:cubicBezTo>
                    <a:cubicBezTo>
                      <a:pt x="1414672" y="2695824"/>
                      <a:pt x="1751896" y="2625171"/>
                      <a:pt x="2117041" y="2745420"/>
                    </a:cubicBezTo>
                    <a:cubicBezTo>
                      <a:pt x="2555309" y="2889658"/>
                      <a:pt x="2924002" y="3128075"/>
                      <a:pt x="3301335" y="2904699"/>
                    </a:cubicBezTo>
                    <a:cubicBezTo>
                      <a:pt x="3620201" y="2716033"/>
                      <a:pt x="3661930" y="2203256"/>
                      <a:pt x="3782951" y="183772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67BC19EE-8B4C-88AC-DE4C-F54AD4F2E0F0}"/>
                  </a:ext>
                </a:extLst>
              </p:cNvPr>
              <p:cNvSpPr/>
              <p:nvPr/>
            </p:nvSpPr>
            <p:spPr>
              <a:xfrm>
                <a:off x="3406170" y="2845727"/>
                <a:ext cx="4334890" cy="3021757"/>
              </a:xfrm>
              <a:custGeom>
                <a:avLst/>
                <a:gdLst>
                  <a:gd name="connsiteX0" fmla="*/ 3772848 w 4334890"/>
                  <a:gd name="connsiteY0" fmla="*/ 1893214 h 3021757"/>
                  <a:gd name="connsiteX1" fmla="*/ 4288557 w 4334890"/>
                  <a:gd name="connsiteY1" fmla="*/ 936924 h 3021757"/>
                  <a:gd name="connsiteX2" fmla="*/ 2918837 w 4334890"/>
                  <a:gd name="connsiteY2" fmla="*/ 381 h 3021757"/>
                  <a:gd name="connsiteX3" fmla="*/ 1758762 w 4334890"/>
                  <a:gd name="connsiteY3" fmla="*/ 354188 h 3021757"/>
                  <a:gd name="connsiteX4" fmla="*/ 12172 w 4334890"/>
                  <a:gd name="connsiteY4" fmla="*/ 701207 h 3021757"/>
                  <a:gd name="connsiteX5" fmla="*/ 1071897 w 4334890"/>
                  <a:gd name="connsiteY5" fmla="*/ 2139267 h 3021757"/>
                  <a:gd name="connsiteX6" fmla="*/ 2093286 w 4334890"/>
                  <a:gd name="connsiteY6" fmla="*/ 2855443 h 3021757"/>
                  <a:gd name="connsiteX7" fmla="*/ 3227676 w 4334890"/>
                  <a:gd name="connsiteY7" fmla="*/ 2906427 h 3021757"/>
                  <a:gd name="connsiteX8" fmla="*/ 3772926 w 4334890"/>
                  <a:gd name="connsiteY8" fmla="*/ 1893060 h 3021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34890" h="3021757">
                    <a:moveTo>
                      <a:pt x="3772848" y="1893214"/>
                    </a:moveTo>
                    <a:cubicBezTo>
                      <a:pt x="3905671" y="1468137"/>
                      <a:pt x="4503989" y="1307701"/>
                      <a:pt x="4288557" y="936924"/>
                    </a:cubicBezTo>
                    <a:cubicBezTo>
                      <a:pt x="4093411" y="601629"/>
                      <a:pt x="3315684" y="8094"/>
                      <a:pt x="2918837" y="381"/>
                    </a:cubicBezTo>
                    <a:cubicBezTo>
                      <a:pt x="2463446" y="-8412"/>
                      <a:pt x="2129770" y="135826"/>
                      <a:pt x="1758762" y="354188"/>
                    </a:cubicBezTo>
                    <a:cubicBezTo>
                      <a:pt x="1425935" y="550027"/>
                      <a:pt x="128642" y="324415"/>
                      <a:pt x="12172" y="701207"/>
                    </a:cubicBezTo>
                    <a:cubicBezTo>
                      <a:pt x="-120342" y="1129987"/>
                      <a:pt x="868421" y="1758386"/>
                      <a:pt x="1071897" y="2139267"/>
                    </a:cubicBezTo>
                    <a:cubicBezTo>
                      <a:pt x="1377265" y="2713288"/>
                      <a:pt x="1719270" y="2739667"/>
                      <a:pt x="2093286" y="2855443"/>
                    </a:cubicBezTo>
                    <a:cubicBezTo>
                      <a:pt x="2521218" y="2987957"/>
                      <a:pt x="2856591" y="3126024"/>
                      <a:pt x="3227676" y="2906427"/>
                    </a:cubicBezTo>
                    <a:cubicBezTo>
                      <a:pt x="3557340" y="2711514"/>
                      <a:pt x="3656147" y="2266690"/>
                      <a:pt x="3772926" y="18930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58D0893D-96FF-19BD-257A-5EC9C0E0EC20}"/>
                  </a:ext>
                </a:extLst>
              </p:cNvPr>
              <p:cNvSpPr/>
              <p:nvPr/>
            </p:nvSpPr>
            <p:spPr>
              <a:xfrm>
                <a:off x="3466359" y="2795931"/>
                <a:ext cx="4425026" cy="3063471"/>
              </a:xfrm>
              <a:custGeom>
                <a:avLst/>
                <a:gdLst>
                  <a:gd name="connsiteX0" fmla="*/ 3762949 w 4425026"/>
                  <a:gd name="connsiteY0" fmla="*/ 1948641 h 3063471"/>
                  <a:gd name="connsiteX1" fmla="*/ 4385718 w 4425026"/>
                  <a:gd name="connsiteY1" fmla="*/ 971448 h 3063471"/>
                  <a:gd name="connsiteX2" fmla="*/ 2884795 w 4425026"/>
                  <a:gd name="connsiteY2" fmla="*/ 735 h 3063471"/>
                  <a:gd name="connsiteX3" fmla="*/ 1695410 w 4425026"/>
                  <a:gd name="connsiteY3" fmla="*/ 432677 h 3063471"/>
                  <a:gd name="connsiteX4" fmla="*/ 10603 w 4425026"/>
                  <a:gd name="connsiteY4" fmla="*/ 833304 h 3063471"/>
                  <a:gd name="connsiteX5" fmla="*/ 1041789 w 4425026"/>
                  <a:gd name="connsiteY5" fmla="*/ 2175951 h 3063471"/>
                  <a:gd name="connsiteX6" fmla="*/ 2069581 w 4425026"/>
                  <a:gd name="connsiteY6" fmla="*/ 2965634 h 3063471"/>
                  <a:gd name="connsiteX7" fmla="*/ 3154065 w 4425026"/>
                  <a:gd name="connsiteY7" fmla="*/ 2908401 h 3063471"/>
                  <a:gd name="connsiteX8" fmla="*/ 3762949 w 4425026"/>
                  <a:gd name="connsiteY8" fmla="*/ 1948564 h 3063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25026" h="3063471">
                    <a:moveTo>
                      <a:pt x="3762949" y="1948641"/>
                    </a:moveTo>
                    <a:cubicBezTo>
                      <a:pt x="3885128" y="1533127"/>
                      <a:pt x="4598295" y="1336594"/>
                      <a:pt x="4385718" y="971448"/>
                    </a:cubicBezTo>
                    <a:cubicBezTo>
                      <a:pt x="4184094" y="625586"/>
                      <a:pt x="3287967" y="14927"/>
                      <a:pt x="2884795" y="735"/>
                    </a:cubicBezTo>
                    <a:cubicBezTo>
                      <a:pt x="2443596" y="-14769"/>
                      <a:pt x="2060325" y="217863"/>
                      <a:pt x="1695410" y="432677"/>
                    </a:cubicBezTo>
                    <a:cubicBezTo>
                      <a:pt x="1351399" y="635150"/>
                      <a:pt x="122214" y="447718"/>
                      <a:pt x="10603" y="833304"/>
                    </a:cubicBezTo>
                    <a:cubicBezTo>
                      <a:pt x="-110418" y="1251362"/>
                      <a:pt x="840318" y="1802706"/>
                      <a:pt x="1041789" y="2175951"/>
                    </a:cubicBezTo>
                    <a:cubicBezTo>
                      <a:pt x="1339983" y="2730842"/>
                      <a:pt x="1686617" y="2854485"/>
                      <a:pt x="2069581" y="2965634"/>
                    </a:cubicBezTo>
                    <a:cubicBezTo>
                      <a:pt x="2487022" y="3086809"/>
                      <a:pt x="2789228" y="3124141"/>
                      <a:pt x="3154065" y="2908401"/>
                    </a:cubicBezTo>
                    <a:cubicBezTo>
                      <a:pt x="3494528" y="2707240"/>
                      <a:pt x="3650644" y="2330524"/>
                      <a:pt x="3762949" y="19485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0487710A-4B47-E1C6-9AD9-04C085CDF82B}"/>
                  </a:ext>
                </a:extLst>
              </p:cNvPr>
              <p:cNvSpPr/>
              <p:nvPr/>
            </p:nvSpPr>
            <p:spPr>
              <a:xfrm>
                <a:off x="3526436" y="2746166"/>
                <a:ext cx="4516838" cy="3129085"/>
              </a:xfrm>
              <a:custGeom>
                <a:avLst/>
                <a:gdLst>
                  <a:gd name="connsiteX0" fmla="*/ 3753086 w 4516838"/>
                  <a:gd name="connsiteY0" fmla="*/ 2004037 h 3129085"/>
                  <a:gd name="connsiteX1" fmla="*/ 4482992 w 4516838"/>
                  <a:gd name="connsiteY1" fmla="*/ 1005942 h 3129085"/>
                  <a:gd name="connsiteX2" fmla="*/ 2850866 w 4516838"/>
                  <a:gd name="connsiteY2" fmla="*/ 1059 h 3129085"/>
                  <a:gd name="connsiteX3" fmla="*/ 1632171 w 4516838"/>
                  <a:gd name="connsiteY3" fmla="*/ 511136 h 3129085"/>
                  <a:gd name="connsiteX4" fmla="*/ 9147 w 4516838"/>
                  <a:gd name="connsiteY4" fmla="*/ 965447 h 3129085"/>
                  <a:gd name="connsiteX5" fmla="*/ 1011871 w 4516838"/>
                  <a:gd name="connsiteY5" fmla="*/ 2212681 h 3129085"/>
                  <a:gd name="connsiteX6" fmla="*/ 2046065 w 4516838"/>
                  <a:gd name="connsiteY6" fmla="*/ 3075871 h 3129085"/>
                  <a:gd name="connsiteX7" fmla="*/ 3080644 w 4516838"/>
                  <a:gd name="connsiteY7" fmla="*/ 2910345 h 3129085"/>
                  <a:gd name="connsiteX8" fmla="*/ 3753163 w 4516838"/>
                  <a:gd name="connsiteY8" fmla="*/ 2004114 h 3129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16838" h="3129085">
                    <a:moveTo>
                      <a:pt x="3753086" y="2004037"/>
                    </a:moveTo>
                    <a:cubicBezTo>
                      <a:pt x="3864928" y="1598166"/>
                      <a:pt x="4692561" y="1365534"/>
                      <a:pt x="4482992" y="1005942"/>
                    </a:cubicBezTo>
                    <a:cubicBezTo>
                      <a:pt x="4274888" y="649589"/>
                      <a:pt x="3260286" y="21962"/>
                      <a:pt x="2850866" y="1059"/>
                    </a:cubicBezTo>
                    <a:cubicBezTo>
                      <a:pt x="2423783" y="-20770"/>
                      <a:pt x="1990992" y="299870"/>
                      <a:pt x="1632171" y="511136"/>
                    </a:cubicBezTo>
                    <a:cubicBezTo>
                      <a:pt x="1276976" y="720166"/>
                      <a:pt x="115667" y="570837"/>
                      <a:pt x="9147" y="965447"/>
                    </a:cubicBezTo>
                    <a:cubicBezTo>
                      <a:pt x="-100767" y="1372553"/>
                      <a:pt x="812252" y="1847149"/>
                      <a:pt x="1011871" y="2212681"/>
                    </a:cubicBezTo>
                    <a:cubicBezTo>
                      <a:pt x="1302892" y="2748444"/>
                      <a:pt x="1654000" y="2969583"/>
                      <a:pt x="2046065" y="3075871"/>
                    </a:cubicBezTo>
                    <a:cubicBezTo>
                      <a:pt x="2452939" y="3186094"/>
                      <a:pt x="2721978" y="3122305"/>
                      <a:pt x="3080644" y="2910345"/>
                    </a:cubicBezTo>
                    <a:cubicBezTo>
                      <a:pt x="3431906" y="2702935"/>
                      <a:pt x="3645563" y="2394405"/>
                      <a:pt x="3753163" y="20041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60EC35DB-4ABB-3427-EAF9-24F1F7E72B1E}"/>
                  </a:ext>
                </a:extLst>
              </p:cNvPr>
              <p:cNvSpPr/>
              <p:nvPr/>
            </p:nvSpPr>
            <p:spPr>
              <a:xfrm>
                <a:off x="3586413" y="2696421"/>
                <a:ext cx="4609879" cy="3215724"/>
              </a:xfrm>
              <a:custGeom>
                <a:avLst/>
                <a:gdLst>
                  <a:gd name="connsiteX0" fmla="*/ 3743322 w 4609879"/>
                  <a:gd name="connsiteY0" fmla="*/ 2059413 h 3215724"/>
                  <a:gd name="connsiteX1" fmla="*/ 4580365 w 4609879"/>
                  <a:gd name="connsiteY1" fmla="*/ 1040414 h 3215724"/>
                  <a:gd name="connsiteX2" fmla="*/ 2817037 w 4609879"/>
                  <a:gd name="connsiteY2" fmla="*/ 1361 h 3215724"/>
                  <a:gd name="connsiteX3" fmla="*/ 1568955 w 4609879"/>
                  <a:gd name="connsiteY3" fmla="*/ 589575 h 3215724"/>
                  <a:gd name="connsiteX4" fmla="*/ 7791 w 4609879"/>
                  <a:gd name="connsiteY4" fmla="*/ 1097493 h 3215724"/>
                  <a:gd name="connsiteX5" fmla="*/ 981976 w 4609879"/>
                  <a:gd name="connsiteY5" fmla="*/ 2249313 h 3215724"/>
                  <a:gd name="connsiteX6" fmla="*/ 2022571 w 4609879"/>
                  <a:gd name="connsiteY6" fmla="*/ 3185934 h 3215724"/>
                  <a:gd name="connsiteX7" fmla="*/ 3007169 w 4609879"/>
                  <a:gd name="connsiteY7" fmla="*/ 2912190 h 3215724"/>
                  <a:gd name="connsiteX8" fmla="*/ 3743322 w 4609879"/>
                  <a:gd name="connsiteY8" fmla="*/ 2059567 h 3215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09879" h="3215724">
                    <a:moveTo>
                      <a:pt x="3743322" y="2059413"/>
                    </a:moveTo>
                    <a:cubicBezTo>
                      <a:pt x="3845138" y="1663337"/>
                      <a:pt x="4786926" y="1394376"/>
                      <a:pt x="4580365" y="1040414"/>
                    </a:cubicBezTo>
                    <a:cubicBezTo>
                      <a:pt x="4365783" y="673495"/>
                      <a:pt x="3232782" y="29284"/>
                      <a:pt x="2817037" y="1361"/>
                    </a:cubicBezTo>
                    <a:cubicBezTo>
                      <a:pt x="2401292" y="-26560"/>
                      <a:pt x="1921836" y="381934"/>
                      <a:pt x="1568955" y="589575"/>
                    </a:cubicBezTo>
                    <a:cubicBezTo>
                      <a:pt x="1202498" y="805237"/>
                      <a:pt x="108757" y="693858"/>
                      <a:pt x="7791" y="1097493"/>
                    </a:cubicBezTo>
                    <a:cubicBezTo>
                      <a:pt x="-91324" y="1493568"/>
                      <a:pt x="784362" y="1891418"/>
                      <a:pt x="981976" y="2249313"/>
                    </a:cubicBezTo>
                    <a:cubicBezTo>
                      <a:pt x="1265746" y="2765947"/>
                      <a:pt x="1621328" y="3084968"/>
                      <a:pt x="2022571" y="3185934"/>
                    </a:cubicBezTo>
                    <a:cubicBezTo>
                      <a:pt x="2418724" y="3285589"/>
                      <a:pt x="2654827" y="3120217"/>
                      <a:pt x="3007169" y="2912190"/>
                    </a:cubicBezTo>
                    <a:cubicBezTo>
                      <a:pt x="3369229" y="2698533"/>
                      <a:pt x="3640813" y="2458265"/>
                      <a:pt x="3743322" y="205956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617BEB6B-7D29-FE9D-E734-59312DB39E69}"/>
                  </a:ext>
                </a:extLst>
              </p:cNvPr>
              <p:cNvSpPr/>
              <p:nvPr/>
            </p:nvSpPr>
            <p:spPr>
              <a:xfrm>
                <a:off x="3646345" y="2646648"/>
                <a:ext cx="4703818" cy="3313713"/>
              </a:xfrm>
              <a:custGeom>
                <a:avLst/>
                <a:gdLst>
                  <a:gd name="connsiteX0" fmla="*/ 3733681 w 4703818"/>
                  <a:gd name="connsiteY0" fmla="*/ 2114893 h 3313713"/>
                  <a:gd name="connsiteX1" fmla="*/ 4677784 w 4703818"/>
                  <a:gd name="connsiteY1" fmla="*/ 1074915 h 3313713"/>
                  <a:gd name="connsiteX2" fmla="*/ 2783330 w 4703818"/>
                  <a:gd name="connsiteY2" fmla="*/ 1615 h 3313713"/>
                  <a:gd name="connsiteX3" fmla="*/ 1505937 w 4703818"/>
                  <a:gd name="connsiteY3" fmla="*/ 667886 h 3313713"/>
                  <a:gd name="connsiteX4" fmla="*/ 6557 w 4703818"/>
                  <a:gd name="connsiteY4" fmla="*/ 1229411 h 3313713"/>
                  <a:gd name="connsiteX5" fmla="*/ 952280 w 4703818"/>
                  <a:gd name="connsiteY5" fmla="*/ 2285819 h 3313713"/>
                  <a:gd name="connsiteX6" fmla="*/ 1999200 w 4703818"/>
                  <a:gd name="connsiteY6" fmla="*/ 3295947 h 3313713"/>
                  <a:gd name="connsiteX7" fmla="*/ 2933893 w 4703818"/>
                  <a:gd name="connsiteY7" fmla="*/ 2913910 h 3313713"/>
                  <a:gd name="connsiteX8" fmla="*/ 3733681 w 4703818"/>
                  <a:gd name="connsiteY8" fmla="*/ 2114816 h 3313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03818" h="3313713">
                    <a:moveTo>
                      <a:pt x="3733681" y="2114893"/>
                    </a:moveTo>
                    <a:cubicBezTo>
                      <a:pt x="3825777" y="1728690"/>
                      <a:pt x="4881491" y="1423323"/>
                      <a:pt x="4677784" y="1074915"/>
                    </a:cubicBezTo>
                    <a:cubicBezTo>
                      <a:pt x="4456722" y="697428"/>
                      <a:pt x="3205245" y="37019"/>
                      <a:pt x="2783330" y="1615"/>
                    </a:cubicBezTo>
                    <a:cubicBezTo>
                      <a:pt x="2384478" y="-31860"/>
                      <a:pt x="1852725" y="463871"/>
                      <a:pt x="1505937" y="667886"/>
                    </a:cubicBezTo>
                    <a:cubicBezTo>
                      <a:pt x="1128296" y="890105"/>
                      <a:pt x="101738" y="816675"/>
                      <a:pt x="6557" y="1229411"/>
                    </a:cubicBezTo>
                    <a:cubicBezTo>
                      <a:pt x="-82223" y="1614457"/>
                      <a:pt x="756517" y="1935560"/>
                      <a:pt x="952280" y="2285819"/>
                    </a:cubicBezTo>
                    <a:cubicBezTo>
                      <a:pt x="1228877" y="2783324"/>
                      <a:pt x="1588778" y="3200611"/>
                      <a:pt x="1999200" y="3295947"/>
                    </a:cubicBezTo>
                    <a:cubicBezTo>
                      <a:pt x="2384478" y="3385421"/>
                      <a:pt x="2587799" y="3118157"/>
                      <a:pt x="2933893" y="2913910"/>
                    </a:cubicBezTo>
                    <a:cubicBezTo>
                      <a:pt x="3306752" y="2694082"/>
                      <a:pt x="3636494" y="2522076"/>
                      <a:pt x="3733681" y="2114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CFB13854-07FB-8DDF-9136-1A3D28BFF2EC}"/>
                  </a:ext>
                </a:extLst>
              </p:cNvPr>
              <p:cNvSpPr/>
              <p:nvPr/>
            </p:nvSpPr>
            <p:spPr>
              <a:xfrm>
                <a:off x="3706188" y="2596973"/>
                <a:ext cx="4798420" cy="3416920"/>
              </a:xfrm>
              <a:custGeom>
                <a:avLst/>
                <a:gdLst>
                  <a:gd name="connsiteX0" fmla="*/ 3724051 w 4798420"/>
                  <a:gd name="connsiteY0" fmla="*/ 2170199 h 3416920"/>
                  <a:gd name="connsiteX1" fmla="*/ 4775292 w 4798420"/>
                  <a:gd name="connsiteY1" fmla="*/ 1109318 h 3416920"/>
                  <a:gd name="connsiteX2" fmla="*/ 2749635 w 4798420"/>
                  <a:gd name="connsiteY2" fmla="*/ 1848 h 3416920"/>
                  <a:gd name="connsiteX3" fmla="*/ 1442932 w 4798420"/>
                  <a:gd name="connsiteY3" fmla="*/ 746255 h 3416920"/>
                  <a:gd name="connsiteX4" fmla="*/ 5412 w 4798420"/>
                  <a:gd name="connsiteY4" fmla="*/ 1361387 h 3416920"/>
                  <a:gd name="connsiteX5" fmla="*/ 922596 w 4798420"/>
                  <a:gd name="connsiteY5" fmla="*/ 2322304 h 3416920"/>
                  <a:gd name="connsiteX6" fmla="*/ 1975918 w 4798420"/>
                  <a:gd name="connsiteY6" fmla="*/ 3405863 h 3416920"/>
                  <a:gd name="connsiteX7" fmla="*/ 2860706 w 4798420"/>
                  <a:gd name="connsiteY7" fmla="*/ 2915608 h 3416920"/>
                  <a:gd name="connsiteX8" fmla="*/ 3724129 w 4798420"/>
                  <a:gd name="connsiteY8" fmla="*/ 2170122 h 3416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98420" h="3416920">
                    <a:moveTo>
                      <a:pt x="3724051" y="2170199"/>
                    </a:moveTo>
                    <a:cubicBezTo>
                      <a:pt x="3806815" y="1793946"/>
                      <a:pt x="4975991" y="1452172"/>
                      <a:pt x="4775292" y="1109318"/>
                    </a:cubicBezTo>
                    <a:cubicBezTo>
                      <a:pt x="4547751" y="721341"/>
                      <a:pt x="3177798" y="45042"/>
                      <a:pt x="2749635" y="1848"/>
                    </a:cubicBezTo>
                    <a:cubicBezTo>
                      <a:pt x="2364821" y="-36950"/>
                      <a:pt x="1783627" y="545787"/>
                      <a:pt x="1442932" y="746255"/>
                    </a:cubicBezTo>
                    <a:cubicBezTo>
                      <a:pt x="1054030" y="975107"/>
                      <a:pt x="94192" y="939472"/>
                      <a:pt x="5412" y="1361387"/>
                    </a:cubicBezTo>
                    <a:cubicBezTo>
                      <a:pt x="-73263" y="1735248"/>
                      <a:pt x="728761" y="1979759"/>
                      <a:pt x="922596" y="2322304"/>
                    </a:cubicBezTo>
                    <a:cubicBezTo>
                      <a:pt x="1191943" y="2800681"/>
                      <a:pt x="1556163" y="3316697"/>
                      <a:pt x="1975918" y="3405863"/>
                    </a:cubicBezTo>
                    <a:cubicBezTo>
                      <a:pt x="2350320" y="3485463"/>
                      <a:pt x="2520860" y="3115999"/>
                      <a:pt x="2860706" y="2915608"/>
                    </a:cubicBezTo>
                    <a:cubicBezTo>
                      <a:pt x="3244364" y="2689532"/>
                      <a:pt x="3632649" y="2585944"/>
                      <a:pt x="3724129" y="217012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63DF9863-D99E-06D9-FBCB-280EF338D022}"/>
                  </a:ext>
                </a:extLst>
              </p:cNvPr>
              <p:cNvSpPr/>
              <p:nvPr/>
            </p:nvSpPr>
            <p:spPr>
              <a:xfrm>
                <a:off x="3765757" y="2547325"/>
                <a:ext cx="4893698" cy="3522930"/>
              </a:xfrm>
              <a:custGeom>
                <a:avLst/>
                <a:gdLst>
                  <a:gd name="connsiteX0" fmla="*/ 3714695 w 4893698"/>
                  <a:gd name="connsiteY0" fmla="*/ 2225478 h 3522930"/>
                  <a:gd name="connsiteX1" fmla="*/ 4872995 w 4893698"/>
                  <a:gd name="connsiteY1" fmla="*/ 1143693 h 3522930"/>
                  <a:gd name="connsiteX2" fmla="*/ 2716137 w 4893698"/>
                  <a:gd name="connsiteY2" fmla="*/ 2054 h 3522930"/>
                  <a:gd name="connsiteX3" fmla="*/ 1380123 w 4893698"/>
                  <a:gd name="connsiteY3" fmla="*/ 824596 h 3522930"/>
                  <a:gd name="connsiteX4" fmla="*/ 4386 w 4893698"/>
                  <a:gd name="connsiteY4" fmla="*/ 1493335 h 3522930"/>
                  <a:gd name="connsiteX5" fmla="*/ 893031 w 4893698"/>
                  <a:gd name="connsiteY5" fmla="*/ 2358840 h 3522930"/>
                  <a:gd name="connsiteX6" fmla="*/ 1952756 w 4893698"/>
                  <a:gd name="connsiteY6" fmla="*/ 3515905 h 3522930"/>
                  <a:gd name="connsiteX7" fmla="*/ 2787562 w 4893698"/>
                  <a:gd name="connsiteY7" fmla="*/ 2917357 h 3522930"/>
                  <a:gd name="connsiteX8" fmla="*/ 3714541 w 4893698"/>
                  <a:gd name="connsiteY8" fmla="*/ 2225478 h 3522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93698" h="3522930">
                    <a:moveTo>
                      <a:pt x="3714695" y="2225478"/>
                    </a:moveTo>
                    <a:cubicBezTo>
                      <a:pt x="3788357" y="1859175"/>
                      <a:pt x="5070764" y="1480917"/>
                      <a:pt x="4872995" y="1143693"/>
                    </a:cubicBezTo>
                    <a:cubicBezTo>
                      <a:pt x="4639053" y="745149"/>
                      <a:pt x="3150470" y="53347"/>
                      <a:pt x="2716137" y="2054"/>
                    </a:cubicBezTo>
                    <a:cubicBezTo>
                      <a:pt x="2345360" y="-41757"/>
                      <a:pt x="1714801" y="627676"/>
                      <a:pt x="1380123" y="824596"/>
                    </a:cubicBezTo>
                    <a:cubicBezTo>
                      <a:pt x="980036" y="1060081"/>
                      <a:pt x="86455" y="1062164"/>
                      <a:pt x="4386" y="1493335"/>
                    </a:cubicBezTo>
                    <a:cubicBezTo>
                      <a:pt x="-64647" y="1856012"/>
                      <a:pt x="701202" y="2023930"/>
                      <a:pt x="893031" y="2358840"/>
                    </a:cubicBezTo>
                    <a:cubicBezTo>
                      <a:pt x="1155205" y="2818087"/>
                      <a:pt x="1523590" y="3433219"/>
                      <a:pt x="1952756" y="3515905"/>
                    </a:cubicBezTo>
                    <a:cubicBezTo>
                      <a:pt x="2316282" y="3585942"/>
                      <a:pt x="2454040" y="3113968"/>
                      <a:pt x="2787562" y="2917357"/>
                    </a:cubicBezTo>
                    <a:cubicBezTo>
                      <a:pt x="3182018" y="2685033"/>
                      <a:pt x="3629232" y="2649938"/>
                      <a:pt x="3714541" y="22254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7E93EBBF-E3B9-CB6B-84CD-170F1582284C}"/>
                  </a:ext>
                </a:extLst>
              </p:cNvPr>
              <p:cNvSpPr/>
              <p:nvPr/>
            </p:nvSpPr>
            <p:spPr>
              <a:xfrm>
                <a:off x="3825389" y="2497697"/>
                <a:ext cx="4989429" cy="3630406"/>
              </a:xfrm>
              <a:custGeom>
                <a:avLst/>
                <a:gdLst>
                  <a:gd name="connsiteX0" fmla="*/ 3705354 w 4989429"/>
                  <a:gd name="connsiteY0" fmla="*/ 2280737 h 3630406"/>
                  <a:gd name="connsiteX1" fmla="*/ 4970792 w 4989429"/>
                  <a:gd name="connsiteY1" fmla="*/ 1178049 h 3630406"/>
                  <a:gd name="connsiteX2" fmla="*/ 2682730 w 4989429"/>
                  <a:gd name="connsiteY2" fmla="*/ 2241 h 3630406"/>
                  <a:gd name="connsiteX3" fmla="*/ 1317406 w 4989429"/>
                  <a:gd name="connsiteY3" fmla="*/ 902918 h 3630406"/>
                  <a:gd name="connsiteX4" fmla="*/ 3453 w 4989429"/>
                  <a:gd name="connsiteY4" fmla="*/ 1625341 h 3630406"/>
                  <a:gd name="connsiteX5" fmla="*/ 863635 w 4989429"/>
                  <a:gd name="connsiteY5" fmla="*/ 2395433 h 3630406"/>
                  <a:gd name="connsiteX6" fmla="*/ 1929762 w 4989429"/>
                  <a:gd name="connsiteY6" fmla="*/ 3625929 h 3630406"/>
                  <a:gd name="connsiteX7" fmla="*/ 2714663 w 4989429"/>
                  <a:gd name="connsiteY7" fmla="*/ 2919163 h 3630406"/>
                  <a:gd name="connsiteX8" fmla="*/ 3705277 w 4989429"/>
                  <a:gd name="connsiteY8" fmla="*/ 2280814 h 3630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89429" h="3630406">
                    <a:moveTo>
                      <a:pt x="3705354" y="2280737"/>
                    </a:moveTo>
                    <a:cubicBezTo>
                      <a:pt x="3770145" y="1924384"/>
                      <a:pt x="5165629" y="1509720"/>
                      <a:pt x="4970792" y="1178049"/>
                    </a:cubicBezTo>
                    <a:cubicBezTo>
                      <a:pt x="4730370" y="769015"/>
                      <a:pt x="3123080" y="62173"/>
                      <a:pt x="2682730" y="2241"/>
                    </a:cubicBezTo>
                    <a:cubicBezTo>
                      <a:pt x="2325838" y="-46353"/>
                      <a:pt x="1645991" y="709546"/>
                      <a:pt x="1317406" y="902918"/>
                    </a:cubicBezTo>
                    <a:cubicBezTo>
                      <a:pt x="906058" y="1144960"/>
                      <a:pt x="78271" y="1184760"/>
                      <a:pt x="3453" y="1625341"/>
                    </a:cubicBezTo>
                    <a:cubicBezTo>
                      <a:pt x="-56171" y="1976757"/>
                      <a:pt x="673658" y="2068236"/>
                      <a:pt x="863635" y="2395433"/>
                    </a:cubicBezTo>
                    <a:cubicBezTo>
                      <a:pt x="1118636" y="2835628"/>
                      <a:pt x="1491186" y="3550339"/>
                      <a:pt x="1929762" y="3625929"/>
                    </a:cubicBezTo>
                    <a:cubicBezTo>
                      <a:pt x="2282335" y="3686709"/>
                      <a:pt x="2387313" y="3111917"/>
                      <a:pt x="2714663" y="2919163"/>
                    </a:cubicBezTo>
                    <a:cubicBezTo>
                      <a:pt x="3119918" y="2680592"/>
                      <a:pt x="3626525" y="2714067"/>
                      <a:pt x="3705277" y="22808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B88398C1-E65F-EE54-02B8-447715CF0192}"/>
                  </a:ext>
                </a:extLst>
              </p:cNvPr>
              <p:cNvSpPr/>
              <p:nvPr/>
            </p:nvSpPr>
            <p:spPr>
              <a:xfrm>
                <a:off x="3884910" y="2448010"/>
                <a:ext cx="5085470" cy="3738674"/>
              </a:xfrm>
              <a:custGeom>
                <a:avLst/>
                <a:gdLst>
                  <a:gd name="connsiteX0" fmla="*/ 5068621 w 5085470"/>
                  <a:gd name="connsiteY0" fmla="*/ 1212464 h 3738674"/>
                  <a:gd name="connsiteX1" fmla="*/ 2649357 w 5085470"/>
                  <a:gd name="connsiteY1" fmla="*/ 2408 h 3738674"/>
                  <a:gd name="connsiteX2" fmla="*/ 1254723 w 5085470"/>
                  <a:gd name="connsiteY2" fmla="*/ 981143 h 3738674"/>
                  <a:gd name="connsiteX3" fmla="*/ 2629 w 5085470"/>
                  <a:gd name="connsiteY3" fmla="*/ 1757174 h 3738674"/>
                  <a:gd name="connsiteX4" fmla="*/ 834273 w 5085470"/>
                  <a:gd name="connsiteY4" fmla="*/ 2431853 h 3738674"/>
                  <a:gd name="connsiteX5" fmla="*/ 1906801 w 5085470"/>
                  <a:gd name="connsiteY5" fmla="*/ 3735856 h 3738674"/>
                  <a:gd name="connsiteX6" fmla="*/ 2641798 w 5085470"/>
                  <a:gd name="connsiteY6" fmla="*/ 2920796 h 3738674"/>
                  <a:gd name="connsiteX7" fmla="*/ 3696046 w 5085470"/>
                  <a:gd name="connsiteY7" fmla="*/ 2336054 h 3738674"/>
                  <a:gd name="connsiteX8" fmla="*/ 5068621 w 5085470"/>
                  <a:gd name="connsiteY8" fmla="*/ 1212464 h 373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5470" h="3738674">
                    <a:moveTo>
                      <a:pt x="5068621" y="1212464"/>
                    </a:moveTo>
                    <a:cubicBezTo>
                      <a:pt x="4821720" y="792863"/>
                      <a:pt x="3095646" y="71519"/>
                      <a:pt x="2649357" y="2408"/>
                    </a:cubicBezTo>
                    <a:cubicBezTo>
                      <a:pt x="2306348" y="-50736"/>
                      <a:pt x="1577214" y="791397"/>
                      <a:pt x="1254723" y="981143"/>
                    </a:cubicBezTo>
                    <a:cubicBezTo>
                      <a:pt x="832190" y="1229819"/>
                      <a:pt x="69503" y="1307260"/>
                      <a:pt x="2629" y="1757174"/>
                    </a:cubicBezTo>
                    <a:cubicBezTo>
                      <a:pt x="-47970" y="2097406"/>
                      <a:pt x="646301" y="2112292"/>
                      <a:pt x="834273" y="2431853"/>
                    </a:cubicBezTo>
                    <a:cubicBezTo>
                      <a:pt x="1082023" y="2852919"/>
                      <a:pt x="1458738" y="3667825"/>
                      <a:pt x="1906801" y="3735856"/>
                    </a:cubicBezTo>
                    <a:cubicBezTo>
                      <a:pt x="2248499" y="3787689"/>
                      <a:pt x="2320695" y="3109771"/>
                      <a:pt x="2641798" y="2920796"/>
                    </a:cubicBezTo>
                    <a:cubicBezTo>
                      <a:pt x="3057851" y="2675977"/>
                      <a:pt x="3624313" y="2778024"/>
                      <a:pt x="3696046" y="2336054"/>
                    </a:cubicBezTo>
                    <a:cubicBezTo>
                      <a:pt x="3752276" y="1989652"/>
                      <a:pt x="5260450" y="1538503"/>
                      <a:pt x="5068621" y="12124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72" name="Graphic 5">
              <a:extLst>
                <a:ext uri="{FF2B5EF4-FFF2-40B4-BE49-F238E27FC236}">
                  <a16:creationId xmlns:a16="http://schemas.microsoft.com/office/drawing/2014/main" id="{4D629DF2-CCB5-1EF1-98F4-7D41059840C1}"/>
                </a:ext>
              </a:extLst>
            </p:cNvPr>
            <p:cNvGrpSpPr/>
            <p:nvPr/>
          </p:nvGrpSpPr>
          <p:grpSpPr>
            <a:xfrm rot="753948">
              <a:off x="-682780" y="-299489"/>
              <a:ext cx="5854605" cy="7484643"/>
              <a:chOff x="4061078" y="1549502"/>
              <a:chExt cx="3873961" cy="4952549"/>
            </a:xfrm>
            <a:noFill/>
          </p:grpSpPr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0380A91A-AAA4-0AE4-F17E-6E7DE70EA7F2}"/>
                  </a:ext>
                </a:extLst>
              </p:cNvPr>
              <p:cNvSpPr/>
              <p:nvPr/>
            </p:nvSpPr>
            <p:spPr>
              <a:xfrm>
                <a:off x="4475868" y="1549502"/>
                <a:ext cx="3007008" cy="4952549"/>
              </a:xfrm>
              <a:custGeom>
                <a:avLst/>
                <a:gdLst>
                  <a:gd name="connsiteX0" fmla="*/ 2976817 w 3007008"/>
                  <a:gd name="connsiteY0" fmla="*/ 2669180 h 4952549"/>
                  <a:gd name="connsiteX1" fmla="*/ 2432801 w 3007008"/>
                  <a:gd name="connsiteY1" fmla="*/ 1308330 h 4952549"/>
                  <a:gd name="connsiteX2" fmla="*/ 1795840 w 3007008"/>
                  <a:gd name="connsiteY2" fmla="*/ 7 h 4952549"/>
                  <a:gd name="connsiteX3" fmla="*/ 437072 w 3007008"/>
                  <a:gd name="connsiteY3" fmla="*/ 1607682 h 4952549"/>
                  <a:gd name="connsiteX4" fmla="*/ 310112 w 3007008"/>
                  <a:gd name="connsiteY4" fmla="*/ 2718545 h 4952549"/>
                  <a:gd name="connsiteX5" fmla="*/ 413007 w 3007008"/>
                  <a:gd name="connsiteY5" fmla="*/ 3875302 h 4952549"/>
                  <a:gd name="connsiteX6" fmla="*/ 1776248 w 3007008"/>
                  <a:gd name="connsiteY6" fmla="*/ 4952536 h 4952549"/>
                  <a:gd name="connsiteX7" fmla="*/ 2522815 w 3007008"/>
                  <a:gd name="connsiteY7" fmla="*/ 3870057 h 4952549"/>
                  <a:gd name="connsiteX8" fmla="*/ 2976817 w 3007008"/>
                  <a:gd name="connsiteY8" fmla="*/ 2669180 h 4952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07008" h="4952549">
                    <a:moveTo>
                      <a:pt x="2976817" y="2669180"/>
                    </a:moveTo>
                    <a:cubicBezTo>
                      <a:pt x="2795478" y="2205613"/>
                      <a:pt x="2780206" y="1596883"/>
                      <a:pt x="2432801" y="1308330"/>
                    </a:cubicBezTo>
                    <a:cubicBezTo>
                      <a:pt x="2165768" y="1086497"/>
                      <a:pt x="2170087" y="2861"/>
                      <a:pt x="1795840" y="7"/>
                    </a:cubicBezTo>
                    <a:cubicBezTo>
                      <a:pt x="1305585" y="-3772"/>
                      <a:pt x="857599" y="1434442"/>
                      <a:pt x="437072" y="1607682"/>
                    </a:cubicBezTo>
                    <a:cubicBezTo>
                      <a:pt x="-439463" y="1968739"/>
                      <a:pt x="265838" y="2328563"/>
                      <a:pt x="310112" y="2718545"/>
                    </a:cubicBezTo>
                    <a:cubicBezTo>
                      <a:pt x="365185" y="3203940"/>
                      <a:pt x="63519" y="3586749"/>
                      <a:pt x="413007" y="3875302"/>
                    </a:cubicBezTo>
                    <a:cubicBezTo>
                      <a:pt x="679500" y="4095361"/>
                      <a:pt x="1403775" y="4949682"/>
                      <a:pt x="1776248" y="4952536"/>
                    </a:cubicBezTo>
                    <a:cubicBezTo>
                      <a:pt x="2258944" y="4956238"/>
                      <a:pt x="2234184" y="4212294"/>
                      <a:pt x="2522815" y="3870057"/>
                    </a:cubicBezTo>
                    <a:cubicBezTo>
                      <a:pt x="2749045" y="3601790"/>
                      <a:pt x="3114576" y="3021444"/>
                      <a:pt x="2976817" y="266918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F278DE37-F321-D725-3CA5-03D140AD7D0D}"/>
                  </a:ext>
                </a:extLst>
              </p:cNvPr>
              <p:cNvSpPr/>
              <p:nvPr/>
            </p:nvSpPr>
            <p:spPr>
              <a:xfrm>
                <a:off x="4482456" y="1627788"/>
                <a:ext cx="3018571" cy="4778052"/>
              </a:xfrm>
              <a:custGeom>
                <a:avLst/>
                <a:gdLst>
                  <a:gd name="connsiteX0" fmla="*/ 1752691 w 3018571"/>
                  <a:gd name="connsiteY0" fmla="*/ 4776677 h 4778052"/>
                  <a:gd name="connsiteX1" fmla="*/ 2591277 w 3018571"/>
                  <a:gd name="connsiteY1" fmla="*/ 3811826 h 4778052"/>
                  <a:gd name="connsiteX2" fmla="*/ 2984730 w 3018571"/>
                  <a:gd name="connsiteY2" fmla="*/ 2584107 h 4778052"/>
                  <a:gd name="connsiteX3" fmla="*/ 2466168 w 3018571"/>
                  <a:gd name="connsiteY3" fmla="*/ 1202817 h 4778052"/>
                  <a:gd name="connsiteX4" fmla="*/ 1720373 w 3018571"/>
                  <a:gd name="connsiteY4" fmla="*/ 11 h 4778052"/>
                  <a:gd name="connsiteX5" fmla="*/ 440974 w 3018571"/>
                  <a:gd name="connsiteY5" fmla="*/ 1547522 h 4778052"/>
                  <a:gd name="connsiteX6" fmla="*/ 238116 w 3018571"/>
                  <a:gd name="connsiteY6" fmla="*/ 2690858 h 4778052"/>
                  <a:gd name="connsiteX7" fmla="*/ 359985 w 3018571"/>
                  <a:gd name="connsiteY7" fmla="*/ 3853863 h 4778052"/>
                  <a:gd name="connsiteX8" fmla="*/ 1752691 w 3018571"/>
                  <a:gd name="connsiteY8" fmla="*/ 4776754 h 4778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18571" h="4778052">
                    <a:moveTo>
                      <a:pt x="1752691" y="4776677"/>
                    </a:moveTo>
                    <a:cubicBezTo>
                      <a:pt x="2216181" y="4812235"/>
                      <a:pt x="2306966" y="4149435"/>
                      <a:pt x="2591277" y="3811826"/>
                    </a:cubicBezTo>
                    <a:cubicBezTo>
                      <a:pt x="2825220" y="3533917"/>
                      <a:pt x="3119172" y="2944162"/>
                      <a:pt x="2984730" y="2584107"/>
                    </a:cubicBezTo>
                    <a:cubicBezTo>
                      <a:pt x="2815579" y="2131107"/>
                      <a:pt x="2808174" y="1486896"/>
                      <a:pt x="2466168" y="1202817"/>
                    </a:cubicBezTo>
                    <a:cubicBezTo>
                      <a:pt x="2189185" y="972730"/>
                      <a:pt x="2101099" y="-3845"/>
                      <a:pt x="1720373" y="11"/>
                    </a:cubicBezTo>
                    <a:cubicBezTo>
                      <a:pt x="1244079" y="4794"/>
                      <a:pt x="830648" y="1354614"/>
                      <a:pt x="440974" y="1547522"/>
                    </a:cubicBezTo>
                    <a:cubicBezTo>
                      <a:pt x="-382030" y="1955091"/>
                      <a:pt x="190216" y="2298408"/>
                      <a:pt x="238116" y="2690858"/>
                    </a:cubicBezTo>
                    <a:cubicBezTo>
                      <a:pt x="294422" y="3162909"/>
                      <a:pt x="16205" y="3569861"/>
                      <a:pt x="359985" y="3853863"/>
                    </a:cubicBezTo>
                    <a:cubicBezTo>
                      <a:pt x="635965" y="4081944"/>
                      <a:pt x="1362169" y="4746827"/>
                      <a:pt x="1752691" y="47767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AFDB9B08-B4FC-CA0D-4378-A852AF387773}"/>
                  </a:ext>
                </a:extLst>
              </p:cNvPr>
              <p:cNvSpPr/>
              <p:nvPr/>
            </p:nvSpPr>
            <p:spPr>
              <a:xfrm>
                <a:off x="4484173" y="1705758"/>
                <a:ext cx="3036493" cy="4605873"/>
              </a:xfrm>
              <a:custGeom>
                <a:avLst/>
                <a:gdLst>
                  <a:gd name="connsiteX0" fmla="*/ 1734082 w 3036493"/>
                  <a:gd name="connsiteY0" fmla="*/ 4601058 h 4605873"/>
                  <a:gd name="connsiteX1" fmla="*/ 2664764 w 3036493"/>
                  <a:gd name="connsiteY1" fmla="*/ 3753833 h 4605873"/>
                  <a:gd name="connsiteX2" fmla="*/ 2997591 w 3036493"/>
                  <a:gd name="connsiteY2" fmla="*/ 2499272 h 4605873"/>
                  <a:gd name="connsiteX3" fmla="*/ 2504559 w 3036493"/>
                  <a:gd name="connsiteY3" fmla="*/ 1097465 h 4605873"/>
                  <a:gd name="connsiteX4" fmla="*/ 1649930 w 3036493"/>
                  <a:gd name="connsiteY4" fmla="*/ 100 h 4605873"/>
                  <a:gd name="connsiteX5" fmla="*/ 449901 w 3036493"/>
                  <a:gd name="connsiteY5" fmla="*/ 1487524 h 4605873"/>
                  <a:gd name="connsiteX6" fmla="*/ 171221 w 3036493"/>
                  <a:gd name="connsiteY6" fmla="*/ 2663410 h 4605873"/>
                  <a:gd name="connsiteX7" fmla="*/ 311988 w 3036493"/>
                  <a:gd name="connsiteY7" fmla="*/ 3832586 h 4605873"/>
                  <a:gd name="connsiteX8" fmla="*/ 1734159 w 3036493"/>
                  <a:gd name="connsiteY8" fmla="*/ 4601135 h 46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36493" h="4605873">
                    <a:moveTo>
                      <a:pt x="1734082" y="4601058"/>
                    </a:moveTo>
                    <a:cubicBezTo>
                      <a:pt x="2177440" y="4664460"/>
                      <a:pt x="2384618" y="4086814"/>
                      <a:pt x="2664764" y="3753833"/>
                    </a:cubicBezTo>
                    <a:cubicBezTo>
                      <a:pt x="2906420" y="3466283"/>
                      <a:pt x="3128562" y="2867271"/>
                      <a:pt x="2997591" y="2499272"/>
                    </a:cubicBezTo>
                    <a:cubicBezTo>
                      <a:pt x="2840240" y="2056917"/>
                      <a:pt x="2841089" y="1377070"/>
                      <a:pt x="2504559" y="1097465"/>
                    </a:cubicBezTo>
                    <a:cubicBezTo>
                      <a:pt x="2217549" y="859048"/>
                      <a:pt x="2037290" y="-10699"/>
                      <a:pt x="1649930" y="100"/>
                    </a:cubicBezTo>
                    <a:cubicBezTo>
                      <a:pt x="1187597" y="12981"/>
                      <a:pt x="808491" y="1275410"/>
                      <a:pt x="449901" y="1487524"/>
                    </a:cubicBezTo>
                    <a:cubicBezTo>
                      <a:pt x="-320113" y="1942838"/>
                      <a:pt x="120622" y="2268337"/>
                      <a:pt x="171221" y="2663410"/>
                    </a:cubicBezTo>
                    <a:cubicBezTo>
                      <a:pt x="229996" y="3121963"/>
                      <a:pt x="-26007" y="3553212"/>
                      <a:pt x="311988" y="3832586"/>
                    </a:cubicBezTo>
                    <a:cubicBezTo>
                      <a:pt x="597533" y="4068688"/>
                      <a:pt x="1324122" y="4542514"/>
                      <a:pt x="1734159" y="460113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494E9BF6-35EB-2D3D-978A-1A72C7067167}"/>
                  </a:ext>
                </a:extLst>
              </p:cNvPr>
              <p:cNvSpPr/>
              <p:nvPr/>
            </p:nvSpPr>
            <p:spPr>
              <a:xfrm>
                <a:off x="4477865" y="1783678"/>
                <a:ext cx="3064583" cy="4435839"/>
              </a:xfrm>
              <a:custGeom>
                <a:avLst/>
                <a:gdLst>
                  <a:gd name="connsiteX0" fmla="*/ 1723421 w 3064583"/>
                  <a:gd name="connsiteY0" fmla="*/ 4425487 h 4435839"/>
                  <a:gd name="connsiteX1" fmla="*/ 2746122 w 3064583"/>
                  <a:gd name="connsiteY1" fmla="*/ 3695890 h 4435839"/>
                  <a:gd name="connsiteX2" fmla="*/ 3018400 w 3064583"/>
                  <a:gd name="connsiteY2" fmla="*/ 2414487 h 4435839"/>
                  <a:gd name="connsiteX3" fmla="*/ 2550822 w 3064583"/>
                  <a:gd name="connsiteY3" fmla="*/ 992240 h 4435839"/>
                  <a:gd name="connsiteX4" fmla="*/ 1587359 w 3064583"/>
                  <a:gd name="connsiteY4" fmla="*/ 315 h 4435839"/>
                  <a:gd name="connsiteX5" fmla="*/ 466700 w 3064583"/>
                  <a:gd name="connsiteY5" fmla="*/ 1427576 h 4435839"/>
                  <a:gd name="connsiteX6" fmla="*/ 112198 w 3064583"/>
                  <a:gd name="connsiteY6" fmla="*/ 2635935 h 4435839"/>
                  <a:gd name="connsiteX7" fmla="*/ 271940 w 3064583"/>
                  <a:gd name="connsiteY7" fmla="*/ 3811281 h 4435839"/>
                  <a:gd name="connsiteX8" fmla="*/ 1723498 w 3064583"/>
                  <a:gd name="connsiteY8" fmla="*/ 4425487 h 4435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64583" h="4435839">
                    <a:moveTo>
                      <a:pt x="1723421" y="4425487"/>
                    </a:moveTo>
                    <a:cubicBezTo>
                      <a:pt x="2146185" y="4513187"/>
                      <a:pt x="2470296" y="4024167"/>
                      <a:pt x="2746122" y="3695890"/>
                    </a:cubicBezTo>
                    <a:cubicBezTo>
                      <a:pt x="2995492" y="3398699"/>
                      <a:pt x="3145592" y="2790508"/>
                      <a:pt x="3018400" y="2414487"/>
                    </a:cubicBezTo>
                    <a:cubicBezTo>
                      <a:pt x="2872465" y="1983084"/>
                      <a:pt x="2881952" y="1267371"/>
                      <a:pt x="2550822" y="992240"/>
                    </a:cubicBezTo>
                    <a:cubicBezTo>
                      <a:pt x="2253785" y="745493"/>
                      <a:pt x="1981275" y="-17734"/>
                      <a:pt x="1587359" y="315"/>
                    </a:cubicBezTo>
                    <a:cubicBezTo>
                      <a:pt x="1138987" y="20832"/>
                      <a:pt x="794205" y="1197181"/>
                      <a:pt x="466700" y="1427576"/>
                    </a:cubicBezTo>
                    <a:cubicBezTo>
                      <a:pt x="-250479" y="1932100"/>
                      <a:pt x="58205" y="2238316"/>
                      <a:pt x="112198" y="2635935"/>
                    </a:cubicBezTo>
                    <a:cubicBezTo>
                      <a:pt x="172593" y="3081144"/>
                      <a:pt x="-60347" y="3536534"/>
                      <a:pt x="271940" y="3811281"/>
                    </a:cubicBezTo>
                    <a:cubicBezTo>
                      <a:pt x="566972" y="4055483"/>
                      <a:pt x="1293253" y="4336245"/>
                      <a:pt x="1723498" y="442548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AEA647B5-45AA-D643-4215-78A0A4590119}"/>
                  </a:ext>
                </a:extLst>
              </p:cNvPr>
              <p:cNvSpPr/>
              <p:nvPr/>
            </p:nvSpPr>
            <p:spPr>
              <a:xfrm>
                <a:off x="4460130" y="1861400"/>
                <a:ext cx="3107969" cy="4268490"/>
              </a:xfrm>
              <a:custGeom>
                <a:avLst/>
                <a:gdLst>
                  <a:gd name="connsiteX0" fmla="*/ 1724263 w 3107969"/>
                  <a:gd name="connsiteY0" fmla="*/ 4250116 h 4268490"/>
                  <a:gd name="connsiteX1" fmla="*/ 2838983 w 3107969"/>
                  <a:gd name="connsiteY1" fmla="*/ 3638145 h 4268490"/>
                  <a:gd name="connsiteX2" fmla="*/ 3050712 w 3107969"/>
                  <a:gd name="connsiteY2" fmla="*/ 2329900 h 4268490"/>
                  <a:gd name="connsiteX3" fmla="*/ 2608666 w 3107969"/>
                  <a:gd name="connsiteY3" fmla="*/ 887212 h 4268490"/>
                  <a:gd name="connsiteX4" fmla="*/ 1536291 w 3107969"/>
                  <a:gd name="connsiteY4" fmla="*/ 728 h 4268490"/>
                  <a:gd name="connsiteX5" fmla="*/ 495001 w 3107969"/>
                  <a:gd name="connsiteY5" fmla="*/ 1367826 h 4268490"/>
                  <a:gd name="connsiteX6" fmla="*/ 64601 w 3107969"/>
                  <a:gd name="connsiteY6" fmla="*/ 2608657 h 4268490"/>
                  <a:gd name="connsiteX7" fmla="*/ 243317 w 3107969"/>
                  <a:gd name="connsiteY7" fmla="*/ 3790251 h 4268490"/>
                  <a:gd name="connsiteX8" fmla="*/ 1724340 w 3107969"/>
                  <a:gd name="connsiteY8" fmla="*/ 4250116 h 4268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07969" h="4268490">
                    <a:moveTo>
                      <a:pt x="1724263" y="4250116"/>
                    </a:moveTo>
                    <a:cubicBezTo>
                      <a:pt x="2126510" y="4359027"/>
                      <a:pt x="2567400" y="3961794"/>
                      <a:pt x="2838983" y="3638145"/>
                    </a:cubicBezTo>
                    <a:cubicBezTo>
                      <a:pt x="3096066" y="3331235"/>
                      <a:pt x="3173893" y="2714020"/>
                      <a:pt x="3050712" y="2329900"/>
                    </a:cubicBezTo>
                    <a:cubicBezTo>
                      <a:pt x="2915808" y="1909528"/>
                      <a:pt x="2934396" y="1157793"/>
                      <a:pt x="2608666" y="887212"/>
                    </a:cubicBezTo>
                    <a:cubicBezTo>
                      <a:pt x="2301601" y="632135"/>
                      <a:pt x="1936918" y="-24880"/>
                      <a:pt x="1536291" y="728"/>
                    </a:cubicBezTo>
                    <a:cubicBezTo>
                      <a:pt x="1101957" y="28496"/>
                      <a:pt x="791576" y="1119844"/>
                      <a:pt x="495001" y="1367826"/>
                    </a:cubicBezTo>
                    <a:cubicBezTo>
                      <a:pt x="-169265" y="1923180"/>
                      <a:pt x="7215" y="2208570"/>
                      <a:pt x="64601" y="2608657"/>
                    </a:cubicBezTo>
                    <a:cubicBezTo>
                      <a:pt x="126539" y="3040445"/>
                      <a:pt x="-83262" y="3520055"/>
                      <a:pt x="243317" y="3790251"/>
                    </a:cubicBezTo>
                    <a:cubicBezTo>
                      <a:pt x="547914" y="4042475"/>
                      <a:pt x="1273500" y="4128092"/>
                      <a:pt x="1724340" y="42501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844E6CA-0087-2744-C058-3DE44AA345A1}"/>
                  </a:ext>
                </a:extLst>
              </p:cNvPr>
              <p:cNvSpPr/>
              <p:nvPr/>
            </p:nvSpPr>
            <p:spPr>
              <a:xfrm>
                <a:off x="4426209" y="1938811"/>
                <a:ext cx="3173562" cy="4104897"/>
              </a:xfrm>
              <a:custGeom>
                <a:avLst/>
                <a:gdLst>
                  <a:gd name="connsiteX0" fmla="*/ 1741215 w 3173562"/>
                  <a:gd name="connsiteY0" fmla="*/ 4075055 h 4104897"/>
                  <a:gd name="connsiteX1" fmla="*/ 2947955 w 3173562"/>
                  <a:gd name="connsiteY1" fmla="*/ 3580712 h 4104897"/>
                  <a:gd name="connsiteX2" fmla="*/ 3099057 w 3173562"/>
                  <a:gd name="connsiteY2" fmla="*/ 2245625 h 4104897"/>
                  <a:gd name="connsiteX3" fmla="*/ 2682464 w 3173562"/>
                  <a:gd name="connsiteY3" fmla="*/ 782497 h 4104897"/>
                  <a:gd name="connsiteX4" fmla="*/ 1501255 w 3173562"/>
                  <a:gd name="connsiteY4" fmla="*/ 1452 h 4104897"/>
                  <a:gd name="connsiteX5" fmla="*/ 539335 w 3173562"/>
                  <a:gd name="connsiteY5" fmla="*/ 1308387 h 4104897"/>
                  <a:gd name="connsiteX6" fmla="*/ 33114 w 3173562"/>
                  <a:gd name="connsiteY6" fmla="*/ 2581691 h 4104897"/>
                  <a:gd name="connsiteX7" fmla="*/ 230727 w 3173562"/>
                  <a:gd name="connsiteY7" fmla="*/ 3769455 h 4104897"/>
                  <a:gd name="connsiteX8" fmla="*/ 1741215 w 3173562"/>
                  <a:gd name="connsiteY8" fmla="*/ 4074978 h 4104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73562" h="4104897">
                    <a:moveTo>
                      <a:pt x="1741215" y="4075055"/>
                    </a:moveTo>
                    <a:cubicBezTo>
                      <a:pt x="2123407" y="4202555"/>
                      <a:pt x="2680613" y="3899655"/>
                      <a:pt x="2947955" y="3580712"/>
                    </a:cubicBezTo>
                    <a:cubicBezTo>
                      <a:pt x="3212750" y="3264160"/>
                      <a:pt x="3218073" y="2637921"/>
                      <a:pt x="3099057" y="2245625"/>
                    </a:cubicBezTo>
                    <a:cubicBezTo>
                      <a:pt x="2974874" y="1836359"/>
                      <a:pt x="3002796" y="1048604"/>
                      <a:pt x="2682464" y="782497"/>
                    </a:cubicBezTo>
                    <a:cubicBezTo>
                      <a:pt x="2365449" y="519089"/>
                      <a:pt x="1908516" y="-31946"/>
                      <a:pt x="1501255" y="1452"/>
                    </a:cubicBezTo>
                    <a:cubicBezTo>
                      <a:pt x="1080960" y="36008"/>
                      <a:pt x="805288" y="1043668"/>
                      <a:pt x="539335" y="1308387"/>
                    </a:cubicBezTo>
                    <a:cubicBezTo>
                      <a:pt x="-71324" y="1916191"/>
                      <a:pt x="-27821" y="2179059"/>
                      <a:pt x="33114" y="2581691"/>
                    </a:cubicBezTo>
                    <a:cubicBezTo>
                      <a:pt x="96440" y="3000135"/>
                      <a:pt x="-90144" y="3503888"/>
                      <a:pt x="230727" y="3769455"/>
                    </a:cubicBezTo>
                    <a:cubicBezTo>
                      <a:pt x="544811" y="4029701"/>
                      <a:pt x="1270089" y="3917782"/>
                      <a:pt x="1741215" y="40749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75CCE959-3BD3-C8BA-90C6-BEDD2F40D91E}"/>
                  </a:ext>
                </a:extLst>
              </p:cNvPr>
              <p:cNvSpPr/>
              <p:nvPr/>
            </p:nvSpPr>
            <p:spPr>
              <a:xfrm>
                <a:off x="4376099" y="2015664"/>
                <a:ext cx="3263713" cy="3947335"/>
              </a:xfrm>
              <a:custGeom>
                <a:avLst/>
                <a:gdLst>
                  <a:gd name="connsiteX0" fmla="*/ 1774433 w 3263713"/>
                  <a:gd name="connsiteY0" fmla="*/ 3900552 h 3947335"/>
                  <a:gd name="connsiteX1" fmla="*/ 3073192 w 3263713"/>
                  <a:gd name="connsiteY1" fmla="*/ 3523836 h 3947335"/>
                  <a:gd name="connsiteX2" fmla="*/ 3163745 w 3263713"/>
                  <a:gd name="connsiteY2" fmla="*/ 2161907 h 3947335"/>
                  <a:gd name="connsiteX3" fmla="*/ 2772683 w 3263713"/>
                  <a:gd name="connsiteY3" fmla="*/ 678262 h 3947335"/>
                  <a:gd name="connsiteX4" fmla="*/ 1482563 w 3263713"/>
                  <a:gd name="connsiteY4" fmla="*/ 2735 h 3947335"/>
                  <a:gd name="connsiteX5" fmla="*/ 600012 w 3263713"/>
                  <a:gd name="connsiteY5" fmla="*/ 1249583 h 3947335"/>
                  <a:gd name="connsiteX6" fmla="*/ 17970 w 3263713"/>
                  <a:gd name="connsiteY6" fmla="*/ 2555437 h 3947335"/>
                  <a:gd name="connsiteX7" fmla="*/ 234558 w 3263713"/>
                  <a:gd name="connsiteY7" fmla="*/ 3749449 h 3947335"/>
                  <a:gd name="connsiteX8" fmla="*/ 1774433 w 3263713"/>
                  <a:gd name="connsiteY8" fmla="*/ 3900629 h 394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3713" h="3947335">
                    <a:moveTo>
                      <a:pt x="1774433" y="3900552"/>
                    </a:moveTo>
                    <a:cubicBezTo>
                      <a:pt x="2137188" y="4044635"/>
                      <a:pt x="2810169" y="3838151"/>
                      <a:pt x="3073192" y="3523836"/>
                    </a:cubicBezTo>
                    <a:cubicBezTo>
                      <a:pt x="3345701" y="3197643"/>
                      <a:pt x="3278210" y="2562533"/>
                      <a:pt x="3163745" y="2161907"/>
                    </a:cubicBezTo>
                    <a:cubicBezTo>
                      <a:pt x="3049975" y="1763902"/>
                      <a:pt x="3087538" y="939895"/>
                      <a:pt x="2772683" y="678262"/>
                    </a:cubicBezTo>
                    <a:cubicBezTo>
                      <a:pt x="2445641" y="406524"/>
                      <a:pt x="1896534" y="-38994"/>
                      <a:pt x="1482563" y="2735"/>
                    </a:cubicBezTo>
                    <a:cubicBezTo>
                      <a:pt x="1068593" y="44463"/>
                      <a:pt x="835884" y="968666"/>
                      <a:pt x="600012" y="1249583"/>
                    </a:cubicBezTo>
                    <a:cubicBezTo>
                      <a:pt x="44118" y="1911380"/>
                      <a:pt x="-46590" y="2150260"/>
                      <a:pt x="17970" y="2555437"/>
                    </a:cubicBezTo>
                    <a:cubicBezTo>
                      <a:pt x="82530" y="2960460"/>
                      <a:pt x="-80606" y="3488355"/>
                      <a:pt x="234558" y="3749449"/>
                    </a:cubicBezTo>
                    <a:cubicBezTo>
                      <a:pt x="558206" y="4017716"/>
                      <a:pt x="1283870" y="3705792"/>
                      <a:pt x="1774433" y="39006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5535C263-8A9F-6826-DC92-A62140FD5A1D}"/>
                  </a:ext>
                </a:extLst>
              </p:cNvPr>
              <p:cNvSpPr/>
              <p:nvPr/>
            </p:nvSpPr>
            <p:spPr>
              <a:xfrm>
                <a:off x="4316854" y="2091550"/>
                <a:ext cx="3371549" cy="3814147"/>
              </a:xfrm>
              <a:custGeom>
                <a:avLst/>
                <a:gdLst>
                  <a:gd name="connsiteX0" fmla="*/ 1816709 w 3371549"/>
                  <a:gd name="connsiteY0" fmla="*/ 3727016 h 3814147"/>
                  <a:gd name="connsiteX1" fmla="*/ 3207564 w 3371549"/>
                  <a:gd name="connsiteY1" fmla="*/ 3467928 h 3814147"/>
                  <a:gd name="connsiteX2" fmla="*/ 3237568 w 3371549"/>
                  <a:gd name="connsiteY2" fmla="*/ 2079156 h 3814147"/>
                  <a:gd name="connsiteX3" fmla="*/ 2871960 w 3371549"/>
                  <a:gd name="connsiteY3" fmla="*/ 575071 h 3814147"/>
                  <a:gd name="connsiteX4" fmla="*/ 1473006 w 3371549"/>
                  <a:gd name="connsiteY4" fmla="*/ 4984 h 3814147"/>
                  <a:gd name="connsiteX5" fmla="*/ 669824 w 3371549"/>
                  <a:gd name="connsiteY5" fmla="*/ 1191668 h 3814147"/>
                  <a:gd name="connsiteX6" fmla="*/ 11883 w 3371549"/>
                  <a:gd name="connsiteY6" fmla="*/ 2529996 h 3814147"/>
                  <a:gd name="connsiteX7" fmla="*/ 247369 w 3371549"/>
                  <a:gd name="connsiteY7" fmla="*/ 3730178 h 3814147"/>
                  <a:gd name="connsiteX8" fmla="*/ 1816709 w 3371549"/>
                  <a:gd name="connsiteY8" fmla="*/ 3727016 h 3814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1549" h="3814147">
                    <a:moveTo>
                      <a:pt x="1816709" y="3727016"/>
                    </a:moveTo>
                    <a:cubicBezTo>
                      <a:pt x="2160874" y="3886063"/>
                      <a:pt x="2948707" y="3777615"/>
                      <a:pt x="3207564" y="3467928"/>
                    </a:cubicBezTo>
                    <a:cubicBezTo>
                      <a:pt x="3487786" y="3132092"/>
                      <a:pt x="3347173" y="2488190"/>
                      <a:pt x="3237568" y="2079156"/>
                    </a:cubicBezTo>
                    <a:cubicBezTo>
                      <a:pt x="3133902" y="1692567"/>
                      <a:pt x="3181416" y="832231"/>
                      <a:pt x="2871960" y="575071"/>
                    </a:cubicBezTo>
                    <a:cubicBezTo>
                      <a:pt x="2534890" y="295002"/>
                      <a:pt x="1893533" y="-45307"/>
                      <a:pt x="1473006" y="4984"/>
                    </a:cubicBezTo>
                    <a:cubicBezTo>
                      <a:pt x="1080710" y="51880"/>
                      <a:pt x="876308" y="895248"/>
                      <a:pt x="669824" y="1191668"/>
                    </a:cubicBezTo>
                    <a:cubicBezTo>
                      <a:pt x="170313" y="1908693"/>
                      <a:pt x="-56379" y="2122427"/>
                      <a:pt x="11883" y="2529996"/>
                    </a:cubicBezTo>
                    <a:cubicBezTo>
                      <a:pt x="80145" y="2937564"/>
                      <a:pt x="-62010" y="3473713"/>
                      <a:pt x="247369" y="3730178"/>
                    </a:cubicBezTo>
                    <a:cubicBezTo>
                      <a:pt x="580505" y="4006544"/>
                      <a:pt x="1307942" y="3491916"/>
                      <a:pt x="1816709" y="37270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40A8EDE1-E4F7-5C3F-9116-E170C2E35D62}"/>
                  </a:ext>
                </a:extLst>
              </p:cNvPr>
              <p:cNvSpPr/>
              <p:nvPr/>
            </p:nvSpPr>
            <p:spPr>
              <a:xfrm>
                <a:off x="4254170" y="2165535"/>
                <a:ext cx="3489733" cy="3780696"/>
              </a:xfrm>
              <a:custGeom>
                <a:avLst/>
                <a:gdLst>
                  <a:gd name="connsiteX0" fmla="*/ 1862424 w 3489733"/>
                  <a:gd name="connsiteY0" fmla="*/ 3555381 h 3780696"/>
                  <a:gd name="connsiteX1" fmla="*/ 3345298 w 3489733"/>
                  <a:gd name="connsiteY1" fmla="*/ 3413920 h 3780696"/>
                  <a:gd name="connsiteX2" fmla="*/ 3314677 w 3489733"/>
                  <a:gd name="connsiteY2" fmla="*/ 1998383 h 3780696"/>
                  <a:gd name="connsiteX3" fmla="*/ 2974599 w 3489733"/>
                  <a:gd name="connsiteY3" fmla="*/ 473858 h 3780696"/>
                  <a:gd name="connsiteX4" fmla="*/ 1466734 w 3489733"/>
                  <a:gd name="connsiteY4" fmla="*/ 9211 h 3780696"/>
                  <a:gd name="connsiteX5" fmla="*/ 742922 w 3489733"/>
                  <a:gd name="connsiteY5" fmla="*/ 1135733 h 3780696"/>
                  <a:gd name="connsiteX6" fmla="*/ 9159 w 3489733"/>
                  <a:gd name="connsiteY6" fmla="*/ 2506532 h 3780696"/>
                  <a:gd name="connsiteX7" fmla="*/ 263620 w 3489733"/>
                  <a:gd name="connsiteY7" fmla="*/ 3712886 h 3780696"/>
                  <a:gd name="connsiteX8" fmla="*/ 1862424 w 3489733"/>
                  <a:gd name="connsiteY8" fmla="*/ 3555381 h 3780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9733" h="3780696">
                    <a:moveTo>
                      <a:pt x="1862424" y="3555381"/>
                    </a:moveTo>
                    <a:cubicBezTo>
                      <a:pt x="2188927" y="3728158"/>
                      <a:pt x="3090761" y="3718902"/>
                      <a:pt x="3345298" y="3413920"/>
                    </a:cubicBezTo>
                    <a:cubicBezTo>
                      <a:pt x="3633311" y="3068443"/>
                      <a:pt x="3419114" y="2415825"/>
                      <a:pt x="3314677" y="1998383"/>
                    </a:cubicBezTo>
                    <a:cubicBezTo>
                      <a:pt x="3220807" y="1623210"/>
                      <a:pt x="3278656" y="726467"/>
                      <a:pt x="2974599" y="473858"/>
                    </a:cubicBezTo>
                    <a:cubicBezTo>
                      <a:pt x="2627580" y="185459"/>
                      <a:pt x="1893894" y="-50104"/>
                      <a:pt x="1466734" y="9211"/>
                    </a:cubicBezTo>
                    <a:cubicBezTo>
                      <a:pt x="1088321" y="61816"/>
                      <a:pt x="920789" y="824040"/>
                      <a:pt x="742922" y="1135733"/>
                    </a:cubicBezTo>
                    <a:cubicBezTo>
                      <a:pt x="301800" y="1908755"/>
                      <a:pt x="-63037" y="2096496"/>
                      <a:pt x="9159" y="2506532"/>
                    </a:cubicBezTo>
                    <a:cubicBezTo>
                      <a:pt x="75802" y="2884945"/>
                      <a:pt x="-40051" y="3461048"/>
                      <a:pt x="263620" y="3712886"/>
                    </a:cubicBezTo>
                    <a:cubicBezTo>
                      <a:pt x="606320" y="3997273"/>
                      <a:pt x="1337228" y="3277473"/>
                      <a:pt x="1862424" y="355538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9FA4D2B6-CE94-12B5-0A3D-9C7895DAF210}"/>
                  </a:ext>
                </a:extLst>
              </p:cNvPr>
              <p:cNvSpPr/>
              <p:nvPr/>
            </p:nvSpPr>
            <p:spPr>
              <a:xfrm>
                <a:off x="4190357" y="2234963"/>
                <a:ext cx="3614123" cy="3758010"/>
              </a:xfrm>
              <a:custGeom>
                <a:avLst/>
                <a:gdLst>
                  <a:gd name="connsiteX0" fmla="*/ 1909345 w 3614123"/>
                  <a:gd name="connsiteY0" fmla="*/ 3388303 h 3758010"/>
                  <a:gd name="connsiteX1" fmla="*/ 3484238 w 3614123"/>
                  <a:gd name="connsiteY1" fmla="*/ 3364469 h 3758010"/>
                  <a:gd name="connsiteX2" fmla="*/ 3393067 w 3614123"/>
                  <a:gd name="connsiteY2" fmla="*/ 1922090 h 3758010"/>
                  <a:gd name="connsiteX3" fmla="*/ 3078443 w 3614123"/>
                  <a:gd name="connsiteY3" fmla="*/ 377125 h 3758010"/>
                  <a:gd name="connsiteX4" fmla="*/ 1461744 w 3614123"/>
                  <a:gd name="connsiteY4" fmla="*/ 17919 h 3758010"/>
                  <a:gd name="connsiteX5" fmla="*/ 817301 w 3614123"/>
                  <a:gd name="connsiteY5" fmla="*/ 1084276 h 3758010"/>
                  <a:gd name="connsiteX6" fmla="*/ 7718 w 3614123"/>
                  <a:gd name="connsiteY6" fmla="*/ 2487549 h 3758010"/>
                  <a:gd name="connsiteX7" fmla="*/ 281153 w 3614123"/>
                  <a:gd name="connsiteY7" fmla="*/ 3700150 h 3758010"/>
                  <a:gd name="connsiteX8" fmla="*/ 1909345 w 3614123"/>
                  <a:gd name="connsiteY8" fmla="*/ 3388303 h 3758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14123" h="3758010">
                    <a:moveTo>
                      <a:pt x="1909345" y="3388303"/>
                    </a:moveTo>
                    <a:cubicBezTo>
                      <a:pt x="2219418" y="3574116"/>
                      <a:pt x="3233943" y="3664824"/>
                      <a:pt x="3484238" y="3364469"/>
                    </a:cubicBezTo>
                    <a:cubicBezTo>
                      <a:pt x="3779964" y="3009351"/>
                      <a:pt x="3491874" y="2348094"/>
                      <a:pt x="3393067" y="1922090"/>
                    </a:cubicBezTo>
                    <a:cubicBezTo>
                      <a:pt x="3308684" y="1558333"/>
                      <a:pt x="3377101" y="625260"/>
                      <a:pt x="3078443" y="377125"/>
                    </a:cubicBezTo>
                    <a:cubicBezTo>
                      <a:pt x="2721397" y="80473"/>
                      <a:pt x="1895307" y="-50884"/>
                      <a:pt x="1461744" y="17919"/>
                    </a:cubicBezTo>
                    <a:cubicBezTo>
                      <a:pt x="1097138" y="75845"/>
                      <a:pt x="967324" y="757388"/>
                      <a:pt x="817301" y="1084276"/>
                    </a:cubicBezTo>
                    <a:cubicBezTo>
                      <a:pt x="436652" y="1913683"/>
                      <a:pt x="-68566" y="2075121"/>
                      <a:pt x="7718" y="2487549"/>
                    </a:cubicBezTo>
                    <a:cubicBezTo>
                      <a:pt x="75286" y="2852695"/>
                      <a:pt x="-16810" y="3452863"/>
                      <a:pt x="281153" y="3700150"/>
                    </a:cubicBezTo>
                    <a:cubicBezTo>
                      <a:pt x="633340" y="3992560"/>
                      <a:pt x="1370034" y="3065041"/>
                      <a:pt x="1909345" y="3388303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C2FF3BD2-17D5-5A79-2795-B07C9FA73C95}"/>
                  </a:ext>
                </a:extLst>
              </p:cNvPr>
              <p:cNvSpPr/>
              <p:nvPr/>
            </p:nvSpPr>
            <p:spPr>
              <a:xfrm>
                <a:off x="4125770" y="2293347"/>
                <a:ext cx="3742715" cy="3749606"/>
              </a:xfrm>
              <a:custGeom>
                <a:avLst/>
                <a:gdLst>
                  <a:gd name="connsiteX0" fmla="*/ 1956963 w 3742715"/>
                  <a:gd name="connsiteY0" fmla="*/ 3232269 h 3749606"/>
                  <a:gd name="connsiteX1" fmla="*/ 3623876 w 3742715"/>
                  <a:gd name="connsiteY1" fmla="*/ 3326063 h 3749606"/>
                  <a:gd name="connsiteX2" fmla="*/ 3472155 w 3742715"/>
                  <a:gd name="connsiteY2" fmla="*/ 1856842 h 3749606"/>
                  <a:gd name="connsiteX3" fmla="*/ 3183063 w 3742715"/>
                  <a:gd name="connsiteY3" fmla="*/ 291359 h 3749606"/>
                  <a:gd name="connsiteX4" fmla="*/ 1457529 w 3742715"/>
                  <a:gd name="connsiteY4" fmla="*/ 37593 h 3749606"/>
                  <a:gd name="connsiteX5" fmla="*/ 892456 w 3742715"/>
                  <a:gd name="connsiteY5" fmla="*/ 1043864 h 3749606"/>
                  <a:gd name="connsiteX6" fmla="*/ 6974 w 3742715"/>
                  <a:gd name="connsiteY6" fmla="*/ 2479687 h 3749606"/>
                  <a:gd name="connsiteX7" fmla="*/ 299306 w 3742715"/>
                  <a:gd name="connsiteY7" fmla="*/ 3698459 h 3749606"/>
                  <a:gd name="connsiteX8" fmla="*/ 1956963 w 3742715"/>
                  <a:gd name="connsiteY8" fmla="*/ 3232269 h 3749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42715" h="3749606">
                    <a:moveTo>
                      <a:pt x="1956963" y="3232269"/>
                    </a:moveTo>
                    <a:cubicBezTo>
                      <a:pt x="2251687" y="3430655"/>
                      <a:pt x="3377822" y="3621712"/>
                      <a:pt x="3623876" y="3326063"/>
                    </a:cubicBezTo>
                    <a:cubicBezTo>
                      <a:pt x="3927315" y="2961226"/>
                      <a:pt x="3564869" y="2291484"/>
                      <a:pt x="3472155" y="1856842"/>
                    </a:cubicBezTo>
                    <a:cubicBezTo>
                      <a:pt x="3397028" y="1504577"/>
                      <a:pt x="3476244" y="535021"/>
                      <a:pt x="3183063" y="291359"/>
                    </a:cubicBezTo>
                    <a:cubicBezTo>
                      <a:pt x="2815989" y="-13623"/>
                      <a:pt x="1897339" y="-41237"/>
                      <a:pt x="1457529" y="37593"/>
                    </a:cubicBezTo>
                    <a:cubicBezTo>
                      <a:pt x="1106653" y="100533"/>
                      <a:pt x="1015405" y="701550"/>
                      <a:pt x="892456" y="1043864"/>
                    </a:cubicBezTo>
                    <a:cubicBezTo>
                      <a:pt x="574361" y="1929346"/>
                      <a:pt x="-74247" y="2064945"/>
                      <a:pt x="6974" y="2479687"/>
                    </a:cubicBezTo>
                    <a:cubicBezTo>
                      <a:pt x="74696" y="2831643"/>
                      <a:pt x="7128" y="3455800"/>
                      <a:pt x="299306" y="3698459"/>
                    </a:cubicBezTo>
                    <a:cubicBezTo>
                      <a:pt x="661058" y="3998967"/>
                      <a:pt x="1405928" y="2861262"/>
                      <a:pt x="1956963" y="323226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C5DE62CB-EEA7-35A7-1819-6F870A1059C0}"/>
                  </a:ext>
                </a:extLst>
              </p:cNvPr>
              <p:cNvSpPr/>
              <p:nvPr/>
            </p:nvSpPr>
            <p:spPr>
              <a:xfrm>
                <a:off x="4061078" y="2330966"/>
                <a:ext cx="3873961" cy="3763840"/>
              </a:xfrm>
              <a:custGeom>
                <a:avLst/>
                <a:gdLst>
                  <a:gd name="connsiteX0" fmla="*/ 3763695 w 3873961"/>
                  <a:gd name="connsiteY0" fmla="*/ 3308421 h 3763840"/>
                  <a:gd name="connsiteX1" fmla="*/ 3551425 w 3873961"/>
                  <a:gd name="connsiteY1" fmla="*/ 1812358 h 3763840"/>
                  <a:gd name="connsiteX2" fmla="*/ 3287786 w 3873961"/>
                  <a:gd name="connsiteY2" fmla="*/ 226435 h 3763840"/>
                  <a:gd name="connsiteX3" fmla="*/ 1453342 w 3873961"/>
                  <a:gd name="connsiteY3" fmla="*/ 78186 h 3763840"/>
                  <a:gd name="connsiteX4" fmla="*/ 967638 w 3873961"/>
                  <a:gd name="connsiteY4" fmla="*/ 1024294 h 3763840"/>
                  <a:gd name="connsiteX5" fmla="*/ 6334 w 3873961"/>
                  <a:gd name="connsiteY5" fmla="*/ 2492590 h 3763840"/>
                  <a:gd name="connsiteX6" fmla="*/ 317642 w 3873961"/>
                  <a:gd name="connsiteY6" fmla="*/ 3717532 h 3763840"/>
                  <a:gd name="connsiteX7" fmla="*/ 2004763 w 3873961"/>
                  <a:gd name="connsiteY7" fmla="*/ 3096923 h 3763840"/>
                  <a:gd name="connsiteX8" fmla="*/ 3763772 w 3873961"/>
                  <a:gd name="connsiteY8" fmla="*/ 3308421 h 3763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73961" h="3763840">
                    <a:moveTo>
                      <a:pt x="3763695" y="3308421"/>
                    </a:moveTo>
                    <a:cubicBezTo>
                      <a:pt x="4074847" y="2933942"/>
                      <a:pt x="3637583" y="2255716"/>
                      <a:pt x="3551425" y="1812358"/>
                    </a:cubicBezTo>
                    <a:cubicBezTo>
                      <a:pt x="3485169" y="1471586"/>
                      <a:pt x="3575568" y="465623"/>
                      <a:pt x="3287786" y="226435"/>
                    </a:cubicBezTo>
                    <a:cubicBezTo>
                      <a:pt x="2910685" y="-86878"/>
                      <a:pt x="1899323" y="-11288"/>
                      <a:pt x="1453342" y="78186"/>
                    </a:cubicBezTo>
                    <a:cubicBezTo>
                      <a:pt x="1116041" y="145831"/>
                      <a:pt x="1064131" y="666245"/>
                      <a:pt x="967638" y="1024294"/>
                    </a:cubicBezTo>
                    <a:cubicBezTo>
                      <a:pt x="714026" y="1965311"/>
                      <a:pt x="-78589" y="2075380"/>
                      <a:pt x="6334" y="2492590"/>
                    </a:cubicBezTo>
                    <a:cubicBezTo>
                      <a:pt x="75291" y="2831202"/>
                      <a:pt x="31094" y="3479501"/>
                      <a:pt x="317642" y="3717532"/>
                    </a:cubicBezTo>
                    <a:cubicBezTo>
                      <a:pt x="688958" y="4026062"/>
                      <a:pt x="1444780" y="2676242"/>
                      <a:pt x="2004763" y="3096923"/>
                    </a:cubicBezTo>
                    <a:cubicBezTo>
                      <a:pt x="2285294" y="3307727"/>
                      <a:pt x="3521961" y="3599365"/>
                      <a:pt x="3763772" y="330842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C55FF895-089F-5559-397E-3A14E3D41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6981742">
            <a:off x="9225518" y="3111272"/>
            <a:ext cx="8334992" cy="7408967"/>
            <a:chOff x="-1641318" y="-299489"/>
            <a:chExt cx="8683276" cy="7718554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0F928300-BCCD-7C46-E9FC-1B5A5F8B55A0}"/>
                </a:ext>
              </a:extLst>
            </p:cNvPr>
            <p:cNvGrpSpPr/>
            <p:nvPr/>
          </p:nvGrpSpPr>
          <p:grpSpPr>
            <a:xfrm rot="13963223">
              <a:off x="-1235110" y="-252874"/>
              <a:ext cx="7671937" cy="7671942"/>
              <a:chOff x="-13073550" y="260470"/>
              <a:chExt cx="10868115" cy="10868116"/>
            </a:xfrm>
            <a:solidFill>
              <a:schemeClr val="bg1">
                <a:lumMod val="85000"/>
              </a:schemeClr>
            </a:solidFill>
          </p:grpSpPr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075566A0-FCAA-CE50-B2AE-2E83FA7AE219}"/>
                  </a:ext>
                </a:extLst>
              </p:cNvPr>
              <p:cNvGrpSpPr/>
              <p:nvPr/>
            </p:nvGrpSpPr>
            <p:grpSpPr>
              <a:xfrm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64" name="Graphic 63">
                  <a:extLst>
                    <a:ext uri="{FF2B5EF4-FFF2-40B4-BE49-F238E27FC236}">
                      <a16:creationId xmlns:a16="http://schemas.microsoft.com/office/drawing/2014/main" id="{DDA5581B-7C60-0918-0FD8-A16E2DC89C2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65" name="Graphic 64">
                  <a:extLst>
                    <a:ext uri="{FF2B5EF4-FFF2-40B4-BE49-F238E27FC236}">
                      <a16:creationId xmlns:a16="http://schemas.microsoft.com/office/drawing/2014/main" id="{69291951-FEC8-12B9-F625-BA7FF7668E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9A1D08D0-A323-DD81-0041-9C16F5EF8E86}"/>
                  </a:ext>
                </a:extLst>
              </p:cNvPr>
              <p:cNvGrpSpPr/>
              <p:nvPr/>
            </p:nvGrpSpPr>
            <p:grpSpPr>
              <a:xfrm rot="18000000"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62" name="Graphic 61">
                  <a:extLst>
                    <a:ext uri="{FF2B5EF4-FFF2-40B4-BE49-F238E27FC236}">
                      <a16:creationId xmlns:a16="http://schemas.microsoft.com/office/drawing/2014/main" id="{158300E7-073B-E4B3-0F2E-F1723113BA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63" name="Graphic 62">
                  <a:extLst>
                    <a:ext uri="{FF2B5EF4-FFF2-40B4-BE49-F238E27FC236}">
                      <a16:creationId xmlns:a16="http://schemas.microsoft.com/office/drawing/2014/main" id="{E37ED310-6170-DCC3-7396-CF1E230262E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CB6B551B-E91E-1107-6ADB-E8F3B7B1A5D5}"/>
                  </a:ext>
                </a:extLst>
              </p:cNvPr>
              <p:cNvGrpSpPr/>
              <p:nvPr/>
            </p:nvGrpSpPr>
            <p:grpSpPr>
              <a:xfrm rot="3600000">
                <a:off x="-13073550" y="3398291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60" name="Graphic 59">
                  <a:extLst>
                    <a:ext uri="{FF2B5EF4-FFF2-40B4-BE49-F238E27FC236}">
                      <a16:creationId xmlns:a16="http://schemas.microsoft.com/office/drawing/2014/main" id="{4F9FCC48-46C2-BE1B-4FDA-B80D0C60195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61" name="Graphic 60">
                  <a:extLst>
                    <a:ext uri="{FF2B5EF4-FFF2-40B4-BE49-F238E27FC236}">
                      <a16:creationId xmlns:a16="http://schemas.microsoft.com/office/drawing/2014/main" id="{169FE532-AEDB-6E84-D9E1-932F809FA07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5" name="Graphic 5">
              <a:extLst>
                <a:ext uri="{FF2B5EF4-FFF2-40B4-BE49-F238E27FC236}">
                  <a16:creationId xmlns:a16="http://schemas.microsoft.com/office/drawing/2014/main" id="{C6DE55FC-93B1-2B81-5799-C0BFC408810A}"/>
                </a:ext>
              </a:extLst>
            </p:cNvPr>
            <p:cNvGrpSpPr/>
            <p:nvPr/>
          </p:nvGrpSpPr>
          <p:grpSpPr>
            <a:xfrm rot="15746055">
              <a:off x="-177888" y="1123433"/>
              <a:ext cx="5330696" cy="5499097"/>
              <a:chOff x="4071312" y="2489702"/>
              <a:chExt cx="3527293" cy="3638722"/>
            </a:xfrm>
            <a:noFill/>
          </p:grpSpPr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09300581-10F3-D5AF-1F94-626BAEFCE326}"/>
                  </a:ext>
                </a:extLst>
              </p:cNvPr>
              <p:cNvSpPr/>
              <p:nvPr/>
            </p:nvSpPr>
            <p:spPr>
              <a:xfrm>
                <a:off x="4071312" y="2489702"/>
                <a:ext cx="3259151" cy="3638722"/>
              </a:xfrm>
              <a:custGeom>
                <a:avLst/>
                <a:gdLst>
                  <a:gd name="connsiteX0" fmla="*/ 3079707 w 3259151"/>
                  <a:gd name="connsiteY0" fmla="*/ 3021953 h 3638722"/>
                  <a:gd name="connsiteX1" fmla="*/ 3132080 w 3259151"/>
                  <a:gd name="connsiteY1" fmla="*/ 1787369 h 3638722"/>
                  <a:gd name="connsiteX2" fmla="*/ 3107243 w 3259151"/>
                  <a:gd name="connsiteY2" fmla="*/ 829383 h 3638722"/>
                  <a:gd name="connsiteX3" fmla="*/ 1658848 w 3259151"/>
                  <a:gd name="connsiteY3" fmla="*/ 4990 h 3638722"/>
                  <a:gd name="connsiteX4" fmla="*/ 849418 w 3259151"/>
                  <a:gd name="connsiteY4" fmla="*/ 1005939 h 3638722"/>
                  <a:gd name="connsiteX5" fmla="*/ 4585 w 3259151"/>
                  <a:gd name="connsiteY5" fmla="*/ 2043526 h 3638722"/>
                  <a:gd name="connsiteX6" fmla="*/ 820725 w 3259151"/>
                  <a:gd name="connsiteY6" fmla="*/ 2918441 h 3638722"/>
                  <a:gd name="connsiteX7" fmla="*/ 2033249 w 3259151"/>
                  <a:gd name="connsiteY7" fmla="*/ 3633846 h 3638722"/>
                  <a:gd name="connsiteX8" fmla="*/ 3079785 w 3259151"/>
                  <a:gd name="connsiteY8" fmla="*/ 3022030 h 3638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59151" h="3638722">
                    <a:moveTo>
                      <a:pt x="3079707" y="3021953"/>
                    </a:moveTo>
                    <a:cubicBezTo>
                      <a:pt x="3412226" y="2666372"/>
                      <a:pt x="3192167" y="2234970"/>
                      <a:pt x="3132080" y="1787369"/>
                    </a:cubicBezTo>
                    <a:cubicBezTo>
                      <a:pt x="3085955" y="1443358"/>
                      <a:pt x="3380525" y="1084923"/>
                      <a:pt x="3107243" y="829383"/>
                    </a:cubicBezTo>
                    <a:cubicBezTo>
                      <a:pt x="2749194" y="494473"/>
                      <a:pt x="2109225" y="-58259"/>
                      <a:pt x="1658848" y="4990"/>
                    </a:cubicBezTo>
                    <a:cubicBezTo>
                      <a:pt x="1318153" y="52812"/>
                      <a:pt x="1102645" y="735127"/>
                      <a:pt x="849418" y="1005939"/>
                    </a:cubicBezTo>
                    <a:cubicBezTo>
                      <a:pt x="515743" y="1362755"/>
                      <a:pt x="-56967" y="1594538"/>
                      <a:pt x="4585" y="2043526"/>
                    </a:cubicBezTo>
                    <a:cubicBezTo>
                      <a:pt x="51559" y="2385918"/>
                      <a:pt x="548678" y="2663981"/>
                      <a:pt x="820725" y="2918441"/>
                    </a:cubicBezTo>
                    <a:cubicBezTo>
                      <a:pt x="1173298" y="3248183"/>
                      <a:pt x="1589043" y="3690075"/>
                      <a:pt x="2033249" y="3633846"/>
                    </a:cubicBezTo>
                    <a:cubicBezTo>
                      <a:pt x="2381349" y="3589726"/>
                      <a:pt x="2821390" y="3298397"/>
                      <a:pt x="3079785" y="302203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273ADDEA-70E3-FE21-7C3C-8FD9112B0460}"/>
                  </a:ext>
                </a:extLst>
              </p:cNvPr>
              <p:cNvSpPr/>
              <p:nvPr/>
            </p:nvSpPr>
            <p:spPr>
              <a:xfrm>
                <a:off x="4109618" y="2534620"/>
                <a:ext cx="3220782" cy="3579817"/>
              </a:xfrm>
              <a:custGeom>
                <a:avLst/>
                <a:gdLst>
                  <a:gd name="connsiteX0" fmla="*/ 791058 w 3220782"/>
                  <a:gd name="connsiteY0" fmla="*/ 2907154 h 3579817"/>
                  <a:gd name="connsiteX1" fmla="*/ 2002194 w 3220782"/>
                  <a:gd name="connsiteY1" fmla="*/ 3574659 h 3579817"/>
                  <a:gd name="connsiteX2" fmla="*/ 3028289 w 3220782"/>
                  <a:gd name="connsiteY2" fmla="*/ 2934613 h 3579817"/>
                  <a:gd name="connsiteX3" fmla="*/ 3129333 w 3220782"/>
                  <a:gd name="connsiteY3" fmla="*/ 1743455 h 3579817"/>
                  <a:gd name="connsiteX4" fmla="*/ 3052277 w 3220782"/>
                  <a:gd name="connsiteY4" fmla="*/ 731167 h 3579817"/>
                  <a:gd name="connsiteX5" fmla="*/ 1620928 w 3220782"/>
                  <a:gd name="connsiteY5" fmla="*/ 5581 h 3579817"/>
                  <a:gd name="connsiteX6" fmla="*/ 765913 w 3220782"/>
                  <a:gd name="connsiteY6" fmla="*/ 939888 h 3579817"/>
                  <a:gd name="connsiteX7" fmla="*/ 5000 w 3220782"/>
                  <a:gd name="connsiteY7" fmla="*/ 1991745 h 3579817"/>
                  <a:gd name="connsiteX8" fmla="*/ 791058 w 3220782"/>
                  <a:gd name="connsiteY8" fmla="*/ 2907231 h 3579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782" h="3579817">
                    <a:moveTo>
                      <a:pt x="791058" y="2907154"/>
                    </a:moveTo>
                    <a:cubicBezTo>
                      <a:pt x="1139775" y="3222549"/>
                      <a:pt x="1564312" y="3630426"/>
                      <a:pt x="2002194" y="3574659"/>
                    </a:cubicBezTo>
                    <a:cubicBezTo>
                      <a:pt x="2362558" y="3528688"/>
                      <a:pt x="2770743" y="3219772"/>
                      <a:pt x="3028289" y="2934613"/>
                    </a:cubicBezTo>
                    <a:cubicBezTo>
                      <a:pt x="3345767" y="2583197"/>
                      <a:pt x="3188417" y="2184113"/>
                      <a:pt x="3129333" y="1743455"/>
                    </a:cubicBezTo>
                    <a:cubicBezTo>
                      <a:pt x="3081433" y="1386485"/>
                      <a:pt x="3334968" y="986244"/>
                      <a:pt x="3052277" y="731167"/>
                    </a:cubicBezTo>
                    <a:cubicBezTo>
                      <a:pt x="2698624" y="412069"/>
                      <a:pt x="2063823" y="-56434"/>
                      <a:pt x="1620928" y="5581"/>
                    </a:cubicBezTo>
                    <a:cubicBezTo>
                      <a:pt x="1267198" y="54946"/>
                      <a:pt x="1018908" y="659665"/>
                      <a:pt x="765913" y="939888"/>
                    </a:cubicBezTo>
                    <a:cubicBezTo>
                      <a:pt x="447664" y="1292461"/>
                      <a:pt x="-55549" y="1549929"/>
                      <a:pt x="5000" y="1991745"/>
                    </a:cubicBezTo>
                    <a:cubicBezTo>
                      <a:pt x="53516" y="2346477"/>
                      <a:pt x="510218" y="2653234"/>
                      <a:pt x="791058" y="290723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2BABE21-2602-D679-EF2D-5BFAAD7F70B6}"/>
                  </a:ext>
                </a:extLst>
              </p:cNvPr>
              <p:cNvSpPr/>
              <p:nvPr/>
            </p:nvSpPr>
            <p:spPr>
              <a:xfrm>
                <a:off x="4147825" y="2579175"/>
                <a:ext cx="3187979" cy="3521387"/>
              </a:xfrm>
              <a:custGeom>
                <a:avLst/>
                <a:gdLst>
                  <a:gd name="connsiteX0" fmla="*/ 761567 w 3187979"/>
                  <a:gd name="connsiteY0" fmla="*/ 2896229 h 3521387"/>
                  <a:gd name="connsiteX1" fmla="*/ 1971315 w 3187979"/>
                  <a:gd name="connsiteY1" fmla="*/ 3515912 h 3521387"/>
                  <a:gd name="connsiteX2" fmla="*/ 2977047 w 3187979"/>
                  <a:gd name="connsiteY2" fmla="*/ 2847635 h 3521387"/>
                  <a:gd name="connsiteX3" fmla="*/ 3126683 w 3187979"/>
                  <a:gd name="connsiteY3" fmla="*/ 1699825 h 3521387"/>
                  <a:gd name="connsiteX4" fmla="*/ 2997409 w 3187979"/>
                  <a:gd name="connsiteY4" fmla="*/ 633236 h 3521387"/>
                  <a:gd name="connsiteX5" fmla="*/ 1583183 w 3187979"/>
                  <a:gd name="connsiteY5" fmla="*/ 6380 h 3521387"/>
                  <a:gd name="connsiteX6" fmla="*/ 682583 w 3187979"/>
                  <a:gd name="connsiteY6" fmla="*/ 874121 h 3521387"/>
                  <a:gd name="connsiteX7" fmla="*/ 5513 w 3187979"/>
                  <a:gd name="connsiteY7" fmla="*/ 1940171 h 3521387"/>
                  <a:gd name="connsiteX8" fmla="*/ 761567 w 3187979"/>
                  <a:gd name="connsiteY8" fmla="*/ 2896229 h 3521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87979" h="3521387">
                    <a:moveTo>
                      <a:pt x="761567" y="2896229"/>
                    </a:moveTo>
                    <a:cubicBezTo>
                      <a:pt x="1106195" y="3197508"/>
                      <a:pt x="1539681" y="3571139"/>
                      <a:pt x="1971315" y="3515912"/>
                    </a:cubicBezTo>
                    <a:cubicBezTo>
                      <a:pt x="2343865" y="3468090"/>
                      <a:pt x="2720426" y="3141742"/>
                      <a:pt x="2977047" y="2847635"/>
                    </a:cubicBezTo>
                    <a:cubicBezTo>
                      <a:pt x="3279715" y="2500770"/>
                      <a:pt x="3184842" y="2133542"/>
                      <a:pt x="3126683" y="1699825"/>
                    </a:cubicBezTo>
                    <a:cubicBezTo>
                      <a:pt x="3077087" y="1329975"/>
                      <a:pt x="3289665" y="887620"/>
                      <a:pt x="2997409" y="633236"/>
                    </a:cubicBezTo>
                    <a:cubicBezTo>
                      <a:pt x="2648539" y="329565"/>
                      <a:pt x="2018520" y="-54246"/>
                      <a:pt x="1583183" y="6380"/>
                    </a:cubicBezTo>
                    <a:cubicBezTo>
                      <a:pt x="1216418" y="57287"/>
                      <a:pt x="935115" y="584257"/>
                      <a:pt x="682583" y="874121"/>
                    </a:cubicBezTo>
                    <a:cubicBezTo>
                      <a:pt x="379529" y="1222066"/>
                      <a:pt x="-53879" y="1505683"/>
                      <a:pt x="5513" y="1940171"/>
                    </a:cubicBezTo>
                    <a:cubicBezTo>
                      <a:pt x="55572" y="2307322"/>
                      <a:pt x="471703" y="2642848"/>
                      <a:pt x="761567" y="28962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A10F2DFB-6E04-CEBE-4EA0-31F6F588B953}"/>
                  </a:ext>
                </a:extLst>
              </p:cNvPr>
              <p:cNvSpPr/>
              <p:nvPr/>
            </p:nvSpPr>
            <p:spPr>
              <a:xfrm>
                <a:off x="4185926" y="2623532"/>
                <a:ext cx="3162650" cy="3463280"/>
              </a:xfrm>
              <a:custGeom>
                <a:avLst/>
                <a:gdLst>
                  <a:gd name="connsiteX0" fmla="*/ 732182 w 3162650"/>
                  <a:gd name="connsiteY0" fmla="*/ 2885579 h 3463280"/>
                  <a:gd name="connsiteX1" fmla="*/ 1940541 w 3162650"/>
                  <a:gd name="connsiteY1" fmla="*/ 3457440 h 3463280"/>
                  <a:gd name="connsiteX2" fmla="*/ 2925910 w 3162650"/>
                  <a:gd name="connsiteY2" fmla="*/ 2760933 h 3463280"/>
                  <a:gd name="connsiteX3" fmla="*/ 3124217 w 3162650"/>
                  <a:gd name="connsiteY3" fmla="*/ 1656549 h 3463280"/>
                  <a:gd name="connsiteX4" fmla="*/ 2942725 w 3162650"/>
                  <a:gd name="connsiteY4" fmla="*/ 535658 h 3463280"/>
                  <a:gd name="connsiteX5" fmla="*/ 1545622 w 3162650"/>
                  <a:gd name="connsiteY5" fmla="*/ 7609 h 3463280"/>
                  <a:gd name="connsiteX6" fmla="*/ 599436 w 3162650"/>
                  <a:gd name="connsiteY6" fmla="*/ 808708 h 3463280"/>
                  <a:gd name="connsiteX7" fmla="*/ 6210 w 3162650"/>
                  <a:gd name="connsiteY7" fmla="*/ 1888949 h 3463280"/>
                  <a:gd name="connsiteX8" fmla="*/ 732182 w 3162650"/>
                  <a:gd name="connsiteY8" fmla="*/ 2885579 h 3463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62650" h="3463280">
                    <a:moveTo>
                      <a:pt x="732182" y="2885579"/>
                    </a:moveTo>
                    <a:cubicBezTo>
                      <a:pt x="1072413" y="3173052"/>
                      <a:pt x="1515232" y="3512050"/>
                      <a:pt x="1940541" y="3457440"/>
                    </a:cubicBezTo>
                    <a:cubicBezTo>
                      <a:pt x="2325355" y="3407689"/>
                      <a:pt x="2670370" y="3064218"/>
                      <a:pt x="2925910" y="2760933"/>
                    </a:cubicBezTo>
                    <a:cubicBezTo>
                      <a:pt x="3214077" y="2418850"/>
                      <a:pt x="3181450" y="2083246"/>
                      <a:pt x="3124217" y="1656549"/>
                    </a:cubicBezTo>
                    <a:cubicBezTo>
                      <a:pt x="3072847" y="1273817"/>
                      <a:pt x="3244776" y="789270"/>
                      <a:pt x="2942725" y="535658"/>
                    </a:cubicBezTo>
                    <a:cubicBezTo>
                      <a:pt x="2599022" y="247105"/>
                      <a:pt x="1973399" y="-51783"/>
                      <a:pt x="1545622" y="7609"/>
                    </a:cubicBezTo>
                    <a:cubicBezTo>
                      <a:pt x="1165821" y="60059"/>
                      <a:pt x="851352" y="508970"/>
                      <a:pt x="599436" y="808708"/>
                    </a:cubicBezTo>
                    <a:cubicBezTo>
                      <a:pt x="311192" y="1151639"/>
                      <a:pt x="-52025" y="1461712"/>
                      <a:pt x="6210" y="1888949"/>
                    </a:cubicBezTo>
                    <a:cubicBezTo>
                      <a:pt x="57888" y="2268441"/>
                      <a:pt x="433139" y="2632970"/>
                      <a:pt x="732182" y="28855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AD0F8993-5B79-D3EB-0C24-AABB6FB194F8}"/>
                  </a:ext>
                </a:extLst>
              </p:cNvPr>
              <p:cNvSpPr/>
              <p:nvPr/>
            </p:nvSpPr>
            <p:spPr>
              <a:xfrm>
                <a:off x="4223622" y="2666959"/>
                <a:ext cx="3145783" cy="3406134"/>
              </a:xfrm>
              <a:custGeom>
                <a:avLst/>
                <a:gdLst>
                  <a:gd name="connsiteX0" fmla="*/ 703202 w 3145783"/>
                  <a:gd name="connsiteY0" fmla="*/ 2875858 h 3406134"/>
                  <a:gd name="connsiteX1" fmla="*/ 1910173 w 3145783"/>
                  <a:gd name="connsiteY1" fmla="*/ 3399820 h 3406134"/>
                  <a:gd name="connsiteX2" fmla="*/ 2875101 w 3145783"/>
                  <a:gd name="connsiteY2" fmla="*/ 2675082 h 3406134"/>
                  <a:gd name="connsiteX3" fmla="*/ 3122003 w 3145783"/>
                  <a:gd name="connsiteY3" fmla="*/ 1614047 h 3406134"/>
                  <a:gd name="connsiteX4" fmla="*/ 2888291 w 3145783"/>
                  <a:gd name="connsiteY4" fmla="*/ 438855 h 3406134"/>
                  <a:gd name="connsiteX5" fmla="*/ 1508312 w 3145783"/>
                  <a:gd name="connsiteY5" fmla="*/ 9612 h 3406134"/>
                  <a:gd name="connsiteX6" fmla="*/ 516541 w 3145783"/>
                  <a:gd name="connsiteY6" fmla="*/ 744146 h 3406134"/>
                  <a:gd name="connsiteX7" fmla="*/ 7234 w 3145783"/>
                  <a:gd name="connsiteY7" fmla="*/ 1838580 h 3406134"/>
                  <a:gd name="connsiteX8" fmla="*/ 703125 w 3145783"/>
                  <a:gd name="connsiteY8" fmla="*/ 2875858 h 340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45783" h="3406134">
                    <a:moveTo>
                      <a:pt x="703202" y="2875858"/>
                    </a:moveTo>
                    <a:cubicBezTo>
                      <a:pt x="1038729" y="3149756"/>
                      <a:pt x="1491188" y="3453967"/>
                      <a:pt x="1910173" y="3399820"/>
                    </a:cubicBezTo>
                    <a:cubicBezTo>
                      <a:pt x="2307174" y="3348218"/>
                      <a:pt x="2620872" y="2987778"/>
                      <a:pt x="2875101" y="2675082"/>
                    </a:cubicBezTo>
                    <a:cubicBezTo>
                      <a:pt x="3149077" y="2338167"/>
                      <a:pt x="3178310" y="2033802"/>
                      <a:pt x="3122003" y="1614047"/>
                    </a:cubicBezTo>
                    <a:cubicBezTo>
                      <a:pt x="3068936" y="1218434"/>
                      <a:pt x="3200369" y="691464"/>
                      <a:pt x="2888291" y="438855"/>
                    </a:cubicBezTo>
                    <a:cubicBezTo>
                      <a:pt x="2549988" y="165034"/>
                      <a:pt x="1928530" y="-48546"/>
                      <a:pt x="1508312" y="9612"/>
                    </a:cubicBezTo>
                    <a:cubicBezTo>
                      <a:pt x="1115476" y="63605"/>
                      <a:pt x="767685" y="434304"/>
                      <a:pt x="516541" y="744146"/>
                    </a:cubicBezTo>
                    <a:cubicBezTo>
                      <a:pt x="242797" y="1081832"/>
                      <a:pt x="-49998" y="1418593"/>
                      <a:pt x="7234" y="1838580"/>
                    </a:cubicBezTo>
                    <a:cubicBezTo>
                      <a:pt x="60456" y="2230413"/>
                      <a:pt x="394749" y="2624098"/>
                      <a:pt x="703125" y="287585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087839E3-BC84-20FA-1206-6B4ADE63F8FC}"/>
                  </a:ext>
                </a:extLst>
              </p:cNvPr>
              <p:cNvSpPr/>
              <p:nvPr/>
            </p:nvSpPr>
            <p:spPr>
              <a:xfrm>
                <a:off x="4260986" y="2709255"/>
                <a:ext cx="3135893" cy="3350272"/>
              </a:xfrm>
              <a:custGeom>
                <a:avLst/>
                <a:gdLst>
                  <a:gd name="connsiteX0" fmla="*/ 674554 w 3135893"/>
                  <a:gd name="connsiteY0" fmla="*/ 2867269 h 3350272"/>
                  <a:gd name="connsiteX1" fmla="*/ 1880214 w 3135893"/>
                  <a:gd name="connsiteY1" fmla="*/ 3343408 h 3350272"/>
                  <a:gd name="connsiteX2" fmla="*/ 2824779 w 3135893"/>
                  <a:gd name="connsiteY2" fmla="*/ 2590440 h 3350272"/>
                  <a:gd name="connsiteX3" fmla="*/ 3120352 w 3135893"/>
                  <a:gd name="connsiteY3" fmla="*/ 1572830 h 3350272"/>
                  <a:gd name="connsiteX4" fmla="*/ 2834498 w 3135893"/>
                  <a:gd name="connsiteY4" fmla="*/ 343337 h 3350272"/>
                  <a:gd name="connsiteX5" fmla="*/ 1471565 w 3135893"/>
                  <a:gd name="connsiteY5" fmla="*/ 12824 h 3350272"/>
                  <a:gd name="connsiteX6" fmla="*/ 434209 w 3135893"/>
                  <a:gd name="connsiteY6" fmla="*/ 680715 h 3350272"/>
                  <a:gd name="connsiteX7" fmla="*/ 8746 w 3135893"/>
                  <a:gd name="connsiteY7" fmla="*/ 1789341 h 3350272"/>
                  <a:gd name="connsiteX8" fmla="*/ 674631 w 3135893"/>
                  <a:gd name="connsiteY8" fmla="*/ 2867192 h 3350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893" h="3350272">
                    <a:moveTo>
                      <a:pt x="674554" y="2867269"/>
                    </a:moveTo>
                    <a:cubicBezTo>
                      <a:pt x="1005144" y="3127900"/>
                      <a:pt x="1467477" y="3396938"/>
                      <a:pt x="1880214" y="3343408"/>
                    </a:cubicBezTo>
                    <a:cubicBezTo>
                      <a:pt x="2289402" y="3289956"/>
                      <a:pt x="2572016" y="2912777"/>
                      <a:pt x="2824779" y="2590440"/>
                    </a:cubicBezTo>
                    <a:cubicBezTo>
                      <a:pt x="3084794" y="2258847"/>
                      <a:pt x="3175656" y="1985567"/>
                      <a:pt x="3120352" y="1572830"/>
                    </a:cubicBezTo>
                    <a:cubicBezTo>
                      <a:pt x="3065587" y="1164336"/>
                      <a:pt x="3156758" y="594635"/>
                      <a:pt x="2834498" y="343337"/>
                    </a:cubicBezTo>
                    <a:cubicBezTo>
                      <a:pt x="2512238" y="92039"/>
                      <a:pt x="1884302" y="-44023"/>
                      <a:pt x="1471565" y="12824"/>
                    </a:cubicBezTo>
                    <a:cubicBezTo>
                      <a:pt x="1065694" y="68359"/>
                      <a:pt x="684273" y="360692"/>
                      <a:pt x="434209" y="680715"/>
                    </a:cubicBezTo>
                    <a:cubicBezTo>
                      <a:pt x="174658" y="1012848"/>
                      <a:pt x="-47330" y="1376605"/>
                      <a:pt x="8746" y="1789341"/>
                    </a:cubicBezTo>
                    <a:cubicBezTo>
                      <a:pt x="63510" y="2193593"/>
                      <a:pt x="356691" y="2616588"/>
                      <a:pt x="674631" y="286719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385C095F-5ECC-DF7E-4EF1-9B3152C3F3D5}"/>
                  </a:ext>
                </a:extLst>
              </p:cNvPr>
              <p:cNvSpPr/>
              <p:nvPr/>
            </p:nvSpPr>
            <p:spPr>
              <a:xfrm>
                <a:off x="4297185" y="2745782"/>
                <a:ext cx="3130741" cy="3300265"/>
              </a:xfrm>
              <a:custGeom>
                <a:avLst/>
                <a:gdLst>
                  <a:gd name="connsiteX0" fmla="*/ 647071 w 3130741"/>
                  <a:gd name="connsiteY0" fmla="*/ 2864372 h 3300265"/>
                  <a:gd name="connsiteX1" fmla="*/ 1851342 w 3130741"/>
                  <a:gd name="connsiteY1" fmla="*/ 3292689 h 3300265"/>
                  <a:gd name="connsiteX2" fmla="*/ 2775545 w 3130741"/>
                  <a:gd name="connsiteY2" fmla="*/ 2511491 h 3300265"/>
                  <a:gd name="connsiteX3" fmla="*/ 3119711 w 3130741"/>
                  <a:gd name="connsiteY3" fmla="*/ 1537229 h 3300265"/>
                  <a:gd name="connsiteX4" fmla="*/ 2781639 w 3130741"/>
                  <a:gd name="connsiteY4" fmla="*/ 253435 h 3300265"/>
                  <a:gd name="connsiteX5" fmla="*/ 1435829 w 3130741"/>
                  <a:gd name="connsiteY5" fmla="*/ 21729 h 3300265"/>
                  <a:gd name="connsiteX6" fmla="*/ 352887 w 3130741"/>
                  <a:gd name="connsiteY6" fmla="*/ 622977 h 3300265"/>
                  <a:gd name="connsiteX7" fmla="*/ 11267 w 3130741"/>
                  <a:gd name="connsiteY7" fmla="*/ 1745873 h 3300265"/>
                  <a:gd name="connsiteX8" fmla="*/ 647071 w 3130741"/>
                  <a:gd name="connsiteY8" fmla="*/ 2864295 h 3300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0741" h="3300265">
                    <a:moveTo>
                      <a:pt x="647071" y="2864372"/>
                    </a:moveTo>
                    <a:cubicBezTo>
                      <a:pt x="972571" y="3111968"/>
                      <a:pt x="1444853" y="3345679"/>
                      <a:pt x="1851342" y="3292689"/>
                    </a:cubicBezTo>
                    <a:cubicBezTo>
                      <a:pt x="2272795" y="3237385"/>
                      <a:pt x="2524556" y="2843624"/>
                      <a:pt x="2775545" y="2511491"/>
                    </a:cubicBezTo>
                    <a:cubicBezTo>
                      <a:pt x="3021907" y="2185529"/>
                      <a:pt x="3174166" y="1943024"/>
                      <a:pt x="3119711" y="1537229"/>
                    </a:cubicBezTo>
                    <a:cubicBezTo>
                      <a:pt x="3063172" y="1115777"/>
                      <a:pt x="3114388" y="503190"/>
                      <a:pt x="2781639" y="253435"/>
                    </a:cubicBezTo>
                    <a:cubicBezTo>
                      <a:pt x="2455059" y="8308"/>
                      <a:pt x="1841007" y="-33884"/>
                      <a:pt x="1435829" y="21729"/>
                    </a:cubicBezTo>
                    <a:cubicBezTo>
                      <a:pt x="1016845" y="78884"/>
                      <a:pt x="601640" y="292464"/>
                      <a:pt x="352887" y="622977"/>
                    </a:cubicBezTo>
                    <a:cubicBezTo>
                      <a:pt x="107297" y="949325"/>
                      <a:pt x="-43651" y="1340387"/>
                      <a:pt x="11267" y="1745873"/>
                    </a:cubicBezTo>
                    <a:cubicBezTo>
                      <a:pt x="67574" y="2162466"/>
                      <a:pt x="319412" y="2615080"/>
                      <a:pt x="647071" y="286429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B17CF6AB-E14E-A7BF-2095-31AD5EC978DB}"/>
                  </a:ext>
                </a:extLst>
              </p:cNvPr>
              <p:cNvSpPr/>
              <p:nvPr/>
            </p:nvSpPr>
            <p:spPr>
              <a:xfrm>
                <a:off x="4331073" y="2769810"/>
                <a:ext cx="3129679" cy="3263042"/>
              </a:xfrm>
              <a:custGeom>
                <a:avLst/>
                <a:gdLst>
                  <a:gd name="connsiteX0" fmla="*/ 621899 w 3129679"/>
                  <a:gd name="connsiteY0" fmla="*/ 2874051 h 3263042"/>
                  <a:gd name="connsiteX1" fmla="*/ 1824782 w 3129679"/>
                  <a:gd name="connsiteY1" fmla="*/ 3254546 h 3263042"/>
                  <a:gd name="connsiteX2" fmla="*/ 2728544 w 3129679"/>
                  <a:gd name="connsiteY2" fmla="*/ 2445116 h 3263042"/>
                  <a:gd name="connsiteX3" fmla="*/ 3121380 w 3129679"/>
                  <a:gd name="connsiteY3" fmla="*/ 1514281 h 3263042"/>
                  <a:gd name="connsiteX4" fmla="*/ 2731090 w 3129679"/>
                  <a:gd name="connsiteY4" fmla="*/ 176262 h 3263042"/>
                  <a:gd name="connsiteX5" fmla="*/ 1402404 w 3129679"/>
                  <a:gd name="connsiteY5" fmla="*/ 43363 h 3263042"/>
                  <a:gd name="connsiteX6" fmla="*/ 273877 w 3129679"/>
                  <a:gd name="connsiteY6" fmla="*/ 578045 h 3263042"/>
                  <a:gd name="connsiteX7" fmla="*/ 16177 w 3129679"/>
                  <a:gd name="connsiteY7" fmla="*/ 1715134 h 3263042"/>
                  <a:gd name="connsiteX8" fmla="*/ 621899 w 3129679"/>
                  <a:gd name="connsiteY8" fmla="*/ 2874205 h 3263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29679" h="3263042">
                    <a:moveTo>
                      <a:pt x="621899" y="2874051"/>
                    </a:moveTo>
                    <a:cubicBezTo>
                      <a:pt x="941999" y="3108842"/>
                      <a:pt x="1424618" y="3306996"/>
                      <a:pt x="1824782" y="3254546"/>
                    </a:cubicBezTo>
                    <a:cubicBezTo>
                      <a:pt x="2258421" y="3197313"/>
                      <a:pt x="2479637" y="2787277"/>
                      <a:pt x="2728544" y="2445116"/>
                    </a:cubicBezTo>
                    <a:cubicBezTo>
                      <a:pt x="2961485" y="2124939"/>
                      <a:pt x="3174833" y="1913056"/>
                      <a:pt x="3121380" y="1514281"/>
                    </a:cubicBezTo>
                    <a:cubicBezTo>
                      <a:pt x="3063145" y="1079947"/>
                      <a:pt x="3074561" y="424089"/>
                      <a:pt x="2731090" y="176262"/>
                    </a:cubicBezTo>
                    <a:cubicBezTo>
                      <a:pt x="2410681" y="-54982"/>
                      <a:pt x="1800022" y="-10939"/>
                      <a:pt x="1402404" y="43363"/>
                    </a:cubicBezTo>
                    <a:cubicBezTo>
                      <a:pt x="970384" y="102060"/>
                      <a:pt x="521009" y="236734"/>
                      <a:pt x="273877" y="578045"/>
                    </a:cubicBezTo>
                    <a:cubicBezTo>
                      <a:pt x="41862" y="898377"/>
                      <a:pt x="-37739" y="1316898"/>
                      <a:pt x="16177" y="1715134"/>
                    </a:cubicBezTo>
                    <a:cubicBezTo>
                      <a:pt x="74026" y="2144068"/>
                      <a:pt x="284289" y="2626532"/>
                      <a:pt x="621899" y="287420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93558C46-5EB2-6B22-3680-9D48D710AD0F}"/>
                  </a:ext>
                </a:extLst>
              </p:cNvPr>
              <p:cNvSpPr/>
              <p:nvPr/>
            </p:nvSpPr>
            <p:spPr>
              <a:xfrm>
                <a:off x="4358871" y="2771233"/>
                <a:ext cx="3135688" cy="3248662"/>
              </a:xfrm>
              <a:custGeom>
                <a:avLst/>
                <a:gdLst>
                  <a:gd name="connsiteX0" fmla="*/ 602817 w 3135688"/>
                  <a:gd name="connsiteY0" fmla="*/ 2906335 h 3248662"/>
                  <a:gd name="connsiteX1" fmla="*/ 1804311 w 3135688"/>
                  <a:gd name="connsiteY1" fmla="*/ 3238930 h 3248662"/>
                  <a:gd name="connsiteX2" fmla="*/ 2687711 w 3135688"/>
                  <a:gd name="connsiteY2" fmla="*/ 2401271 h 3248662"/>
                  <a:gd name="connsiteX3" fmla="*/ 3129140 w 3135688"/>
                  <a:gd name="connsiteY3" fmla="*/ 1513860 h 3248662"/>
                  <a:gd name="connsiteX4" fmla="*/ 2686631 w 3135688"/>
                  <a:gd name="connsiteY4" fmla="*/ 121540 h 3248662"/>
                  <a:gd name="connsiteX5" fmla="*/ 1375068 w 3135688"/>
                  <a:gd name="connsiteY5" fmla="*/ 87448 h 3248662"/>
                  <a:gd name="connsiteX6" fmla="*/ 200956 w 3135688"/>
                  <a:gd name="connsiteY6" fmla="*/ 555488 h 3248662"/>
                  <a:gd name="connsiteX7" fmla="*/ 27099 w 3135688"/>
                  <a:gd name="connsiteY7" fmla="*/ 1706769 h 3248662"/>
                  <a:gd name="connsiteX8" fmla="*/ 602817 w 3135688"/>
                  <a:gd name="connsiteY8" fmla="*/ 2906412 h 3248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688" h="3248662">
                    <a:moveTo>
                      <a:pt x="602817" y="2906335"/>
                    </a:moveTo>
                    <a:cubicBezTo>
                      <a:pt x="917441" y="3128631"/>
                      <a:pt x="1410472" y="3290840"/>
                      <a:pt x="1804311" y="3238930"/>
                    </a:cubicBezTo>
                    <a:cubicBezTo>
                      <a:pt x="2250214" y="3179847"/>
                      <a:pt x="2441195" y="2753612"/>
                      <a:pt x="2687711" y="2401271"/>
                    </a:cubicBezTo>
                    <a:cubicBezTo>
                      <a:pt x="2907538" y="2087032"/>
                      <a:pt x="3181668" y="1905617"/>
                      <a:pt x="3129140" y="1513860"/>
                    </a:cubicBezTo>
                    <a:cubicBezTo>
                      <a:pt x="3069209" y="1066646"/>
                      <a:pt x="3040978" y="367208"/>
                      <a:pt x="2686631" y="121540"/>
                    </a:cubicBezTo>
                    <a:cubicBezTo>
                      <a:pt x="2372624" y="-96128"/>
                      <a:pt x="1765128" y="34381"/>
                      <a:pt x="1375068" y="87448"/>
                    </a:cubicBezTo>
                    <a:cubicBezTo>
                      <a:pt x="930013" y="147688"/>
                      <a:pt x="446083" y="203301"/>
                      <a:pt x="200956" y="555488"/>
                    </a:cubicBezTo>
                    <a:cubicBezTo>
                      <a:pt x="-17715" y="869649"/>
                      <a:pt x="-25660" y="1315784"/>
                      <a:pt x="27099" y="1706769"/>
                    </a:cubicBezTo>
                    <a:cubicBezTo>
                      <a:pt x="86568" y="2148122"/>
                      <a:pt x="255026" y="2660667"/>
                      <a:pt x="602817" y="290641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FB7F90AB-1605-CBE9-119E-1227B60A609E}"/>
                  </a:ext>
                </a:extLst>
              </p:cNvPr>
              <p:cNvSpPr/>
              <p:nvPr/>
            </p:nvSpPr>
            <p:spPr>
              <a:xfrm>
                <a:off x="4372952" y="2753381"/>
                <a:ext cx="3156027" cy="3254119"/>
              </a:xfrm>
              <a:custGeom>
                <a:avLst/>
                <a:gdLst>
                  <a:gd name="connsiteX0" fmla="*/ 597452 w 3156027"/>
                  <a:gd name="connsiteY0" fmla="*/ 2957894 h 3254119"/>
                  <a:gd name="connsiteX1" fmla="*/ 1797558 w 3156027"/>
                  <a:gd name="connsiteY1" fmla="*/ 3242667 h 3254119"/>
                  <a:gd name="connsiteX2" fmla="*/ 2660594 w 3156027"/>
                  <a:gd name="connsiteY2" fmla="*/ 2376700 h 3254119"/>
                  <a:gd name="connsiteX3" fmla="*/ 3150695 w 3156027"/>
                  <a:gd name="connsiteY3" fmla="*/ 1532638 h 3254119"/>
                  <a:gd name="connsiteX4" fmla="*/ 2655966 w 3156027"/>
                  <a:gd name="connsiteY4" fmla="*/ 86017 h 3254119"/>
                  <a:gd name="connsiteX5" fmla="*/ 1361450 w 3156027"/>
                  <a:gd name="connsiteY5" fmla="*/ 150654 h 3254119"/>
                  <a:gd name="connsiteX6" fmla="*/ 141752 w 3156027"/>
                  <a:gd name="connsiteY6" fmla="*/ 552129 h 3254119"/>
                  <a:gd name="connsiteX7" fmla="*/ 51738 w 3156027"/>
                  <a:gd name="connsiteY7" fmla="*/ 1717602 h 3254119"/>
                  <a:gd name="connsiteX8" fmla="*/ 597374 w 3156027"/>
                  <a:gd name="connsiteY8" fmla="*/ 2957816 h 3254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56027" h="3254119">
                    <a:moveTo>
                      <a:pt x="597452" y="2957894"/>
                    </a:moveTo>
                    <a:cubicBezTo>
                      <a:pt x="906445" y="3167925"/>
                      <a:pt x="1410044" y="3294037"/>
                      <a:pt x="1797558" y="3242667"/>
                    </a:cubicBezTo>
                    <a:cubicBezTo>
                      <a:pt x="2255648" y="3181732"/>
                      <a:pt x="2416778" y="2739608"/>
                      <a:pt x="2660594" y="2376700"/>
                    </a:cubicBezTo>
                    <a:cubicBezTo>
                      <a:pt x="2867541" y="2068555"/>
                      <a:pt x="3202297" y="1917452"/>
                      <a:pt x="3150695" y="1532638"/>
                    </a:cubicBezTo>
                    <a:cubicBezTo>
                      <a:pt x="3088989" y="1072542"/>
                      <a:pt x="3021574" y="329061"/>
                      <a:pt x="2655966" y="86017"/>
                    </a:cubicBezTo>
                    <a:cubicBezTo>
                      <a:pt x="2348516" y="-118385"/>
                      <a:pt x="1744028" y="98898"/>
                      <a:pt x="1361450" y="150654"/>
                    </a:cubicBezTo>
                    <a:cubicBezTo>
                      <a:pt x="903359" y="212437"/>
                      <a:pt x="384566" y="188680"/>
                      <a:pt x="141752" y="552129"/>
                    </a:cubicBezTo>
                    <a:cubicBezTo>
                      <a:pt x="-63883" y="859965"/>
                      <a:pt x="60" y="1333867"/>
                      <a:pt x="51738" y="1717602"/>
                    </a:cubicBezTo>
                    <a:cubicBezTo>
                      <a:pt x="112750" y="2171296"/>
                      <a:pt x="239248" y="2714386"/>
                      <a:pt x="597374" y="2957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24AF847F-0E14-9197-1EC1-7CC0278290D1}"/>
                  </a:ext>
                </a:extLst>
              </p:cNvPr>
              <p:cNvSpPr/>
              <p:nvPr/>
            </p:nvSpPr>
            <p:spPr>
              <a:xfrm>
                <a:off x="4369454" y="2723578"/>
                <a:ext cx="3194199" cy="3272228"/>
              </a:xfrm>
              <a:custGeom>
                <a:avLst/>
                <a:gdLst>
                  <a:gd name="connsiteX0" fmla="*/ 609666 w 3194199"/>
                  <a:gd name="connsiteY0" fmla="*/ 3021327 h 3272228"/>
                  <a:gd name="connsiteX1" fmla="*/ 1808461 w 3194199"/>
                  <a:gd name="connsiteY1" fmla="*/ 3258278 h 3272228"/>
                  <a:gd name="connsiteX2" fmla="*/ 2651057 w 3194199"/>
                  <a:gd name="connsiteY2" fmla="*/ 2364080 h 3272228"/>
                  <a:gd name="connsiteX3" fmla="*/ 3189751 w 3194199"/>
                  <a:gd name="connsiteY3" fmla="*/ 1563444 h 3272228"/>
                  <a:gd name="connsiteX4" fmla="*/ 2642804 w 3194199"/>
                  <a:gd name="connsiteY4" fmla="*/ 62522 h 3272228"/>
                  <a:gd name="connsiteX5" fmla="*/ 1365411 w 3194199"/>
                  <a:gd name="connsiteY5" fmla="*/ 225965 h 3272228"/>
                  <a:gd name="connsiteX6" fmla="*/ 100128 w 3194199"/>
                  <a:gd name="connsiteY6" fmla="*/ 560798 h 3272228"/>
                  <a:gd name="connsiteX7" fmla="*/ 94034 w 3194199"/>
                  <a:gd name="connsiteY7" fmla="*/ 1740540 h 3272228"/>
                  <a:gd name="connsiteX8" fmla="*/ 609589 w 3194199"/>
                  <a:gd name="connsiteY8" fmla="*/ 3021327 h 3272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94199" h="3272228">
                    <a:moveTo>
                      <a:pt x="609666" y="3021327"/>
                    </a:moveTo>
                    <a:cubicBezTo>
                      <a:pt x="912874" y="3219326"/>
                      <a:pt x="1427194" y="3309031"/>
                      <a:pt x="1808461" y="3258278"/>
                    </a:cubicBezTo>
                    <a:cubicBezTo>
                      <a:pt x="2278815" y="3195492"/>
                      <a:pt x="2410481" y="2737710"/>
                      <a:pt x="2651057" y="2364080"/>
                    </a:cubicBezTo>
                    <a:cubicBezTo>
                      <a:pt x="2845431" y="2062183"/>
                      <a:pt x="3240427" y="1941240"/>
                      <a:pt x="3189751" y="1563444"/>
                    </a:cubicBezTo>
                    <a:cubicBezTo>
                      <a:pt x="3126348" y="1090390"/>
                      <a:pt x="3019828" y="302481"/>
                      <a:pt x="2642804" y="62522"/>
                    </a:cubicBezTo>
                    <a:cubicBezTo>
                      <a:pt x="2342064" y="-128844"/>
                      <a:pt x="1740430" y="175444"/>
                      <a:pt x="1365411" y="225965"/>
                    </a:cubicBezTo>
                    <a:cubicBezTo>
                      <a:pt x="894285" y="289291"/>
                      <a:pt x="340087" y="185934"/>
                      <a:pt x="100128" y="560798"/>
                    </a:cubicBezTo>
                    <a:cubicBezTo>
                      <a:pt x="-92781" y="862155"/>
                      <a:pt x="43435" y="1364056"/>
                      <a:pt x="94034" y="1740540"/>
                    </a:cubicBezTo>
                    <a:cubicBezTo>
                      <a:pt x="156589" y="2206653"/>
                      <a:pt x="240972" y="2780596"/>
                      <a:pt x="609589" y="302132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BE8DEA44-D5A8-0F2C-24B1-823F298C80EE}"/>
                  </a:ext>
                </a:extLst>
              </p:cNvPr>
              <p:cNvSpPr/>
              <p:nvPr/>
            </p:nvSpPr>
            <p:spPr>
              <a:xfrm>
                <a:off x="4352455" y="2686397"/>
                <a:ext cx="3246150" cy="3299210"/>
              </a:xfrm>
              <a:custGeom>
                <a:avLst/>
                <a:gdLst>
                  <a:gd name="connsiteX0" fmla="*/ 1832787 w 3246150"/>
                  <a:gd name="connsiteY0" fmla="*/ 3281344 h 3299210"/>
                  <a:gd name="connsiteX1" fmla="*/ 2655021 w 3246150"/>
                  <a:gd name="connsiteY1" fmla="*/ 2358915 h 3299210"/>
                  <a:gd name="connsiteX2" fmla="*/ 3242385 w 3246150"/>
                  <a:gd name="connsiteY2" fmla="*/ 1601628 h 3299210"/>
                  <a:gd name="connsiteX3" fmla="*/ 2643296 w 3246150"/>
                  <a:gd name="connsiteY3" fmla="*/ 46404 h 3299210"/>
                  <a:gd name="connsiteX4" fmla="*/ 1383027 w 3246150"/>
                  <a:gd name="connsiteY4" fmla="*/ 308655 h 3299210"/>
                  <a:gd name="connsiteX5" fmla="*/ 72158 w 3246150"/>
                  <a:gd name="connsiteY5" fmla="*/ 576844 h 3299210"/>
                  <a:gd name="connsiteX6" fmla="*/ 149908 w 3246150"/>
                  <a:gd name="connsiteY6" fmla="*/ 1770779 h 3299210"/>
                  <a:gd name="connsiteX7" fmla="*/ 635458 w 3246150"/>
                  <a:gd name="connsiteY7" fmla="*/ 3092214 h 3299210"/>
                  <a:gd name="connsiteX8" fmla="*/ 1832864 w 3246150"/>
                  <a:gd name="connsiteY8" fmla="*/ 3281266 h 3299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6150" h="3299210">
                    <a:moveTo>
                      <a:pt x="1832787" y="3281344"/>
                    </a:moveTo>
                    <a:cubicBezTo>
                      <a:pt x="2315329" y="3216707"/>
                      <a:pt x="2418069" y="2743421"/>
                      <a:pt x="2655021" y="2358915"/>
                    </a:cubicBezTo>
                    <a:cubicBezTo>
                      <a:pt x="2837131" y="2063420"/>
                      <a:pt x="3292059" y="1972558"/>
                      <a:pt x="3242385" y="1601628"/>
                    </a:cubicBezTo>
                    <a:cubicBezTo>
                      <a:pt x="3177285" y="1115693"/>
                      <a:pt x="3031967" y="282661"/>
                      <a:pt x="2643296" y="46404"/>
                    </a:cubicBezTo>
                    <a:cubicBezTo>
                      <a:pt x="2349344" y="-132312"/>
                      <a:pt x="1750487" y="259367"/>
                      <a:pt x="1383027" y="308655"/>
                    </a:cubicBezTo>
                    <a:cubicBezTo>
                      <a:pt x="898866" y="373523"/>
                      <a:pt x="308801" y="190333"/>
                      <a:pt x="72158" y="576844"/>
                    </a:cubicBezTo>
                    <a:cubicBezTo>
                      <a:pt x="-108255" y="871568"/>
                      <a:pt x="100466" y="1401546"/>
                      <a:pt x="149908" y="1770779"/>
                    </a:cubicBezTo>
                    <a:cubicBezTo>
                      <a:pt x="214005" y="2249233"/>
                      <a:pt x="255965" y="2854492"/>
                      <a:pt x="635458" y="3092214"/>
                    </a:cubicBezTo>
                    <a:cubicBezTo>
                      <a:pt x="932804" y="3278490"/>
                      <a:pt x="1457845" y="3331557"/>
                      <a:pt x="1832864" y="328126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6" name="Graphic 5">
              <a:extLst>
                <a:ext uri="{FF2B5EF4-FFF2-40B4-BE49-F238E27FC236}">
                  <a16:creationId xmlns:a16="http://schemas.microsoft.com/office/drawing/2014/main" id="{D432FD4F-D51D-78D3-9A75-705592952B17}"/>
                </a:ext>
              </a:extLst>
            </p:cNvPr>
            <p:cNvGrpSpPr/>
            <p:nvPr/>
          </p:nvGrpSpPr>
          <p:grpSpPr>
            <a:xfrm rot="180525">
              <a:off x="-597053" y="441139"/>
              <a:ext cx="6472770" cy="6313556"/>
              <a:chOff x="4270587" y="2574268"/>
              <a:chExt cx="3544376" cy="3457192"/>
            </a:xfrm>
            <a:noFill/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F07F3942-13BA-9889-BA00-530C85DBF735}"/>
                  </a:ext>
                </a:extLst>
              </p:cNvPr>
              <p:cNvSpPr/>
              <p:nvPr/>
            </p:nvSpPr>
            <p:spPr>
              <a:xfrm>
                <a:off x="4270587" y="2606803"/>
                <a:ext cx="3544376" cy="3424657"/>
              </a:xfrm>
              <a:custGeom>
                <a:avLst/>
                <a:gdLst>
                  <a:gd name="connsiteX0" fmla="*/ 3338832 w 3544376"/>
                  <a:gd name="connsiteY0" fmla="*/ 932573 h 3424657"/>
                  <a:gd name="connsiteX1" fmla="*/ 2419102 w 3544376"/>
                  <a:gd name="connsiteY1" fmla="*/ 117205 h 3424657"/>
                  <a:gd name="connsiteX2" fmla="*/ 1318575 w 3544376"/>
                  <a:gd name="connsiteY2" fmla="*/ 80027 h 3424657"/>
                  <a:gd name="connsiteX3" fmla="*/ 8709 w 3544376"/>
                  <a:gd name="connsiteY3" fmla="*/ 1110518 h 3424657"/>
                  <a:gd name="connsiteX4" fmla="*/ 630398 w 3544376"/>
                  <a:gd name="connsiteY4" fmla="*/ 2237733 h 3424657"/>
                  <a:gd name="connsiteX5" fmla="*/ 1272758 w 3544376"/>
                  <a:gd name="connsiteY5" fmla="*/ 3411536 h 3424657"/>
                  <a:gd name="connsiteX6" fmla="*/ 2390872 w 3544376"/>
                  <a:gd name="connsiteY6" fmla="*/ 2985687 h 3424657"/>
                  <a:gd name="connsiteX7" fmla="*/ 3510760 w 3544376"/>
                  <a:gd name="connsiteY7" fmla="*/ 2132601 h 3424657"/>
                  <a:gd name="connsiteX8" fmla="*/ 3338908 w 3544376"/>
                  <a:gd name="connsiteY8" fmla="*/ 932650 h 342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44376" h="3424657">
                    <a:moveTo>
                      <a:pt x="3338832" y="932573"/>
                    </a:moveTo>
                    <a:cubicBezTo>
                      <a:pt x="3134970" y="490449"/>
                      <a:pt x="2856290" y="230435"/>
                      <a:pt x="2419102" y="117205"/>
                    </a:cubicBezTo>
                    <a:cubicBezTo>
                      <a:pt x="2083036" y="30199"/>
                      <a:pt x="1658344" y="-76630"/>
                      <a:pt x="1318575" y="80027"/>
                    </a:cubicBezTo>
                    <a:cubicBezTo>
                      <a:pt x="873365" y="285354"/>
                      <a:pt x="120088" y="669551"/>
                      <a:pt x="8709" y="1110518"/>
                    </a:cubicBezTo>
                    <a:cubicBezTo>
                      <a:pt x="-75520" y="1444039"/>
                      <a:pt x="475130" y="1900972"/>
                      <a:pt x="630398" y="2237733"/>
                    </a:cubicBezTo>
                    <a:cubicBezTo>
                      <a:pt x="834953" y="2681323"/>
                      <a:pt x="833642" y="3299231"/>
                      <a:pt x="1272758" y="3411536"/>
                    </a:cubicBezTo>
                    <a:cubicBezTo>
                      <a:pt x="1607591" y="3497153"/>
                      <a:pt x="2052568" y="3141650"/>
                      <a:pt x="2390872" y="2985687"/>
                    </a:cubicBezTo>
                    <a:cubicBezTo>
                      <a:pt x="2829217" y="2783523"/>
                      <a:pt x="3395293" y="2565161"/>
                      <a:pt x="3510760" y="2132601"/>
                    </a:cubicBezTo>
                    <a:cubicBezTo>
                      <a:pt x="3601236" y="1793527"/>
                      <a:pt x="3497339" y="1276198"/>
                      <a:pt x="3338908" y="93265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610991D2-B3A8-36B7-D894-D58900E8F0DC}"/>
                  </a:ext>
                </a:extLst>
              </p:cNvPr>
              <p:cNvSpPr/>
              <p:nvPr/>
            </p:nvSpPr>
            <p:spPr>
              <a:xfrm>
                <a:off x="4311149" y="2610445"/>
                <a:ext cx="3481515" cy="3380560"/>
              </a:xfrm>
              <a:custGeom>
                <a:avLst/>
                <a:gdLst>
                  <a:gd name="connsiteX0" fmla="*/ 2384788 w 3481515"/>
                  <a:gd name="connsiteY0" fmla="*/ 2986674 h 3380560"/>
                  <a:gd name="connsiteX1" fmla="*/ 3435796 w 3481515"/>
                  <a:gd name="connsiteY1" fmla="*/ 2123946 h 3380560"/>
                  <a:gd name="connsiteX2" fmla="*/ 3309068 w 3481515"/>
                  <a:gd name="connsiteY2" fmla="*/ 911268 h 3380560"/>
                  <a:gd name="connsiteX3" fmla="*/ 2359797 w 3481515"/>
                  <a:gd name="connsiteY3" fmla="*/ 156988 h 3380560"/>
                  <a:gd name="connsiteX4" fmla="*/ 1222399 w 3481515"/>
                  <a:gd name="connsiteY4" fmla="*/ 71757 h 3380560"/>
                  <a:gd name="connsiteX5" fmla="*/ 10492 w 3481515"/>
                  <a:gd name="connsiteY5" fmla="*/ 1123691 h 3380560"/>
                  <a:gd name="connsiteX6" fmla="*/ 573097 w 3481515"/>
                  <a:gd name="connsiteY6" fmla="*/ 2302662 h 3380560"/>
                  <a:gd name="connsiteX7" fmla="*/ 1256646 w 3481515"/>
                  <a:gd name="connsiteY7" fmla="*/ 3364546 h 3380560"/>
                  <a:gd name="connsiteX8" fmla="*/ 2384788 w 3481515"/>
                  <a:gd name="connsiteY8" fmla="*/ 2986674 h 3380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1515" h="3380560">
                    <a:moveTo>
                      <a:pt x="2384788" y="2986674"/>
                    </a:moveTo>
                    <a:cubicBezTo>
                      <a:pt x="2808400" y="2782658"/>
                      <a:pt x="3322257" y="2550489"/>
                      <a:pt x="3435796" y="2123946"/>
                    </a:cubicBezTo>
                    <a:cubicBezTo>
                      <a:pt x="3529127" y="1772916"/>
                      <a:pt x="3475983" y="1257439"/>
                      <a:pt x="3309068" y="911268"/>
                    </a:cubicBezTo>
                    <a:cubicBezTo>
                      <a:pt x="3103355" y="484725"/>
                      <a:pt x="2790197" y="268368"/>
                      <a:pt x="2359797" y="156988"/>
                    </a:cubicBezTo>
                    <a:cubicBezTo>
                      <a:pt x="2011157" y="66743"/>
                      <a:pt x="1565254" y="-93770"/>
                      <a:pt x="1222399" y="71757"/>
                    </a:cubicBezTo>
                    <a:cubicBezTo>
                      <a:pt x="793465" y="278935"/>
                      <a:pt x="120175" y="690129"/>
                      <a:pt x="10492" y="1123691"/>
                    </a:cubicBezTo>
                    <a:cubicBezTo>
                      <a:pt x="-77208" y="1469862"/>
                      <a:pt x="408959" y="1962662"/>
                      <a:pt x="573097" y="2302662"/>
                    </a:cubicBezTo>
                    <a:cubicBezTo>
                      <a:pt x="779581" y="2730362"/>
                      <a:pt x="824704" y="3254015"/>
                      <a:pt x="1256646" y="3364546"/>
                    </a:cubicBezTo>
                    <a:cubicBezTo>
                      <a:pt x="1603512" y="3453403"/>
                      <a:pt x="2043630" y="3150966"/>
                      <a:pt x="2384788" y="298667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092AF563-6CEE-840E-762A-CBAB9FDA725D}"/>
                  </a:ext>
                </a:extLst>
              </p:cNvPr>
              <p:cNvSpPr/>
              <p:nvPr/>
            </p:nvSpPr>
            <p:spPr>
              <a:xfrm>
                <a:off x="4351228" y="2611075"/>
                <a:ext cx="3424905" cy="3340311"/>
              </a:xfrm>
              <a:custGeom>
                <a:avLst/>
                <a:gdLst>
                  <a:gd name="connsiteX0" fmla="*/ 2379187 w 3424905"/>
                  <a:gd name="connsiteY0" fmla="*/ 2990672 h 3340311"/>
                  <a:gd name="connsiteX1" fmla="*/ 3361317 w 3424905"/>
                  <a:gd name="connsiteY1" fmla="*/ 2118303 h 3340311"/>
                  <a:gd name="connsiteX2" fmla="*/ 3279788 w 3424905"/>
                  <a:gd name="connsiteY2" fmla="*/ 892974 h 3340311"/>
                  <a:gd name="connsiteX3" fmla="*/ 2300975 w 3424905"/>
                  <a:gd name="connsiteY3" fmla="*/ 199707 h 3340311"/>
                  <a:gd name="connsiteX4" fmla="*/ 1126708 w 3424905"/>
                  <a:gd name="connsiteY4" fmla="*/ 66422 h 3340311"/>
                  <a:gd name="connsiteX5" fmla="*/ 12759 w 3424905"/>
                  <a:gd name="connsiteY5" fmla="*/ 1139722 h 3340311"/>
                  <a:gd name="connsiteX6" fmla="*/ 516204 w 3424905"/>
                  <a:gd name="connsiteY6" fmla="*/ 2370449 h 3340311"/>
                  <a:gd name="connsiteX7" fmla="*/ 1241019 w 3424905"/>
                  <a:gd name="connsiteY7" fmla="*/ 3320491 h 3340311"/>
                  <a:gd name="connsiteX8" fmla="*/ 2379265 w 3424905"/>
                  <a:gd name="connsiteY8" fmla="*/ 2990594 h 3340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24905" h="3340311">
                    <a:moveTo>
                      <a:pt x="2379187" y="2990672"/>
                    </a:moveTo>
                    <a:cubicBezTo>
                      <a:pt x="2788222" y="2785113"/>
                      <a:pt x="3249628" y="2538829"/>
                      <a:pt x="3361317" y="2118303"/>
                    </a:cubicBezTo>
                    <a:cubicBezTo>
                      <a:pt x="3457501" y="1755239"/>
                      <a:pt x="3455341" y="1241614"/>
                      <a:pt x="3279788" y="892974"/>
                    </a:cubicBezTo>
                    <a:cubicBezTo>
                      <a:pt x="3072686" y="481781"/>
                      <a:pt x="2724587" y="309389"/>
                      <a:pt x="2300975" y="199707"/>
                    </a:cubicBezTo>
                    <a:cubicBezTo>
                      <a:pt x="1939763" y="106145"/>
                      <a:pt x="1472571" y="-108206"/>
                      <a:pt x="1126708" y="66422"/>
                    </a:cubicBezTo>
                    <a:cubicBezTo>
                      <a:pt x="713895" y="274988"/>
                      <a:pt x="120745" y="713641"/>
                      <a:pt x="12759" y="1139722"/>
                    </a:cubicBezTo>
                    <a:cubicBezTo>
                      <a:pt x="-78411" y="1498619"/>
                      <a:pt x="342964" y="2027286"/>
                      <a:pt x="516204" y="2370449"/>
                    </a:cubicBezTo>
                    <a:cubicBezTo>
                      <a:pt x="724076" y="2782414"/>
                      <a:pt x="816250" y="3211657"/>
                      <a:pt x="1241019" y="3320491"/>
                    </a:cubicBezTo>
                    <a:cubicBezTo>
                      <a:pt x="1599917" y="3412587"/>
                      <a:pt x="2035176" y="3163449"/>
                      <a:pt x="2379265" y="299059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770DCCF7-AEA5-10CF-23F7-D25CE919AAD5}"/>
                  </a:ext>
                </a:extLst>
              </p:cNvPr>
              <p:cNvSpPr/>
              <p:nvPr/>
            </p:nvSpPr>
            <p:spPr>
              <a:xfrm>
                <a:off x="4390546" y="2609845"/>
                <a:ext cx="3375801" cy="3303429"/>
              </a:xfrm>
              <a:custGeom>
                <a:avLst/>
                <a:gdLst>
                  <a:gd name="connsiteX0" fmla="*/ 2374347 w 3375801"/>
                  <a:gd name="connsiteY0" fmla="*/ 2996529 h 3303429"/>
                  <a:gd name="connsiteX1" fmla="*/ 3287597 w 3375801"/>
                  <a:gd name="connsiteY1" fmla="*/ 2114518 h 3303429"/>
                  <a:gd name="connsiteX2" fmla="*/ 3251191 w 3375801"/>
                  <a:gd name="connsiteY2" fmla="*/ 876541 h 3303429"/>
                  <a:gd name="connsiteX3" fmla="*/ 2242836 w 3375801"/>
                  <a:gd name="connsiteY3" fmla="*/ 244285 h 3303429"/>
                  <a:gd name="connsiteX4" fmla="*/ 1031700 w 3375801"/>
                  <a:gd name="connsiteY4" fmla="*/ 62946 h 3303429"/>
                  <a:gd name="connsiteX5" fmla="*/ 15710 w 3375801"/>
                  <a:gd name="connsiteY5" fmla="*/ 1157689 h 3303429"/>
                  <a:gd name="connsiteX6" fmla="*/ 459993 w 3375801"/>
                  <a:gd name="connsiteY6" fmla="*/ 2440249 h 3303429"/>
                  <a:gd name="connsiteX7" fmla="*/ 1226074 w 3375801"/>
                  <a:gd name="connsiteY7" fmla="*/ 3278449 h 3303429"/>
                  <a:gd name="connsiteX8" fmla="*/ 2374347 w 3375801"/>
                  <a:gd name="connsiteY8" fmla="*/ 2996529 h 330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5801" h="3303429">
                    <a:moveTo>
                      <a:pt x="2374347" y="2996529"/>
                    </a:moveTo>
                    <a:cubicBezTo>
                      <a:pt x="2768881" y="2789891"/>
                      <a:pt x="3177760" y="2529029"/>
                      <a:pt x="3287597" y="2114518"/>
                    </a:cubicBezTo>
                    <a:cubicBezTo>
                      <a:pt x="3386712" y="1739423"/>
                      <a:pt x="3435692" y="1227571"/>
                      <a:pt x="3251191" y="876541"/>
                    </a:cubicBezTo>
                    <a:cubicBezTo>
                      <a:pt x="3043087" y="480619"/>
                      <a:pt x="2659584" y="352193"/>
                      <a:pt x="2242836" y="244285"/>
                    </a:cubicBezTo>
                    <a:cubicBezTo>
                      <a:pt x="1869052" y="147483"/>
                      <a:pt x="1380494" y="-121092"/>
                      <a:pt x="1031700" y="62946"/>
                    </a:cubicBezTo>
                    <a:cubicBezTo>
                      <a:pt x="634776" y="272438"/>
                      <a:pt x="121999" y="739090"/>
                      <a:pt x="15710" y="1157689"/>
                    </a:cubicBezTo>
                    <a:cubicBezTo>
                      <a:pt x="-78932" y="1529236"/>
                      <a:pt x="277421" y="2093847"/>
                      <a:pt x="459993" y="2440249"/>
                    </a:cubicBezTo>
                    <a:cubicBezTo>
                      <a:pt x="668869" y="2836556"/>
                      <a:pt x="808402" y="3171312"/>
                      <a:pt x="1226074" y="3278449"/>
                    </a:cubicBezTo>
                    <a:cubicBezTo>
                      <a:pt x="1597005" y="3373785"/>
                      <a:pt x="2027559" y="3178176"/>
                      <a:pt x="2374347" y="29965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56842D73-8AB6-3373-EF23-4789DAA9E177}"/>
                  </a:ext>
                </a:extLst>
              </p:cNvPr>
              <p:cNvSpPr/>
              <p:nvPr/>
            </p:nvSpPr>
            <p:spPr>
              <a:xfrm>
                <a:off x="4428860" y="2607348"/>
                <a:ext cx="3333638" cy="3269772"/>
              </a:xfrm>
              <a:custGeom>
                <a:avLst/>
                <a:gdLst>
                  <a:gd name="connsiteX0" fmla="*/ 2370512 w 3333638"/>
                  <a:gd name="connsiteY0" fmla="*/ 3003654 h 3269772"/>
                  <a:gd name="connsiteX1" fmla="*/ 3214806 w 3333638"/>
                  <a:gd name="connsiteY1" fmla="*/ 2112002 h 3269772"/>
                  <a:gd name="connsiteX2" fmla="*/ 3223522 w 3333638"/>
                  <a:gd name="connsiteY2" fmla="*/ 861297 h 3269772"/>
                  <a:gd name="connsiteX3" fmla="*/ 2185625 w 3333638"/>
                  <a:gd name="connsiteY3" fmla="*/ 290053 h 3269772"/>
                  <a:gd name="connsiteX4" fmla="*/ 937697 w 3333638"/>
                  <a:gd name="connsiteY4" fmla="*/ 60738 h 3269772"/>
                  <a:gd name="connsiteX5" fmla="*/ 19665 w 3333638"/>
                  <a:gd name="connsiteY5" fmla="*/ 1176924 h 3269772"/>
                  <a:gd name="connsiteX6" fmla="*/ 404865 w 3333638"/>
                  <a:gd name="connsiteY6" fmla="*/ 2511240 h 3269772"/>
                  <a:gd name="connsiteX7" fmla="*/ 1212212 w 3333638"/>
                  <a:gd name="connsiteY7" fmla="*/ 3237597 h 3269772"/>
                  <a:gd name="connsiteX8" fmla="*/ 2370512 w 3333638"/>
                  <a:gd name="connsiteY8" fmla="*/ 3003654 h 3269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638" h="3269772">
                    <a:moveTo>
                      <a:pt x="2370512" y="3003654"/>
                    </a:moveTo>
                    <a:cubicBezTo>
                      <a:pt x="2750699" y="2796245"/>
                      <a:pt x="3106897" y="2520419"/>
                      <a:pt x="3214806" y="2112002"/>
                    </a:cubicBezTo>
                    <a:cubicBezTo>
                      <a:pt x="3316775" y="1724873"/>
                      <a:pt x="3417279" y="1214719"/>
                      <a:pt x="3223522" y="861297"/>
                    </a:cubicBezTo>
                    <a:cubicBezTo>
                      <a:pt x="3014800" y="480494"/>
                      <a:pt x="2595585" y="396265"/>
                      <a:pt x="2185625" y="290053"/>
                    </a:cubicBezTo>
                    <a:cubicBezTo>
                      <a:pt x="1799191" y="189935"/>
                      <a:pt x="1289268" y="-133019"/>
                      <a:pt x="937697" y="60738"/>
                    </a:cubicBezTo>
                    <a:cubicBezTo>
                      <a:pt x="556508" y="270770"/>
                      <a:pt x="124334" y="765730"/>
                      <a:pt x="19665" y="1176924"/>
                    </a:cubicBezTo>
                    <a:cubicBezTo>
                      <a:pt x="-78448" y="1561121"/>
                      <a:pt x="212651" y="2161829"/>
                      <a:pt x="404865" y="2511240"/>
                    </a:cubicBezTo>
                    <a:cubicBezTo>
                      <a:pt x="614357" y="2892120"/>
                      <a:pt x="801635" y="3132157"/>
                      <a:pt x="1212212" y="3237597"/>
                    </a:cubicBezTo>
                    <a:cubicBezTo>
                      <a:pt x="1595175" y="3336095"/>
                      <a:pt x="2021102" y="3194326"/>
                      <a:pt x="2370512" y="30036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F1964F62-AC6F-CDC6-510F-C93BF37E800C}"/>
                  </a:ext>
                </a:extLst>
              </p:cNvPr>
              <p:cNvSpPr/>
              <p:nvPr/>
            </p:nvSpPr>
            <p:spPr>
              <a:xfrm>
                <a:off x="4465597" y="2604029"/>
                <a:ext cx="3297610" cy="3240257"/>
              </a:xfrm>
              <a:custGeom>
                <a:avLst/>
                <a:gdLst>
                  <a:gd name="connsiteX0" fmla="*/ 2368253 w 3297610"/>
                  <a:gd name="connsiteY0" fmla="*/ 3011601 h 3240257"/>
                  <a:gd name="connsiteX1" fmla="*/ 3143667 w 3297610"/>
                  <a:gd name="connsiteY1" fmla="*/ 2110307 h 3240257"/>
                  <a:gd name="connsiteX2" fmla="*/ 3197583 w 3297610"/>
                  <a:gd name="connsiteY2" fmla="*/ 846953 h 3240257"/>
                  <a:gd name="connsiteX3" fmla="*/ 2130145 w 3297610"/>
                  <a:gd name="connsiteY3" fmla="*/ 336721 h 3240257"/>
                  <a:gd name="connsiteX4" fmla="*/ 845347 w 3297610"/>
                  <a:gd name="connsiteY4" fmla="*/ 59352 h 3240257"/>
                  <a:gd name="connsiteX5" fmla="*/ 25197 w 3297610"/>
                  <a:gd name="connsiteY5" fmla="*/ 1196981 h 3240257"/>
                  <a:gd name="connsiteX6" fmla="*/ 351236 w 3297610"/>
                  <a:gd name="connsiteY6" fmla="*/ 2583130 h 3240257"/>
                  <a:gd name="connsiteX7" fmla="*/ 1199772 w 3297610"/>
                  <a:gd name="connsiteY7" fmla="*/ 3197645 h 3240257"/>
                  <a:gd name="connsiteX8" fmla="*/ 2368176 w 3297610"/>
                  <a:gd name="connsiteY8" fmla="*/ 3011756 h 3240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7610" h="3240257">
                    <a:moveTo>
                      <a:pt x="2368253" y="3011601"/>
                    </a:moveTo>
                    <a:cubicBezTo>
                      <a:pt x="2734325" y="2803729"/>
                      <a:pt x="3037610" y="2512708"/>
                      <a:pt x="3143667" y="2110307"/>
                    </a:cubicBezTo>
                    <a:cubicBezTo>
                      <a:pt x="3248491" y="1711146"/>
                      <a:pt x="3400750" y="1202611"/>
                      <a:pt x="3197583" y="846953"/>
                    </a:cubicBezTo>
                    <a:cubicBezTo>
                      <a:pt x="2988554" y="481113"/>
                      <a:pt x="2533317" y="441159"/>
                      <a:pt x="2130145" y="336721"/>
                    </a:cubicBezTo>
                    <a:cubicBezTo>
                      <a:pt x="1731138" y="233364"/>
                      <a:pt x="1199617" y="-144355"/>
                      <a:pt x="845347" y="59352"/>
                    </a:cubicBezTo>
                    <a:cubicBezTo>
                      <a:pt x="479739" y="269539"/>
                      <a:pt x="128246" y="793269"/>
                      <a:pt x="25197" y="1196981"/>
                    </a:cubicBezTo>
                    <a:cubicBezTo>
                      <a:pt x="-76464" y="1593828"/>
                      <a:pt x="149149" y="2230788"/>
                      <a:pt x="351236" y="2583130"/>
                    </a:cubicBezTo>
                    <a:cubicBezTo>
                      <a:pt x="560960" y="2948739"/>
                      <a:pt x="796368" y="3093902"/>
                      <a:pt x="1199772" y="3197645"/>
                    </a:cubicBezTo>
                    <a:cubicBezTo>
                      <a:pt x="1594768" y="3299383"/>
                      <a:pt x="2016143" y="3211683"/>
                      <a:pt x="2368176" y="301175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051DB982-011E-F4C6-6B88-878CF31729A7}"/>
                  </a:ext>
                </a:extLst>
              </p:cNvPr>
              <p:cNvSpPr/>
              <p:nvPr/>
            </p:nvSpPr>
            <p:spPr>
              <a:xfrm>
                <a:off x="4499869" y="2600116"/>
                <a:ext cx="3267148" cy="3216006"/>
              </a:xfrm>
              <a:custGeom>
                <a:avLst/>
                <a:gdLst>
                  <a:gd name="connsiteX0" fmla="*/ 2368459 w 3267148"/>
                  <a:gd name="connsiteY0" fmla="*/ 3020220 h 3216006"/>
                  <a:gd name="connsiteX1" fmla="*/ 3074994 w 3267148"/>
                  <a:gd name="connsiteY1" fmla="*/ 2109207 h 3216006"/>
                  <a:gd name="connsiteX2" fmla="*/ 3174032 w 3267148"/>
                  <a:gd name="connsiteY2" fmla="*/ 833203 h 3216006"/>
                  <a:gd name="connsiteX3" fmla="*/ 2077052 w 3267148"/>
                  <a:gd name="connsiteY3" fmla="*/ 384060 h 3216006"/>
                  <a:gd name="connsiteX4" fmla="*/ 755385 w 3267148"/>
                  <a:gd name="connsiteY4" fmla="*/ 58637 h 3216006"/>
                  <a:gd name="connsiteX5" fmla="*/ 33193 w 3267148"/>
                  <a:gd name="connsiteY5" fmla="*/ 1217631 h 3216006"/>
                  <a:gd name="connsiteX6" fmla="*/ 300072 w 3267148"/>
                  <a:gd name="connsiteY6" fmla="*/ 2655537 h 3216006"/>
                  <a:gd name="connsiteX7" fmla="*/ 1189873 w 3267148"/>
                  <a:gd name="connsiteY7" fmla="*/ 3158209 h 3216006"/>
                  <a:gd name="connsiteX8" fmla="*/ 2368305 w 3267148"/>
                  <a:gd name="connsiteY8" fmla="*/ 3020297 h 3216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7148" h="3216006">
                    <a:moveTo>
                      <a:pt x="2368459" y="3020220"/>
                    </a:moveTo>
                    <a:cubicBezTo>
                      <a:pt x="2720493" y="2812193"/>
                      <a:pt x="2970787" y="2505668"/>
                      <a:pt x="3074994" y="2109207"/>
                    </a:cubicBezTo>
                    <a:cubicBezTo>
                      <a:pt x="3182748" y="1698013"/>
                      <a:pt x="3386995" y="1190866"/>
                      <a:pt x="3174032" y="833203"/>
                    </a:cubicBezTo>
                    <a:cubicBezTo>
                      <a:pt x="2965002" y="482095"/>
                      <a:pt x="2473360" y="486646"/>
                      <a:pt x="2077052" y="384060"/>
                    </a:cubicBezTo>
                    <a:cubicBezTo>
                      <a:pt x="1665473" y="277462"/>
                      <a:pt x="1112201" y="-155406"/>
                      <a:pt x="755385" y="58637"/>
                    </a:cubicBezTo>
                    <a:cubicBezTo>
                      <a:pt x="405203" y="268669"/>
                      <a:pt x="134545" y="821401"/>
                      <a:pt x="33193" y="1217631"/>
                    </a:cubicBezTo>
                    <a:cubicBezTo>
                      <a:pt x="-71939" y="1627205"/>
                      <a:pt x="87803" y="2300495"/>
                      <a:pt x="300072" y="2655537"/>
                    </a:cubicBezTo>
                    <a:cubicBezTo>
                      <a:pt x="509718" y="3006104"/>
                      <a:pt x="793566" y="3056163"/>
                      <a:pt x="1189873" y="3158209"/>
                    </a:cubicBezTo>
                    <a:cubicBezTo>
                      <a:pt x="1596979" y="3263187"/>
                      <a:pt x="2013881" y="3229711"/>
                      <a:pt x="2368305" y="302029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4B9B4F55-2757-2DAA-6E56-8731B3E04444}"/>
                  </a:ext>
                </a:extLst>
              </p:cNvPr>
              <p:cNvSpPr/>
              <p:nvPr/>
            </p:nvSpPr>
            <p:spPr>
              <a:xfrm>
                <a:off x="4530202" y="2595585"/>
                <a:ext cx="3242767" cy="3198539"/>
              </a:xfrm>
              <a:custGeom>
                <a:avLst/>
                <a:gdLst>
                  <a:gd name="connsiteX0" fmla="*/ 2372604 w 3242767"/>
                  <a:gd name="connsiteY0" fmla="*/ 3029379 h 3198539"/>
                  <a:gd name="connsiteX1" fmla="*/ 3010259 w 3242767"/>
                  <a:gd name="connsiteY1" fmla="*/ 2108724 h 3198539"/>
                  <a:gd name="connsiteX2" fmla="*/ 3154497 w 3242767"/>
                  <a:gd name="connsiteY2" fmla="*/ 819993 h 3198539"/>
                  <a:gd name="connsiteX3" fmla="*/ 2027976 w 3242767"/>
                  <a:gd name="connsiteY3" fmla="*/ 431862 h 3198539"/>
                  <a:gd name="connsiteX4" fmla="*/ 669516 w 3242767"/>
                  <a:gd name="connsiteY4" fmla="*/ 58386 h 3198539"/>
                  <a:gd name="connsiteX5" fmla="*/ 45282 w 3242767"/>
                  <a:gd name="connsiteY5" fmla="*/ 1238823 h 3198539"/>
                  <a:gd name="connsiteX6" fmla="*/ 253078 w 3242767"/>
                  <a:gd name="connsiteY6" fmla="*/ 2728484 h 3198539"/>
                  <a:gd name="connsiteX7" fmla="*/ 1184145 w 3242767"/>
                  <a:gd name="connsiteY7" fmla="*/ 3119315 h 3198539"/>
                  <a:gd name="connsiteX8" fmla="*/ 2372681 w 3242767"/>
                  <a:gd name="connsiteY8" fmla="*/ 3029379 h 319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2767" h="3198539">
                    <a:moveTo>
                      <a:pt x="2372604" y="3029379"/>
                    </a:moveTo>
                    <a:cubicBezTo>
                      <a:pt x="2710831" y="2821429"/>
                      <a:pt x="2907904" y="2499092"/>
                      <a:pt x="3010259" y="2108724"/>
                    </a:cubicBezTo>
                    <a:cubicBezTo>
                      <a:pt x="3120867" y="1685498"/>
                      <a:pt x="3377488" y="1179585"/>
                      <a:pt x="3154497" y="819993"/>
                    </a:cubicBezTo>
                    <a:cubicBezTo>
                      <a:pt x="2945776" y="483464"/>
                      <a:pt x="2417495" y="532752"/>
                      <a:pt x="2027976" y="431862"/>
                    </a:cubicBezTo>
                    <a:cubicBezTo>
                      <a:pt x="1603746" y="321948"/>
                      <a:pt x="1028569" y="-166224"/>
                      <a:pt x="669516" y="58386"/>
                    </a:cubicBezTo>
                    <a:cubicBezTo>
                      <a:pt x="334530" y="267878"/>
                      <a:pt x="144938" y="850075"/>
                      <a:pt x="45282" y="1238823"/>
                    </a:cubicBezTo>
                    <a:cubicBezTo>
                      <a:pt x="-63320" y="1661047"/>
                      <a:pt x="30241" y="2370898"/>
                      <a:pt x="253078" y="2728484"/>
                    </a:cubicBezTo>
                    <a:cubicBezTo>
                      <a:pt x="462261" y="3064165"/>
                      <a:pt x="795011" y="3018966"/>
                      <a:pt x="1184145" y="3119315"/>
                    </a:cubicBezTo>
                    <a:cubicBezTo>
                      <a:pt x="1603283" y="3227532"/>
                      <a:pt x="2015943" y="3248666"/>
                      <a:pt x="2372681" y="30293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5FBB943-9321-866A-E923-03725633205D}"/>
                  </a:ext>
                </a:extLst>
              </p:cNvPr>
              <p:cNvSpPr/>
              <p:nvPr/>
            </p:nvSpPr>
            <p:spPr>
              <a:xfrm>
                <a:off x="4553971" y="2590726"/>
                <a:ext cx="3226504" cy="3187950"/>
              </a:xfrm>
              <a:custGeom>
                <a:avLst/>
                <a:gdLst>
                  <a:gd name="connsiteX0" fmla="*/ 2383391 w 3226504"/>
                  <a:gd name="connsiteY0" fmla="*/ 3038865 h 3187950"/>
                  <a:gd name="connsiteX1" fmla="*/ 2952166 w 3226504"/>
                  <a:gd name="connsiteY1" fmla="*/ 2108570 h 3187950"/>
                  <a:gd name="connsiteX2" fmla="*/ 3141527 w 3226504"/>
                  <a:gd name="connsiteY2" fmla="*/ 807189 h 3187950"/>
                  <a:gd name="connsiteX3" fmla="*/ 1985463 w 3226504"/>
                  <a:gd name="connsiteY3" fmla="*/ 480070 h 3187950"/>
                  <a:gd name="connsiteX4" fmla="*/ 590135 w 3226504"/>
                  <a:gd name="connsiteY4" fmla="*/ 58540 h 3187950"/>
                  <a:gd name="connsiteX5" fmla="*/ 63859 w 3226504"/>
                  <a:gd name="connsiteY5" fmla="*/ 1260420 h 3187950"/>
                  <a:gd name="connsiteX6" fmla="*/ 212494 w 3226504"/>
                  <a:gd name="connsiteY6" fmla="*/ 2801914 h 3187950"/>
                  <a:gd name="connsiteX7" fmla="*/ 1184827 w 3226504"/>
                  <a:gd name="connsiteY7" fmla="*/ 3080825 h 3187950"/>
                  <a:gd name="connsiteX8" fmla="*/ 2383391 w 3226504"/>
                  <a:gd name="connsiteY8" fmla="*/ 3038865 h 3187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6504" h="3187950">
                    <a:moveTo>
                      <a:pt x="2383391" y="3038865"/>
                    </a:moveTo>
                    <a:cubicBezTo>
                      <a:pt x="2707964" y="2831302"/>
                      <a:pt x="2851740" y="2492921"/>
                      <a:pt x="2952166" y="2108570"/>
                    </a:cubicBezTo>
                    <a:cubicBezTo>
                      <a:pt x="3065629" y="1673310"/>
                      <a:pt x="3374930" y="1168401"/>
                      <a:pt x="3141527" y="807189"/>
                    </a:cubicBezTo>
                    <a:cubicBezTo>
                      <a:pt x="2933423" y="485083"/>
                      <a:pt x="2368118" y="579185"/>
                      <a:pt x="1985463" y="480070"/>
                    </a:cubicBezTo>
                    <a:cubicBezTo>
                      <a:pt x="1548662" y="366916"/>
                      <a:pt x="951347" y="-177023"/>
                      <a:pt x="590135" y="58540"/>
                    </a:cubicBezTo>
                    <a:cubicBezTo>
                      <a:pt x="270112" y="267261"/>
                      <a:pt x="161818" y="879077"/>
                      <a:pt x="63859" y="1260420"/>
                    </a:cubicBezTo>
                    <a:cubicBezTo>
                      <a:pt x="-48214" y="1695293"/>
                      <a:pt x="-21218" y="2442014"/>
                      <a:pt x="212494" y="2801914"/>
                    </a:cubicBezTo>
                    <a:cubicBezTo>
                      <a:pt x="420983" y="3122940"/>
                      <a:pt x="802790" y="2982250"/>
                      <a:pt x="1184827" y="3080825"/>
                    </a:cubicBezTo>
                    <a:cubicBezTo>
                      <a:pt x="1615998" y="3192205"/>
                      <a:pt x="2024647" y="3268258"/>
                      <a:pt x="2383391" y="303886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C1FF82DA-317B-84A9-0287-F9E4241645DF}"/>
                  </a:ext>
                </a:extLst>
              </p:cNvPr>
              <p:cNvSpPr/>
              <p:nvPr/>
            </p:nvSpPr>
            <p:spPr>
              <a:xfrm>
                <a:off x="4568996" y="2585529"/>
                <a:ext cx="3220062" cy="3183237"/>
              </a:xfrm>
              <a:custGeom>
                <a:avLst/>
                <a:gdLst>
                  <a:gd name="connsiteX0" fmla="*/ 2402845 w 3220062"/>
                  <a:gd name="connsiteY0" fmla="*/ 3048690 h 3183237"/>
                  <a:gd name="connsiteX1" fmla="*/ 2902741 w 3220062"/>
                  <a:gd name="connsiteY1" fmla="*/ 2108752 h 3183237"/>
                  <a:gd name="connsiteX2" fmla="*/ 3137301 w 3220062"/>
                  <a:gd name="connsiteY2" fmla="*/ 794722 h 3183237"/>
                  <a:gd name="connsiteX3" fmla="*/ 1951696 w 3220062"/>
                  <a:gd name="connsiteY3" fmla="*/ 528615 h 3183237"/>
                  <a:gd name="connsiteX4" fmla="*/ 519498 w 3220062"/>
                  <a:gd name="connsiteY4" fmla="*/ 59031 h 3183237"/>
                  <a:gd name="connsiteX5" fmla="*/ 91104 w 3220062"/>
                  <a:gd name="connsiteY5" fmla="*/ 1282277 h 3183237"/>
                  <a:gd name="connsiteX6" fmla="*/ 180577 w 3220062"/>
                  <a:gd name="connsiteY6" fmla="*/ 2875527 h 3183237"/>
                  <a:gd name="connsiteX7" fmla="*/ 1194100 w 3220062"/>
                  <a:gd name="connsiteY7" fmla="*/ 3042597 h 3183237"/>
                  <a:gd name="connsiteX8" fmla="*/ 2402690 w 3220062"/>
                  <a:gd name="connsiteY8" fmla="*/ 3048690 h 3183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062" h="3183237">
                    <a:moveTo>
                      <a:pt x="2402845" y="3048690"/>
                    </a:moveTo>
                    <a:cubicBezTo>
                      <a:pt x="2713920" y="2841743"/>
                      <a:pt x="2804166" y="2487088"/>
                      <a:pt x="2902741" y="2108752"/>
                    </a:cubicBezTo>
                    <a:cubicBezTo>
                      <a:pt x="3019057" y="1661538"/>
                      <a:pt x="3381426" y="1157322"/>
                      <a:pt x="3137301" y="794722"/>
                    </a:cubicBezTo>
                    <a:cubicBezTo>
                      <a:pt x="2930046" y="486809"/>
                      <a:pt x="2327563" y="626033"/>
                      <a:pt x="1951696" y="528615"/>
                    </a:cubicBezTo>
                    <a:cubicBezTo>
                      <a:pt x="1502322" y="412221"/>
                      <a:pt x="882484" y="-187870"/>
                      <a:pt x="519498" y="59031"/>
                    </a:cubicBezTo>
                    <a:cubicBezTo>
                      <a:pt x="214284" y="266672"/>
                      <a:pt x="187442" y="908415"/>
                      <a:pt x="91104" y="1282277"/>
                    </a:cubicBezTo>
                    <a:cubicBezTo>
                      <a:pt x="-24441" y="1729877"/>
                      <a:pt x="-64396" y="2513621"/>
                      <a:pt x="180577" y="2875527"/>
                    </a:cubicBezTo>
                    <a:cubicBezTo>
                      <a:pt x="388064" y="3182052"/>
                      <a:pt x="819235" y="2945718"/>
                      <a:pt x="1194100" y="3042597"/>
                    </a:cubicBezTo>
                    <a:cubicBezTo>
                      <a:pt x="1637304" y="3157215"/>
                      <a:pt x="2042173" y="3288495"/>
                      <a:pt x="2402690" y="304869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CD492734-745C-69D8-724C-C2F214DB4081}"/>
                  </a:ext>
                </a:extLst>
              </p:cNvPr>
              <p:cNvSpPr/>
              <p:nvPr/>
            </p:nvSpPr>
            <p:spPr>
              <a:xfrm>
                <a:off x="4575239" y="2579941"/>
                <a:ext cx="3223194" cy="3183120"/>
              </a:xfrm>
              <a:custGeom>
                <a:avLst/>
                <a:gdLst>
                  <a:gd name="connsiteX0" fmla="*/ 2431079 w 3223194"/>
                  <a:gd name="connsiteY0" fmla="*/ 3058906 h 3183120"/>
                  <a:gd name="connsiteX1" fmla="*/ 2862096 w 3223194"/>
                  <a:gd name="connsiteY1" fmla="*/ 2109327 h 3183120"/>
                  <a:gd name="connsiteX2" fmla="*/ 3141779 w 3223194"/>
                  <a:gd name="connsiteY2" fmla="*/ 782570 h 3183120"/>
                  <a:gd name="connsiteX3" fmla="*/ 1926632 w 3223194"/>
                  <a:gd name="connsiteY3" fmla="*/ 577475 h 3183120"/>
                  <a:gd name="connsiteX4" fmla="*/ 457565 w 3223194"/>
                  <a:gd name="connsiteY4" fmla="*/ 59838 h 3183120"/>
                  <a:gd name="connsiteX5" fmla="*/ 127129 w 3223194"/>
                  <a:gd name="connsiteY5" fmla="*/ 1304526 h 3183120"/>
                  <a:gd name="connsiteX6" fmla="*/ 157519 w 3223194"/>
                  <a:gd name="connsiteY6" fmla="*/ 2949610 h 3183120"/>
                  <a:gd name="connsiteX7" fmla="*/ 1212307 w 3223194"/>
                  <a:gd name="connsiteY7" fmla="*/ 3004836 h 3183120"/>
                  <a:gd name="connsiteX8" fmla="*/ 2431002 w 3223194"/>
                  <a:gd name="connsiteY8" fmla="*/ 3058906 h 318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3194" h="3183120">
                    <a:moveTo>
                      <a:pt x="2431079" y="3058906"/>
                    </a:moveTo>
                    <a:cubicBezTo>
                      <a:pt x="2728888" y="2852731"/>
                      <a:pt x="2765372" y="2481646"/>
                      <a:pt x="2862096" y="2109327"/>
                    </a:cubicBezTo>
                    <a:cubicBezTo>
                      <a:pt x="2981343" y="1650080"/>
                      <a:pt x="3397011" y="1146327"/>
                      <a:pt x="3141779" y="782570"/>
                    </a:cubicBezTo>
                    <a:cubicBezTo>
                      <a:pt x="2935526" y="488695"/>
                      <a:pt x="2295712" y="673119"/>
                      <a:pt x="1926632" y="577475"/>
                    </a:cubicBezTo>
                    <a:cubicBezTo>
                      <a:pt x="1464608" y="457765"/>
                      <a:pt x="822016" y="-198865"/>
                      <a:pt x="457565" y="59838"/>
                    </a:cubicBezTo>
                    <a:cubicBezTo>
                      <a:pt x="166852" y="266168"/>
                      <a:pt x="221848" y="938146"/>
                      <a:pt x="127129" y="1304526"/>
                    </a:cubicBezTo>
                    <a:cubicBezTo>
                      <a:pt x="8113" y="1764776"/>
                      <a:pt x="-99178" y="2585930"/>
                      <a:pt x="157519" y="2949610"/>
                    </a:cubicBezTo>
                    <a:cubicBezTo>
                      <a:pt x="363849" y="3241942"/>
                      <a:pt x="844539" y="2909655"/>
                      <a:pt x="1212307" y="3004836"/>
                    </a:cubicBezTo>
                    <a:cubicBezTo>
                      <a:pt x="1667544" y="3122695"/>
                      <a:pt x="2068942" y="3309510"/>
                      <a:pt x="2431002" y="305890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3975AA8E-10B3-1FFB-4C45-B5349D4834AC}"/>
                  </a:ext>
                </a:extLst>
              </p:cNvPr>
              <p:cNvSpPr/>
              <p:nvPr/>
            </p:nvSpPr>
            <p:spPr>
              <a:xfrm>
                <a:off x="4574616" y="2574268"/>
                <a:ext cx="3233910" cy="3186151"/>
              </a:xfrm>
              <a:custGeom>
                <a:avLst/>
                <a:gdLst>
                  <a:gd name="connsiteX0" fmla="*/ 2828318 w 3233910"/>
                  <a:gd name="connsiteY0" fmla="*/ 2109987 h 3186151"/>
                  <a:gd name="connsiteX1" fmla="*/ 3153201 w 3233910"/>
                  <a:gd name="connsiteY1" fmla="*/ 770580 h 3186151"/>
                  <a:gd name="connsiteX2" fmla="*/ 1908512 w 3233910"/>
                  <a:gd name="connsiteY2" fmla="*/ 626573 h 3186151"/>
                  <a:gd name="connsiteX3" fmla="*/ 402652 w 3233910"/>
                  <a:gd name="connsiteY3" fmla="*/ 60883 h 3186151"/>
                  <a:gd name="connsiteX4" fmla="*/ 170175 w 3233910"/>
                  <a:gd name="connsiteY4" fmla="*/ 1327014 h 3186151"/>
                  <a:gd name="connsiteX5" fmla="*/ 141404 w 3233910"/>
                  <a:gd name="connsiteY5" fmla="*/ 3023854 h 3186151"/>
                  <a:gd name="connsiteX6" fmla="*/ 1237458 w 3233910"/>
                  <a:gd name="connsiteY6" fmla="*/ 2967238 h 3186151"/>
                  <a:gd name="connsiteX7" fmla="*/ 2466180 w 3233910"/>
                  <a:gd name="connsiteY7" fmla="*/ 3069285 h 3186151"/>
                  <a:gd name="connsiteX8" fmla="*/ 2828318 w 3233910"/>
                  <a:gd name="connsiteY8" fmla="*/ 2110064 h 3186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3910" h="3186151">
                    <a:moveTo>
                      <a:pt x="2828318" y="2109987"/>
                    </a:moveTo>
                    <a:cubicBezTo>
                      <a:pt x="2950419" y="1638707"/>
                      <a:pt x="3419925" y="1135031"/>
                      <a:pt x="3153201" y="770580"/>
                    </a:cubicBezTo>
                    <a:cubicBezTo>
                      <a:pt x="2948182" y="490434"/>
                      <a:pt x="2270727" y="720366"/>
                      <a:pt x="1908512" y="626573"/>
                    </a:cubicBezTo>
                    <a:cubicBezTo>
                      <a:pt x="1433915" y="503624"/>
                      <a:pt x="768029" y="-210007"/>
                      <a:pt x="402652" y="60883"/>
                    </a:cubicBezTo>
                    <a:cubicBezTo>
                      <a:pt x="126286" y="265747"/>
                      <a:pt x="263197" y="968039"/>
                      <a:pt x="170175" y="1327014"/>
                    </a:cubicBezTo>
                    <a:cubicBezTo>
                      <a:pt x="47611" y="1799914"/>
                      <a:pt x="-127326" y="2658939"/>
                      <a:pt x="141404" y="3023854"/>
                    </a:cubicBezTo>
                    <a:cubicBezTo>
                      <a:pt x="346345" y="3302147"/>
                      <a:pt x="876786" y="2873831"/>
                      <a:pt x="1237458" y="2967238"/>
                    </a:cubicBezTo>
                    <a:cubicBezTo>
                      <a:pt x="1704727" y="3088336"/>
                      <a:pt x="2102963" y="3331072"/>
                      <a:pt x="2466180" y="3069285"/>
                    </a:cubicBezTo>
                    <a:cubicBezTo>
                      <a:pt x="2750877" y="2864112"/>
                      <a:pt x="2733445" y="2476289"/>
                      <a:pt x="2828318" y="21100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7" name="Graphic 5">
              <a:extLst>
                <a:ext uri="{FF2B5EF4-FFF2-40B4-BE49-F238E27FC236}">
                  <a16:creationId xmlns:a16="http://schemas.microsoft.com/office/drawing/2014/main" id="{B0ED9DA6-2257-9B90-A12C-87ABA3CB38D5}"/>
                </a:ext>
              </a:extLst>
            </p:cNvPr>
            <p:cNvGrpSpPr/>
            <p:nvPr/>
          </p:nvGrpSpPr>
          <p:grpSpPr>
            <a:xfrm rot="20743245">
              <a:off x="-1641318" y="712755"/>
              <a:ext cx="8683276" cy="5650143"/>
              <a:chOff x="3224705" y="2448010"/>
              <a:chExt cx="5745675" cy="3738674"/>
            </a:xfrm>
            <a:noFill/>
          </p:grpSpPr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F44352C6-6E87-3B6D-E932-3A6C9FCA77BD}"/>
                  </a:ext>
                </a:extLst>
              </p:cNvPr>
              <p:cNvSpPr/>
              <p:nvPr/>
            </p:nvSpPr>
            <p:spPr>
              <a:xfrm>
                <a:off x="3224705" y="2973429"/>
                <a:ext cx="4086746" cy="2988613"/>
              </a:xfrm>
              <a:custGeom>
                <a:avLst/>
                <a:gdLst>
                  <a:gd name="connsiteX0" fmla="*/ 3021857 w 4086746"/>
                  <a:gd name="connsiteY0" fmla="*/ 21082 h 2988613"/>
                  <a:gd name="connsiteX1" fmla="*/ 1949714 w 4086746"/>
                  <a:gd name="connsiteY1" fmla="*/ 140561 h 2988613"/>
                  <a:gd name="connsiteX2" fmla="*/ 17620 w 4086746"/>
                  <a:gd name="connsiteY2" fmla="*/ 326759 h 2988613"/>
                  <a:gd name="connsiteX3" fmla="*/ 1162808 w 4086746"/>
                  <a:gd name="connsiteY3" fmla="*/ 2051134 h 2988613"/>
                  <a:gd name="connsiteX4" fmla="*/ 2164991 w 4086746"/>
                  <a:gd name="connsiteY4" fmla="*/ 2546943 h 2988613"/>
                  <a:gd name="connsiteX5" fmla="*/ 3449172 w 4086746"/>
                  <a:gd name="connsiteY5" fmla="*/ 2922733 h 2988613"/>
                  <a:gd name="connsiteX6" fmla="*/ 3803596 w 4086746"/>
                  <a:gd name="connsiteY6" fmla="*/ 1748620 h 2988613"/>
                  <a:gd name="connsiteX7" fmla="*/ 3997970 w 4086746"/>
                  <a:gd name="connsiteY7" fmla="*/ 855117 h 2988613"/>
                  <a:gd name="connsiteX8" fmla="*/ 3021857 w 4086746"/>
                  <a:gd name="connsiteY8" fmla="*/ 21160 h 2988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6746" h="2988613">
                    <a:moveTo>
                      <a:pt x="3021857" y="21082"/>
                    </a:moveTo>
                    <a:cubicBezTo>
                      <a:pt x="2524275" y="34658"/>
                      <a:pt x="2338926" y="-88523"/>
                      <a:pt x="1949714" y="140561"/>
                    </a:cubicBezTo>
                    <a:cubicBezTo>
                      <a:pt x="1650594" y="316654"/>
                      <a:pt x="147126" y="-24349"/>
                      <a:pt x="17620" y="326759"/>
                    </a:cubicBezTo>
                    <a:cubicBezTo>
                      <a:pt x="-151995" y="786777"/>
                      <a:pt x="953624" y="1647191"/>
                      <a:pt x="1162808" y="2051134"/>
                    </a:cubicBezTo>
                    <a:cubicBezTo>
                      <a:pt x="1489850" y="2682542"/>
                      <a:pt x="1817123" y="2418671"/>
                      <a:pt x="2164991" y="2546943"/>
                    </a:cubicBezTo>
                    <a:cubicBezTo>
                      <a:pt x="2623313" y="2715940"/>
                      <a:pt x="3059267" y="3153822"/>
                      <a:pt x="3449172" y="2922733"/>
                    </a:cubicBezTo>
                    <a:cubicBezTo>
                      <a:pt x="3746441" y="2746562"/>
                      <a:pt x="3674708" y="2098108"/>
                      <a:pt x="3803596" y="1748620"/>
                    </a:cubicBezTo>
                    <a:cubicBezTo>
                      <a:pt x="3970588" y="1295698"/>
                      <a:pt x="4222272" y="1242631"/>
                      <a:pt x="3997970" y="855117"/>
                    </a:cubicBezTo>
                    <a:cubicBezTo>
                      <a:pt x="3822185" y="551446"/>
                      <a:pt x="3400038" y="10824"/>
                      <a:pt x="3021857" y="211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6BDF9B32-0FC4-6127-5D96-F78272F1D2B7}"/>
                  </a:ext>
                </a:extLst>
              </p:cNvPr>
              <p:cNvSpPr/>
              <p:nvPr/>
            </p:nvSpPr>
            <p:spPr>
              <a:xfrm>
                <a:off x="3285345" y="2945042"/>
                <a:ext cx="4163768" cy="2979360"/>
              </a:xfrm>
              <a:custGeom>
                <a:avLst/>
                <a:gdLst>
                  <a:gd name="connsiteX0" fmla="*/ 3793170 w 4163768"/>
                  <a:gd name="connsiteY0" fmla="*/ 1782639 h 2979360"/>
                  <a:gd name="connsiteX1" fmla="*/ 4094681 w 4163768"/>
                  <a:gd name="connsiteY1" fmla="*/ 868155 h 2979360"/>
                  <a:gd name="connsiteX2" fmla="*/ 2987366 w 4163768"/>
                  <a:gd name="connsiteY2" fmla="*/ 28 h 2979360"/>
                  <a:gd name="connsiteX3" fmla="*/ 1885912 w 4163768"/>
                  <a:gd name="connsiteY3" fmla="*/ 197641 h 2979360"/>
                  <a:gd name="connsiteX4" fmla="*/ 15678 w 4163768"/>
                  <a:gd name="connsiteY4" fmla="*/ 437446 h 2979360"/>
                  <a:gd name="connsiteX5" fmla="*/ 1132404 w 4163768"/>
                  <a:gd name="connsiteY5" fmla="*/ 2066409 h 2979360"/>
                  <a:gd name="connsiteX6" fmla="*/ 2140990 w 4163768"/>
                  <a:gd name="connsiteY6" fmla="*/ 2635648 h 2979360"/>
                  <a:gd name="connsiteX7" fmla="*/ 3375266 w 4163768"/>
                  <a:gd name="connsiteY7" fmla="*/ 2903143 h 2979360"/>
                  <a:gd name="connsiteX8" fmla="*/ 3793247 w 4163768"/>
                  <a:gd name="connsiteY8" fmla="*/ 1782639 h 2979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63768" h="2979360">
                    <a:moveTo>
                      <a:pt x="3793170" y="1782639"/>
                    </a:moveTo>
                    <a:cubicBezTo>
                      <a:pt x="3948438" y="1338818"/>
                      <a:pt x="4315975" y="1250115"/>
                      <a:pt x="4094681" y="868155"/>
                    </a:cubicBezTo>
                    <a:cubicBezTo>
                      <a:pt x="3912417" y="553917"/>
                      <a:pt x="3371717" y="-4523"/>
                      <a:pt x="2987366" y="28"/>
                    </a:cubicBezTo>
                    <a:cubicBezTo>
                      <a:pt x="2503822" y="5735"/>
                      <a:pt x="2269030" y="-27894"/>
                      <a:pt x="1885912" y="197641"/>
                    </a:cubicBezTo>
                    <a:cubicBezTo>
                      <a:pt x="1575531" y="380291"/>
                      <a:pt x="141019" y="77932"/>
                      <a:pt x="15678" y="437446"/>
                    </a:cubicBezTo>
                    <a:cubicBezTo>
                      <a:pt x="-141132" y="887207"/>
                      <a:pt x="925072" y="1670179"/>
                      <a:pt x="1132404" y="2066409"/>
                    </a:cubicBezTo>
                    <a:cubicBezTo>
                      <a:pt x="1452196" y="2678688"/>
                      <a:pt x="1784560" y="2511310"/>
                      <a:pt x="2140990" y="2635648"/>
                    </a:cubicBezTo>
                    <a:cubicBezTo>
                      <a:pt x="2589439" y="2792072"/>
                      <a:pt x="2991608" y="3130376"/>
                      <a:pt x="3375266" y="2903143"/>
                    </a:cubicBezTo>
                    <a:cubicBezTo>
                      <a:pt x="3683333" y="2720725"/>
                      <a:pt x="3668215" y="2140071"/>
                      <a:pt x="3793247" y="178263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47332A09-151C-6E50-EE46-8375CB7268B0}"/>
                  </a:ext>
                </a:extLst>
              </p:cNvPr>
              <p:cNvSpPr/>
              <p:nvPr/>
            </p:nvSpPr>
            <p:spPr>
              <a:xfrm>
                <a:off x="3345777" y="2895587"/>
                <a:ext cx="4247432" cy="2996098"/>
              </a:xfrm>
              <a:custGeom>
                <a:avLst/>
                <a:gdLst>
                  <a:gd name="connsiteX0" fmla="*/ 3783028 w 4247432"/>
                  <a:gd name="connsiteY0" fmla="*/ 1837724 h 2996098"/>
                  <a:gd name="connsiteX1" fmla="*/ 4191599 w 4247432"/>
                  <a:gd name="connsiteY1" fmla="*/ 902338 h 2996098"/>
                  <a:gd name="connsiteX2" fmla="*/ 2953081 w 4247432"/>
                  <a:gd name="connsiteY2" fmla="*/ 41 h 2996098"/>
                  <a:gd name="connsiteX3" fmla="*/ 1822318 w 4247432"/>
                  <a:gd name="connsiteY3" fmla="*/ 275790 h 2996098"/>
                  <a:gd name="connsiteX4" fmla="*/ 13867 w 4247432"/>
                  <a:gd name="connsiteY4" fmla="*/ 569202 h 2996098"/>
                  <a:gd name="connsiteX5" fmla="*/ 1102053 w 4247432"/>
                  <a:gd name="connsiteY5" fmla="*/ 2102675 h 2996098"/>
                  <a:gd name="connsiteX6" fmla="*/ 2117041 w 4247432"/>
                  <a:gd name="connsiteY6" fmla="*/ 2745420 h 2996098"/>
                  <a:gd name="connsiteX7" fmla="*/ 3301335 w 4247432"/>
                  <a:gd name="connsiteY7" fmla="*/ 2904699 h 2996098"/>
                  <a:gd name="connsiteX8" fmla="*/ 3782951 w 4247432"/>
                  <a:gd name="connsiteY8" fmla="*/ 1837724 h 299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47432" h="2996098">
                    <a:moveTo>
                      <a:pt x="3783028" y="1837724"/>
                    </a:moveTo>
                    <a:cubicBezTo>
                      <a:pt x="3926880" y="1403159"/>
                      <a:pt x="4410039" y="1278667"/>
                      <a:pt x="4191599" y="902338"/>
                    </a:cubicBezTo>
                    <a:cubicBezTo>
                      <a:pt x="4002856" y="577532"/>
                      <a:pt x="3343681" y="1506"/>
                      <a:pt x="2953081" y="41"/>
                    </a:cubicBezTo>
                    <a:cubicBezTo>
                      <a:pt x="2483575" y="-1733"/>
                      <a:pt x="2199342" y="53802"/>
                      <a:pt x="1822318" y="275790"/>
                    </a:cubicBezTo>
                    <a:cubicBezTo>
                      <a:pt x="1500752" y="465073"/>
                      <a:pt x="134888" y="201125"/>
                      <a:pt x="13867" y="569202"/>
                    </a:cubicBezTo>
                    <a:cubicBezTo>
                      <a:pt x="-130603" y="1008626"/>
                      <a:pt x="896726" y="1714158"/>
                      <a:pt x="1102053" y="2102675"/>
                    </a:cubicBezTo>
                    <a:cubicBezTo>
                      <a:pt x="1414672" y="2695824"/>
                      <a:pt x="1751896" y="2625171"/>
                      <a:pt x="2117041" y="2745420"/>
                    </a:cubicBezTo>
                    <a:cubicBezTo>
                      <a:pt x="2555309" y="2889658"/>
                      <a:pt x="2924002" y="3128075"/>
                      <a:pt x="3301335" y="2904699"/>
                    </a:cubicBezTo>
                    <a:cubicBezTo>
                      <a:pt x="3620201" y="2716033"/>
                      <a:pt x="3661930" y="2203256"/>
                      <a:pt x="3782951" y="183772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51B1DC91-68B6-4331-561F-A7C64F592F63}"/>
                  </a:ext>
                </a:extLst>
              </p:cNvPr>
              <p:cNvSpPr/>
              <p:nvPr/>
            </p:nvSpPr>
            <p:spPr>
              <a:xfrm>
                <a:off x="3406170" y="2845727"/>
                <a:ext cx="4334890" cy="3021757"/>
              </a:xfrm>
              <a:custGeom>
                <a:avLst/>
                <a:gdLst>
                  <a:gd name="connsiteX0" fmla="*/ 3772848 w 4334890"/>
                  <a:gd name="connsiteY0" fmla="*/ 1893214 h 3021757"/>
                  <a:gd name="connsiteX1" fmla="*/ 4288557 w 4334890"/>
                  <a:gd name="connsiteY1" fmla="*/ 936924 h 3021757"/>
                  <a:gd name="connsiteX2" fmla="*/ 2918837 w 4334890"/>
                  <a:gd name="connsiteY2" fmla="*/ 381 h 3021757"/>
                  <a:gd name="connsiteX3" fmla="*/ 1758762 w 4334890"/>
                  <a:gd name="connsiteY3" fmla="*/ 354188 h 3021757"/>
                  <a:gd name="connsiteX4" fmla="*/ 12172 w 4334890"/>
                  <a:gd name="connsiteY4" fmla="*/ 701207 h 3021757"/>
                  <a:gd name="connsiteX5" fmla="*/ 1071897 w 4334890"/>
                  <a:gd name="connsiteY5" fmla="*/ 2139267 h 3021757"/>
                  <a:gd name="connsiteX6" fmla="*/ 2093286 w 4334890"/>
                  <a:gd name="connsiteY6" fmla="*/ 2855443 h 3021757"/>
                  <a:gd name="connsiteX7" fmla="*/ 3227676 w 4334890"/>
                  <a:gd name="connsiteY7" fmla="*/ 2906427 h 3021757"/>
                  <a:gd name="connsiteX8" fmla="*/ 3772926 w 4334890"/>
                  <a:gd name="connsiteY8" fmla="*/ 1893060 h 3021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34890" h="3021757">
                    <a:moveTo>
                      <a:pt x="3772848" y="1893214"/>
                    </a:moveTo>
                    <a:cubicBezTo>
                      <a:pt x="3905671" y="1468137"/>
                      <a:pt x="4503989" y="1307701"/>
                      <a:pt x="4288557" y="936924"/>
                    </a:cubicBezTo>
                    <a:cubicBezTo>
                      <a:pt x="4093411" y="601629"/>
                      <a:pt x="3315684" y="8094"/>
                      <a:pt x="2918837" y="381"/>
                    </a:cubicBezTo>
                    <a:cubicBezTo>
                      <a:pt x="2463446" y="-8412"/>
                      <a:pt x="2129770" y="135826"/>
                      <a:pt x="1758762" y="354188"/>
                    </a:cubicBezTo>
                    <a:cubicBezTo>
                      <a:pt x="1425935" y="550027"/>
                      <a:pt x="128642" y="324415"/>
                      <a:pt x="12172" y="701207"/>
                    </a:cubicBezTo>
                    <a:cubicBezTo>
                      <a:pt x="-120342" y="1129987"/>
                      <a:pt x="868421" y="1758386"/>
                      <a:pt x="1071897" y="2139267"/>
                    </a:cubicBezTo>
                    <a:cubicBezTo>
                      <a:pt x="1377265" y="2713288"/>
                      <a:pt x="1719270" y="2739667"/>
                      <a:pt x="2093286" y="2855443"/>
                    </a:cubicBezTo>
                    <a:cubicBezTo>
                      <a:pt x="2521218" y="2987957"/>
                      <a:pt x="2856591" y="3126024"/>
                      <a:pt x="3227676" y="2906427"/>
                    </a:cubicBezTo>
                    <a:cubicBezTo>
                      <a:pt x="3557340" y="2711514"/>
                      <a:pt x="3656147" y="2266690"/>
                      <a:pt x="3772926" y="18930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6C807331-F40F-0240-DB0C-12279B85A01C}"/>
                  </a:ext>
                </a:extLst>
              </p:cNvPr>
              <p:cNvSpPr/>
              <p:nvPr/>
            </p:nvSpPr>
            <p:spPr>
              <a:xfrm>
                <a:off x="3466359" y="2795931"/>
                <a:ext cx="4425026" cy="3063471"/>
              </a:xfrm>
              <a:custGeom>
                <a:avLst/>
                <a:gdLst>
                  <a:gd name="connsiteX0" fmla="*/ 3762949 w 4425026"/>
                  <a:gd name="connsiteY0" fmla="*/ 1948641 h 3063471"/>
                  <a:gd name="connsiteX1" fmla="*/ 4385718 w 4425026"/>
                  <a:gd name="connsiteY1" fmla="*/ 971448 h 3063471"/>
                  <a:gd name="connsiteX2" fmla="*/ 2884795 w 4425026"/>
                  <a:gd name="connsiteY2" fmla="*/ 735 h 3063471"/>
                  <a:gd name="connsiteX3" fmla="*/ 1695410 w 4425026"/>
                  <a:gd name="connsiteY3" fmla="*/ 432677 h 3063471"/>
                  <a:gd name="connsiteX4" fmla="*/ 10603 w 4425026"/>
                  <a:gd name="connsiteY4" fmla="*/ 833304 h 3063471"/>
                  <a:gd name="connsiteX5" fmla="*/ 1041789 w 4425026"/>
                  <a:gd name="connsiteY5" fmla="*/ 2175951 h 3063471"/>
                  <a:gd name="connsiteX6" fmla="*/ 2069581 w 4425026"/>
                  <a:gd name="connsiteY6" fmla="*/ 2965634 h 3063471"/>
                  <a:gd name="connsiteX7" fmla="*/ 3154065 w 4425026"/>
                  <a:gd name="connsiteY7" fmla="*/ 2908401 h 3063471"/>
                  <a:gd name="connsiteX8" fmla="*/ 3762949 w 4425026"/>
                  <a:gd name="connsiteY8" fmla="*/ 1948564 h 3063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25026" h="3063471">
                    <a:moveTo>
                      <a:pt x="3762949" y="1948641"/>
                    </a:moveTo>
                    <a:cubicBezTo>
                      <a:pt x="3885128" y="1533127"/>
                      <a:pt x="4598295" y="1336594"/>
                      <a:pt x="4385718" y="971448"/>
                    </a:cubicBezTo>
                    <a:cubicBezTo>
                      <a:pt x="4184094" y="625586"/>
                      <a:pt x="3287967" y="14927"/>
                      <a:pt x="2884795" y="735"/>
                    </a:cubicBezTo>
                    <a:cubicBezTo>
                      <a:pt x="2443596" y="-14769"/>
                      <a:pt x="2060325" y="217863"/>
                      <a:pt x="1695410" y="432677"/>
                    </a:cubicBezTo>
                    <a:cubicBezTo>
                      <a:pt x="1351399" y="635150"/>
                      <a:pt x="122214" y="447718"/>
                      <a:pt x="10603" y="833304"/>
                    </a:cubicBezTo>
                    <a:cubicBezTo>
                      <a:pt x="-110418" y="1251362"/>
                      <a:pt x="840318" y="1802706"/>
                      <a:pt x="1041789" y="2175951"/>
                    </a:cubicBezTo>
                    <a:cubicBezTo>
                      <a:pt x="1339983" y="2730842"/>
                      <a:pt x="1686617" y="2854485"/>
                      <a:pt x="2069581" y="2965634"/>
                    </a:cubicBezTo>
                    <a:cubicBezTo>
                      <a:pt x="2487022" y="3086809"/>
                      <a:pt x="2789228" y="3124141"/>
                      <a:pt x="3154065" y="2908401"/>
                    </a:cubicBezTo>
                    <a:cubicBezTo>
                      <a:pt x="3494528" y="2707240"/>
                      <a:pt x="3650644" y="2330524"/>
                      <a:pt x="3762949" y="19485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4D6B92A4-334C-F242-F94E-A182D3996376}"/>
                  </a:ext>
                </a:extLst>
              </p:cNvPr>
              <p:cNvSpPr/>
              <p:nvPr/>
            </p:nvSpPr>
            <p:spPr>
              <a:xfrm>
                <a:off x="3526436" y="2746166"/>
                <a:ext cx="4516838" cy="3129085"/>
              </a:xfrm>
              <a:custGeom>
                <a:avLst/>
                <a:gdLst>
                  <a:gd name="connsiteX0" fmla="*/ 3753086 w 4516838"/>
                  <a:gd name="connsiteY0" fmla="*/ 2004037 h 3129085"/>
                  <a:gd name="connsiteX1" fmla="*/ 4482992 w 4516838"/>
                  <a:gd name="connsiteY1" fmla="*/ 1005942 h 3129085"/>
                  <a:gd name="connsiteX2" fmla="*/ 2850866 w 4516838"/>
                  <a:gd name="connsiteY2" fmla="*/ 1059 h 3129085"/>
                  <a:gd name="connsiteX3" fmla="*/ 1632171 w 4516838"/>
                  <a:gd name="connsiteY3" fmla="*/ 511136 h 3129085"/>
                  <a:gd name="connsiteX4" fmla="*/ 9147 w 4516838"/>
                  <a:gd name="connsiteY4" fmla="*/ 965447 h 3129085"/>
                  <a:gd name="connsiteX5" fmla="*/ 1011871 w 4516838"/>
                  <a:gd name="connsiteY5" fmla="*/ 2212681 h 3129085"/>
                  <a:gd name="connsiteX6" fmla="*/ 2046065 w 4516838"/>
                  <a:gd name="connsiteY6" fmla="*/ 3075871 h 3129085"/>
                  <a:gd name="connsiteX7" fmla="*/ 3080644 w 4516838"/>
                  <a:gd name="connsiteY7" fmla="*/ 2910345 h 3129085"/>
                  <a:gd name="connsiteX8" fmla="*/ 3753163 w 4516838"/>
                  <a:gd name="connsiteY8" fmla="*/ 2004114 h 3129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16838" h="3129085">
                    <a:moveTo>
                      <a:pt x="3753086" y="2004037"/>
                    </a:moveTo>
                    <a:cubicBezTo>
                      <a:pt x="3864928" y="1598166"/>
                      <a:pt x="4692561" y="1365534"/>
                      <a:pt x="4482992" y="1005942"/>
                    </a:cubicBezTo>
                    <a:cubicBezTo>
                      <a:pt x="4274888" y="649589"/>
                      <a:pt x="3260286" y="21962"/>
                      <a:pt x="2850866" y="1059"/>
                    </a:cubicBezTo>
                    <a:cubicBezTo>
                      <a:pt x="2423783" y="-20770"/>
                      <a:pt x="1990992" y="299870"/>
                      <a:pt x="1632171" y="511136"/>
                    </a:cubicBezTo>
                    <a:cubicBezTo>
                      <a:pt x="1276976" y="720166"/>
                      <a:pt x="115667" y="570837"/>
                      <a:pt x="9147" y="965447"/>
                    </a:cubicBezTo>
                    <a:cubicBezTo>
                      <a:pt x="-100767" y="1372553"/>
                      <a:pt x="812252" y="1847149"/>
                      <a:pt x="1011871" y="2212681"/>
                    </a:cubicBezTo>
                    <a:cubicBezTo>
                      <a:pt x="1302892" y="2748444"/>
                      <a:pt x="1654000" y="2969583"/>
                      <a:pt x="2046065" y="3075871"/>
                    </a:cubicBezTo>
                    <a:cubicBezTo>
                      <a:pt x="2452939" y="3186094"/>
                      <a:pt x="2721978" y="3122305"/>
                      <a:pt x="3080644" y="2910345"/>
                    </a:cubicBezTo>
                    <a:cubicBezTo>
                      <a:pt x="3431906" y="2702935"/>
                      <a:pt x="3645563" y="2394405"/>
                      <a:pt x="3753163" y="20041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3996460D-AA13-BC62-B3B1-4F8D87500214}"/>
                  </a:ext>
                </a:extLst>
              </p:cNvPr>
              <p:cNvSpPr/>
              <p:nvPr/>
            </p:nvSpPr>
            <p:spPr>
              <a:xfrm>
                <a:off x="3586413" y="2696421"/>
                <a:ext cx="4609879" cy="3215724"/>
              </a:xfrm>
              <a:custGeom>
                <a:avLst/>
                <a:gdLst>
                  <a:gd name="connsiteX0" fmla="*/ 3743322 w 4609879"/>
                  <a:gd name="connsiteY0" fmla="*/ 2059413 h 3215724"/>
                  <a:gd name="connsiteX1" fmla="*/ 4580365 w 4609879"/>
                  <a:gd name="connsiteY1" fmla="*/ 1040414 h 3215724"/>
                  <a:gd name="connsiteX2" fmla="*/ 2817037 w 4609879"/>
                  <a:gd name="connsiteY2" fmla="*/ 1361 h 3215724"/>
                  <a:gd name="connsiteX3" fmla="*/ 1568955 w 4609879"/>
                  <a:gd name="connsiteY3" fmla="*/ 589575 h 3215724"/>
                  <a:gd name="connsiteX4" fmla="*/ 7791 w 4609879"/>
                  <a:gd name="connsiteY4" fmla="*/ 1097493 h 3215724"/>
                  <a:gd name="connsiteX5" fmla="*/ 981976 w 4609879"/>
                  <a:gd name="connsiteY5" fmla="*/ 2249313 h 3215724"/>
                  <a:gd name="connsiteX6" fmla="*/ 2022571 w 4609879"/>
                  <a:gd name="connsiteY6" fmla="*/ 3185934 h 3215724"/>
                  <a:gd name="connsiteX7" fmla="*/ 3007169 w 4609879"/>
                  <a:gd name="connsiteY7" fmla="*/ 2912190 h 3215724"/>
                  <a:gd name="connsiteX8" fmla="*/ 3743322 w 4609879"/>
                  <a:gd name="connsiteY8" fmla="*/ 2059567 h 3215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09879" h="3215724">
                    <a:moveTo>
                      <a:pt x="3743322" y="2059413"/>
                    </a:moveTo>
                    <a:cubicBezTo>
                      <a:pt x="3845138" y="1663337"/>
                      <a:pt x="4786926" y="1394376"/>
                      <a:pt x="4580365" y="1040414"/>
                    </a:cubicBezTo>
                    <a:cubicBezTo>
                      <a:pt x="4365783" y="673495"/>
                      <a:pt x="3232782" y="29284"/>
                      <a:pt x="2817037" y="1361"/>
                    </a:cubicBezTo>
                    <a:cubicBezTo>
                      <a:pt x="2401292" y="-26560"/>
                      <a:pt x="1921836" y="381934"/>
                      <a:pt x="1568955" y="589575"/>
                    </a:cubicBezTo>
                    <a:cubicBezTo>
                      <a:pt x="1202498" y="805237"/>
                      <a:pt x="108757" y="693858"/>
                      <a:pt x="7791" y="1097493"/>
                    </a:cubicBezTo>
                    <a:cubicBezTo>
                      <a:pt x="-91324" y="1493568"/>
                      <a:pt x="784362" y="1891418"/>
                      <a:pt x="981976" y="2249313"/>
                    </a:cubicBezTo>
                    <a:cubicBezTo>
                      <a:pt x="1265746" y="2765947"/>
                      <a:pt x="1621328" y="3084968"/>
                      <a:pt x="2022571" y="3185934"/>
                    </a:cubicBezTo>
                    <a:cubicBezTo>
                      <a:pt x="2418724" y="3285589"/>
                      <a:pt x="2654827" y="3120217"/>
                      <a:pt x="3007169" y="2912190"/>
                    </a:cubicBezTo>
                    <a:cubicBezTo>
                      <a:pt x="3369229" y="2698533"/>
                      <a:pt x="3640813" y="2458265"/>
                      <a:pt x="3743322" y="205956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0DAB18BD-1B5E-606C-C208-9A24C12239EA}"/>
                  </a:ext>
                </a:extLst>
              </p:cNvPr>
              <p:cNvSpPr/>
              <p:nvPr/>
            </p:nvSpPr>
            <p:spPr>
              <a:xfrm>
                <a:off x="3646345" y="2646648"/>
                <a:ext cx="4703818" cy="3313713"/>
              </a:xfrm>
              <a:custGeom>
                <a:avLst/>
                <a:gdLst>
                  <a:gd name="connsiteX0" fmla="*/ 3733681 w 4703818"/>
                  <a:gd name="connsiteY0" fmla="*/ 2114893 h 3313713"/>
                  <a:gd name="connsiteX1" fmla="*/ 4677784 w 4703818"/>
                  <a:gd name="connsiteY1" fmla="*/ 1074915 h 3313713"/>
                  <a:gd name="connsiteX2" fmla="*/ 2783330 w 4703818"/>
                  <a:gd name="connsiteY2" fmla="*/ 1615 h 3313713"/>
                  <a:gd name="connsiteX3" fmla="*/ 1505937 w 4703818"/>
                  <a:gd name="connsiteY3" fmla="*/ 667886 h 3313713"/>
                  <a:gd name="connsiteX4" fmla="*/ 6557 w 4703818"/>
                  <a:gd name="connsiteY4" fmla="*/ 1229411 h 3313713"/>
                  <a:gd name="connsiteX5" fmla="*/ 952280 w 4703818"/>
                  <a:gd name="connsiteY5" fmla="*/ 2285819 h 3313713"/>
                  <a:gd name="connsiteX6" fmla="*/ 1999200 w 4703818"/>
                  <a:gd name="connsiteY6" fmla="*/ 3295947 h 3313713"/>
                  <a:gd name="connsiteX7" fmla="*/ 2933893 w 4703818"/>
                  <a:gd name="connsiteY7" fmla="*/ 2913910 h 3313713"/>
                  <a:gd name="connsiteX8" fmla="*/ 3733681 w 4703818"/>
                  <a:gd name="connsiteY8" fmla="*/ 2114816 h 3313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03818" h="3313713">
                    <a:moveTo>
                      <a:pt x="3733681" y="2114893"/>
                    </a:moveTo>
                    <a:cubicBezTo>
                      <a:pt x="3825777" y="1728690"/>
                      <a:pt x="4881491" y="1423323"/>
                      <a:pt x="4677784" y="1074915"/>
                    </a:cubicBezTo>
                    <a:cubicBezTo>
                      <a:pt x="4456722" y="697428"/>
                      <a:pt x="3205245" y="37019"/>
                      <a:pt x="2783330" y="1615"/>
                    </a:cubicBezTo>
                    <a:cubicBezTo>
                      <a:pt x="2384478" y="-31860"/>
                      <a:pt x="1852725" y="463871"/>
                      <a:pt x="1505937" y="667886"/>
                    </a:cubicBezTo>
                    <a:cubicBezTo>
                      <a:pt x="1128296" y="890105"/>
                      <a:pt x="101738" y="816675"/>
                      <a:pt x="6557" y="1229411"/>
                    </a:cubicBezTo>
                    <a:cubicBezTo>
                      <a:pt x="-82223" y="1614457"/>
                      <a:pt x="756517" y="1935560"/>
                      <a:pt x="952280" y="2285819"/>
                    </a:cubicBezTo>
                    <a:cubicBezTo>
                      <a:pt x="1228877" y="2783324"/>
                      <a:pt x="1588778" y="3200611"/>
                      <a:pt x="1999200" y="3295947"/>
                    </a:cubicBezTo>
                    <a:cubicBezTo>
                      <a:pt x="2384478" y="3385421"/>
                      <a:pt x="2587799" y="3118157"/>
                      <a:pt x="2933893" y="2913910"/>
                    </a:cubicBezTo>
                    <a:cubicBezTo>
                      <a:pt x="3306752" y="2694082"/>
                      <a:pt x="3636494" y="2522076"/>
                      <a:pt x="3733681" y="2114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1DB12DF4-7331-8766-B427-C9C17F80793B}"/>
                  </a:ext>
                </a:extLst>
              </p:cNvPr>
              <p:cNvSpPr/>
              <p:nvPr/>
            </p:nvSpPr>
            <p:spPr>
              <a:xfrm>
                <a:off x="3706188" y="2596973"/>
                <a:ext cx="4798420" cy="3416920"/>
              </a:xfrm>
              <a:custGeom>
                <a:avLst/>
                <a:gdLst>
                  <a:gd name="connsiteX0" fmla="*/ 3724051 w 4798420"/>
                  <a:gd name="connsiteY0" fmla="*/ 2170199 h 3416920"/>
                  <a:gd name="connsiteX1" fmla="*/ 4775292 w 4798420"/>
                  <a:gd name="connsiteY1" fmla="*/ 1109318 h 3416920"/>
                  <a:gd name="connsiteX2" fmla="*/ 2749635 w 4798420"/>
                  <a:gd name="connsiteY2" fmla="*/ 1848 h 3416920"/>
                  <a:gd name="connsiteX3" fmla="*/ 1442932 w 4798420"/>
                  <a:gd name="connsiteY3" fmla="*/ 746255 h 3416920"/>
                  <a:gd name="connsiteX4" fmla="*/ 5412 w 4798420"/>
                  <a:gd name="connsiteY4" fmla="*/ 1361387 h 3416920"/>
                  <a:gd name="connsiteX5" fmla="*/ 922596 w 4798420"/>
                  <a:gd name="connsiteY5" fmla="*/ 2322304 h 3416920"/>
                  <a:gd name="connsiteX6" fmla="*/ 1975918 w 4798420"/>
                  <a:gd name="connsiteY6" fmla="*/ 3405863 h 3416920"/>
                  <a:gd name="connsiteX7" fmla="*/ 2860706 w 4798420"/>
                  <a:gd name="connsiteY7" fmla="*/ 2915608 h 3416920"/>
                  <a:gd name="connsiteX8" fmla="*/ 3724129 w 4798420"/>
                  <a:gd name="connsiteY8" fmla="*/ 2170122 h 3416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98420" h="3416920">
                    <a:moveTo>
                      <a:pt x="3724051" y="2170199"/>
                    </a:moveTo>
                    <a:cubicBezTo>
                      <a:pt x="3806815" y="1793946"/>
                      <a:pt x="4975991" y="1452172"/>
                      <a:pt x="4775292" y="1109318"/>
                    </a:cubicBezTo>
                    <a:cubicBezTo>
                      <a:pt x="4547751" y="721341"/>
                      <a:pt x="3177798" y="45042"/>
                      <a:pt x="2749635" y="1848"/>
                    </a:cubicBezTo>
                    <a:cubicBezTo>
                      <a:pt x="2364821" y="-36950"/>
                      <a:pt x="1783627" y="545787"/>
                      <a:pt x="1442932" y="746255"/>
                    </a:cubicBezTo>
                    <a:cubicBezTo>
                      <a:pt x="1054030" y="975107"/>
                      <a:pt x="94192" y="939472"/>
                      <a:pt x="5412" y="1361387"/>
                    </a:cubicBezTo>
                    <a:cubicBezTo>
                      <a:pt x="-73263" y="1735248"/>
                      <a:pt x="728761" y="1979759"/>
                      <a:pt x="922596" y="2322304"/>
                    </a:cubicBezTo>
                    <a:cubicBezTo>
                      <a:pt x="1191943" y="2800681"/>
                      <a:pt x="1556163" y="3316697"/>
                      <a:pt x="1975918" y="3405863"/>
                    </a:cubicBezTo>
                    <a:cubicBezTo>
                      <a:pt x="2350320" y="3485463"/>
                      <a:pt x="2520860" y="3115999"/>
                      <a:pt x="2860706" y="2915608"/>
                    </a:cubicBezTo>
                    <a:cubicBezTo>
                      <a:pt x="3244364" y="2689532"/>
                      <a:pt x="3632649" y="2585944"/>
                      <a:pt x="3724129" y="217012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2251E7AD-CB77-4168-FB3B-494FA7726A90}"/>
                  </a:ext>
                </a:extLst>
              </p:cNvPr>
              <p:cNvSpPr/>
              <p:nvPr/>
            </p:nvSpPr>
            <p:spPr>
              <a:xfrm>
                <a:off x="3765757" y="2547325"/>
                <a:ext cx="4893698" cy="3522930"/>
              </a:xfrm>
              <a:custGeom>
                <a:avLst/>
                <a:gdLst>
                  <a:gd name="connsiteX0" fmla="*/ 3714695 w 4893698"/>
                  <a:gd name="connsiteY0" fmla="*/ 2225478 h 3522930"/>
                  <a:gd name="connsiteX1" fmla="*/ 4872995 w 4893698"/>
                  <a:gd name="connsiteY1" fmla="*/ 1143693 h 3522930"/>
                  <a:gd name="connsiteX2" fmla="*/ 2716137 w 4893698"/>
                  <a:gd name="connsiteY2" fmla="*/ 2054 h 3522930"/>
                  <a:gd name="connsiteX3" fmla="*/ 1380123 w 4893698"/>
                  <a:gd name="connsiteY3" fmla="*/ 824596 h 3522930"/>
                  <a:gd name="connsiteX4" fmla="*/ 4386 w 4893698"/>
                  <a:gd name="connsiteY4" fmla="*/ 1493335 h 3522930"/>
                  <a:gd name="connsiteX5" fmla="*/ 893031 w 4893698"/>
                  <a:gd name="connsiteY5" fmla="*/ 2358840 h 3522930"/>
                  <a:gd name="connsiteX6" fmla="*/ 1952756 w 4893698"/>
                  <a:gd name="connsiteY6" fmla="*/ 3515905 h 3522930"/>
                  <a:gd name="connsiteX7" fmla="*/ 2787562 w 4893698"/>
                  <a:gd name="connsiteY7" fmla="*/ 2917357 h 3522930"/>
                  <a:gd name="connsiteX8" fmla="*/ 3714541 w 4893698"/>
                  <a:gd name="connsiteY8" fmla="*/ 2225478 h 3522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93698" h="3522930">
                    <a:moveTo>
                      <a:pt x="3714695" y="2225478"/>
                    </a:moveTo>
                    <a:cubicBezTo>
                      <a:pt x="3788357" y="1859175"/>
                      <a:pt x="5070764" y="1480917"/>
                      <a:pt x="4872995" y="1143693"/>
                    </a:cubicBezTo>
                    <a:cubicBezTo>
                      <a:pt x="4639053" y="745149"/>
                      <a:pt x="3150470" y="53347"/>
                      <a:pt x="2716137" y="2054"/>
                    </a:cubicBezTo>
                    <a:cubicBezTo>
                      <a:pt x="2345360" y="-41757"/>
                      <a:pt x="1714801" y="627676"/>
                      <a:pt x="1380123" y="824596"/>
                    </a:cubicBezTo>
                    <a:cubicBezTo>
                      <a:pt x="980036" y="1060081"/>
                      <a:pt x="86455" y="1062164"/>
                      <a:pt x="4386" y="1493335"/>
                    </a:cubicBezTo>
                    <a:cubicBezTo>
                      <a:pt x="-64647" y="1856012"/>
                      <a:pt x="701202" y="2023930"/>
                      <a:pt x="893031" y="2358840"/>
                    </a:cubicBezTo>
                    <a:cubicBezTo>
                      <a:pt x="1155205" y="2818087"/>
                      <a:pt x="1523590" y="3433219"/>
                      <a:pt x="1952756" y="3515905"/>
                    </a:cubicBezTo>
                    <a:cubicBezTo>
                      <a:pt x="2316282" y="3585942"/>
                      <a:pt x="2454040" y="3113968"/>
                      <a:pt x="2787562" y="2917357"/>
                    </a:cubicBezTo>
                    <a:cubicBezTo>
                      <a:pt x="3182018" y="2685033"/>
                      <a:pt x="3629232" y="2649938"/>
                      <a:pt x="3714541" y="22254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5BD7EDD-3F4F-04F1-6B50-925D08CEAC84}"/>
                  </a:ext>
                </a:extLst>
              </p:cNvPr>
              <p:cNvSpPr/>
              <p:nvPr/>
            </p:nvSpPr>
            <p:spPr>
              <a:xfrm>
                <a:off x="3825389" y="2497697"/>
                <a:ext cx="4989429" cy="3630406"/>
              </a:xfrm>
              <a:custGeom>
                <a:avLst/>
                <a:gdLst>
                  <a:gd name="connsiteX0" fmla="*/ 3705354 w 4989429"/>
                  <a:gd name="connsiteY0" fmla="*/ 2280737 h 3630406"/>
                  <a:gd name="connsiteX1" fmla="*/ 4970792 w 4989429"/>
                  <a:gd name="connsiteY1" fmla="*/ 1178049 h 3630406"/>
                  <a:gd name="connsiteX2" fmla="*/ 2682730 w 4989429"/>
                  <a:gd name="connsiteY2" fmla="*/ 2241 h 3630406"/>
                  <a:gd name="connsiteX3" fmla="*/ 1317406 w 4989429"/>
                  <a:gd name="connsiteY3" fmla="*/ 902918 h 3630406"/>
                  <a:gd name="connsiteX4" fmla="*/ 3453 w 4989429"/>
                  <a:gd name="connsiteY4" fmla="*/ 1625341 h 3630406"/>
                  <a:gd name="connsiteX5" fmla="*/ 863635 w 4989429"/>
                  <a:gd name="connsiteY5" fmla="*/ 2395433 h 3630406"/>
                  <a:gd name="connsiteX6" fmla="*/ 1929762 w 4989429"/>
                  <a:gd name="connsiteY6" fmla="*/ 3625929 h 3630406"/>
                  <a:gd name="connsiteX7" fmla="*/ 2714663 w 4989429"/>
                  <a:gd name="connsiteY7" fmla="*/ 2919163 h 3630406"/>
                  <a:gd name="connsiteX8" fmla="*/ 3705277 w 4989429"/>
                  <a:gd name="connsiteY8" fmla="*/ 2280814 h 3630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89429" h="3630406">
                    <a:moveTo>
                      <a:pt x="3705354" y="2280737"/>
                    </a:moveTo>
                    <a:cubicBezTo>
                      <a:pt x="3770145" y="1924384"/>
                      <a:pt x="5165629" y="1509720"/>
                      <a:pt x="4970792" y="1178049"/>
                    </a:cubicBezTo>
                    <a:cubicBezTo>
                      <a:pt x="4730370" y="769015"/>
                      <a:pt x="3123080" y="62173"/>
                      <a:pt x="2682730" y="2241"/>
                    </a:cubicBezTo>
                    <a:cubicBezTo>
                      <a:pt x="2325838" y="-46353"/>
                      <a:pt x="1645991" y="709546"/>
                      <a:pt x="1317406" y="902918"/>
                    </a:cubicBezTo>
                    <a:cubicBezTo>
                      <a:pt x="906058" y="1144960"/>
                      <a:pt x="78271" y="1184760"/>
                      <a:pt x="3453" y="1625341"/>
                    </a:cubicBezTo>
                    <a:cubicBezTo>
                      <a:pt x="-56171" y="1976757"/>
                      <a:pt x="673658" y="2068236"/>
                      <a:pt x="863635" y="2395433"/>
                    </a:cubicBezTo>
                    <a:cubicBezTo>
                      <a:pt x="1118636" y="2835628"/>
                      <a:pt x="1491186" y="3550339"/>
                      <a:pt x="1929762" y="3625929"/>
                    </a:cubicBezTo>
                    <a:cubicBezTo>
                      <a:pt x="2282335" y="3686709"/>
                      <a:pt x="2387313" y="3111917"/>
                      <a:pt x="2714663" y="2919163"/>
                    </a:cubicBezTo>
                    <a:cubicBezTo>
                      <a:pt x="3119918" y="2680592"/>
                      <a:pt x="3626525" y="2714067"/>
                      <a:pt x="3705277" y="22808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4CC867A7-A451-787A-4A95-E4DF14D8B392}"/>
                  </a:ext>
                </a:extLst>
              </p:cNvPr>
              <p:cNvSpPr/>
              <p:nvPr/>
            </p:nvSpPr>
            <p:spPr>
              <a:xfrm>
                <a:off x="3884910" y="2448010"/>
                <a:ext cx="5085470" cy="3738674"/>
              </a:xfrm>
              <a:custGeom>
                <a:avLst/>
                <a:gdLst>
                  <a:gd name="connsiteX0" fmla="*/ 5068621 w 5085470"/>
                  <a:gd name="connsiteY0" fmla="*/ 1212464 h 3738674"/>
                  <a:gd name="connsiteX1" fmla="*/ 2649357 w 5085470"/>
                  <a:gd name="connsiteY1" fmla="*/ 2408 h 3738674"/>
                  <a:gd name="connsiteX2" fmla="*/ 1254723 w 5085470"/>
                  <a:gd name="connsiteY2" fmla="*/ 981143 h 3738674"/>
                  <a:gd name="connsiteX3" fmla="*/ 2629 w 5085470"/>
                  <a:gd name="connsiteY3" fmla="*/ 1757174 h 3738674"/>
                  <a:gd name="connsiteX4" fmla="*/ 834273 w 5085470"/>
                  <a:gd name="connsiteY4" fmla="*/ 2431853 h 3738674"/>
                  <a:gd name="connsiteX5" fmla="*/ 1906801 w 5085470"/>
                  <a:gd name="connsiteY5" fmla="*/ 3735856 h 3738674"/>
                  <a:gd name="connsiteX6" fmla="*/ 2641798 w 5085470"/>
                  <a:gd name="connsiteY6" fmla="*/ 2920796 h 3738674"/>
                  <a:gd name="connsiteX7" fmla="*/ 3696046 w 5085470"/>
                  <a:gd name="connsiteY7" fmla="*/ 2336054 h 3738674"/>
                  <a:gd name="connsiteX8" fmla="*/ 5068621 w 5085470"/>
                  <a:gd name="connsiteY8" fmla="*/ 1212464 h 373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5470" h="3738674">
                    <a:moveTo>
                      <a:pt x="5068621" y="1212464"/>
                    </a:moveTo>
                    <a:cubicBezTo>
                      <a:pt x="4821720" y="792863"/>
                      <a:pt x="3095646" y="71519"/>
                      <a:pt x="2649357" y="2408"/>
                    </a:cubicBezTo>
                    <a:cubicBezTo>
                      <a:pt x="2306348" y="-50736"/>
                      <a:pt x="1577214" y="791397"/>
                      <a:pt x="1254723" y="981143"/>
                    </a:cubicBezTo>
                    <a:cubicBezTo>
                      <a:pt x="832190" y="1229819"/>
                      <a:pt x="69503" y="1307260"/>
                      <a:pt x="2629" y="1757174"/>
                    </a:cubicBezTo>
                    <a:cubicBezTo>
                      <a:pt x="-47970" y="2097406"/>
                      <a:pt x="646301" y="2112292"/>
                      <a:pt x="834273" y="2431853"/>
                    </a:cubicBezTo>
                    <a:cubicBezTo>
                      <a:pt x="1082023" y="2852919"/>
                      <a:pt x="1458738" y="3667825"/>
                      <a:pt x="1906801" y="3735856"/>
                    </a:cubicBezTo>
                    <a:cubicBezTo>
                      <a:pt x="2248499" y="3787689"/>
                      <a:pt x="2320695" y="3109771"/>
                      <a:pt x="2641798" y="2920796"/>
                    </a:cubicBezTo>
                    <a:cubicBezTo>
                      <a:pt x="3057851" y="2675977"/>
                      <a:pt x="3624313" y="2778024"/>
                      <a:pt x="3696046" y="2336054"/>
                    </a:cubicBezTo>
                    <a:cubicBezTo>
                      <a:pt x="3752276" y="1989652"/>
                      <a:pt x="5260450" y="1538503"/>
                      <a:pt x="5068621" y="12124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aphic 5">
              <a:extLst>
                <a:ext uri="{FF2B5EF4-FFF2-40B4-BE49-F238E27FC236}">
                  <a16:creationId xmlns:a16="http://schemas.microsoft.com/office/drawing/2014/main" id="{045587AA-30C0-50C6-0E85-DF3D5C504189}"/>
                </a:ext>
              </a:extLst>
            </p:cNvPr>
            <p:cNvGrpSpPr/>
            <p:nvPr/>
          </p:nvGrpSpPr>
          <p:grpSpPr>
            <a:xfrm rot="753948">
              <a:off x="-682780" y="-299489"/>
              <a:ext cx="5854605" cy="7484643"/>
              <a:chOff x="4061078" y="1549502"/>
              <a:chExt cx="3873961" cy="4952549"/>
            </a:xfrm>
            <a:noFill/>
          </p:grpSpPr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5FF12DD5-6D67-D12C-25F8-0D53247ACD48}"/>
                  </a:ext>
                </a:extLst>
              </p:cNvPr>
              <p:cNvSpPr/>
              <p:nvPr/>
            </p:nvSpPr>
            <p:spPr>
              <a:xfrm>
                <a:off x="4475868" y="1549502"/>
                <a:ext cx="3007008" cy="4952549"/>
              </a:xfrm>
              <a:custGeom>
                <a:avLst/>
                <a:gdLst>
                  <a:gd name="connsiteX0" fmla="*/ 2976817 w 3007008"/>
                  <a:gd name="connsiteY0" fmla="*/ 2669180 h 4952549"/>
                  <a:gd name="connsiteX1" fmla="*/ 2432801 w 3007008"/>
                  <a:gd name="connsiteY1" fmla="*/ 1308330 h 4952549"/>
                  <a:gd name="connsiteX2" fmla="*/ 1795840 w 3007008"/>
                  <a:gd name="connsiteY2" fmla="*/ 7 h 4952549"/>
                  <a:gd name="connsiteX3" fmla="*/ 437072 w 3007008"/>
                  <a:gd name="connsiteY3" fmla="*/ 1607682 h 4952549"/>
                  <a:gd name="connsiteX4" fmla="*/ 310112 w 3007008"/>
                  <a:gd name="connsiteY4" fmla="*/ 2718545 h 4952549"/>
                  <a:gd name="connsiteX5" fmla="*/ 413007 w 3007008"/>
                  <a:gd name="connsiteY5" fmla="*/ 3875302 h 4952549"/>
                  <a:gd name="connsiteX6" fmla="*/ 1776248 w 3007008"/>
                  <a:gd name="connsiteY6" fmla="*/ 4952536 h 4952549"/>
                  <a:gd name="connsiteX7" fmla="*/ 2522815 w 3007008"/>
                  <a:gd name="connsiteY7" fmla="*/ 3870057 h 4952549"/>
                  <a:gd name="connsiteX8" fmla="*/ 2976817 w 3007008"/>
                  <a:gd name="connsiteY8" fmla="*/ 2669180 h 4952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07008" h="4952549">
                    <a:moveTo>
                      <a:pt x="2976817" y="2669180"/>
                    </a:moveTo>
                    <a:cubicBezTo>
                      <a:pt x="2795478" y="2205613"/>
                      <a:pt x="2780206" y="1596883"/>
                      <a:pt x="2432801" y="1308330"/>
                    </a:cubicBezTo>
                    <a:cubicBezTo>
                      <a:pt x="2165768" y="1086497"/>
                      <a:pt x="2170087" y="2861"/>
                      <a:pt x="1795840" y="7"/>
                    </a:cubicBezTo>
                    <a:cubicBezTo>
                      <a:pt x="1305585" y="-3772"/>
                      <a:pt x="857599" y="1434442"/>
                      <a:pt x="437072" y="1607682"/>
                    </a:cubicBezTo>
                    <a:cubicBezTo>
                      <a:pt x="-439463" y="1968739"/>
                      <a:pt x="265838" y="2328563"/>
                      <a:pt x="310112" y="2718545"/>
                    </a:cubicBezTo>
                    <a:cubicBezTo>
                      <a:pt x="365185" y="3203940"/>
                      <a:pt x="63519" y="3586749"/>
                      <a:pt x="413007" y="3875302"/>
                    </a:cubicBezTo>
                    <a:cubicBezTo>
                      <a:pt x="679500" y="4095361"/>
                      <a:pt x="1403775" y="4949682"/>
                      <a:pt x="1776248" y="4952536"/>
                    </a:cubicBezTo>
                    <a:cubicBezTo>
                      <a:pt x="2258944" y="4956238"/>
                      <a:pt x="2234184" y="4212294"/>
                      <a:pt x="2522815" y="3870057"/>
                    </a:cubicBezTo>
                    <a:cubicBezTo>
                      <a:pt x="2749045" y="3601790"/>
                      <a:pt x="3114576" y="3021444"/>
                      <a:pt x="2976817" y="266918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B271317A-D1DF-72AF-0F58-FEBCA52D6A9E}"/>
                  </a:ext>
                </a:extLst>
              </p:cNvPr>
              <p:cNvSpPr/>
              <p:nvPr/>
            </p:nvSpPr>
            <p:spPr>
              <a:xfrm>
                <a:off x="4482456" y="1627788"/>
                <a:ext cx="3018571" cy="4778052"/>
              </a:xfrm>
              <a:custGeom>
                <a:avLst/>
                <a:gdLst>
                  <a:gd name="connsiteX0" fmla="*/ 1752691 w 3018571"/>
                  <a:gd name="connsiteY0" fmla="*/ 4776677 h 4778052"/>
                  <a:gd name="connsiteX1" fmla="*/ 2591277 w 3018571"/>
                  <a:gd name="connsiteY1" fmla="*/ 3811826 h 4778052"/>
                  <a:gd name="connsiteX2" fmla="*/ 2984730 w 3018571"/>
                  <a:gd name="connsiteY2" fmla="*/ 2584107 h 4778052"/>
                  <a:gd name="connsiteX3" fmla="*/ 2466168 w 3018571"/>
                  <a:gd name="connsiteY3" fmla="*/ 1202817 h 4778052"/>
                  <a:gd name="connsiteX4" fmla="*/ 1720373 w 3018571"/>
                  <a:gd name="connsiteY4" fmla="*/ 11 h 4778052"/>
                  <a:gd name="connsiteX5" fmla="*/ 440974 w 3018571"/>
                  <a:gd name="connsiteY5" fmla="*/ 1547522 h 4778052"/>
                  <a:gd name="connsiteX6" fmla="*/ 238116 w 3018571"/>
                  <a:gd name="connsiteY6" fmla="*/ 2690858 h 4778052"/>
                  <a:gd name="connsiteX7" fmla="*/ 359985 w 3018571"/>
                  <a:gd name="connsiteY7" fmla="*/ 3853863 h 4778052"/>
                  <a:gd name="connsiteX8" fmla="*/ 1752691 w 3018571"/>
                  <a:gd name="connsiteY8" fmla="*/ 4776754 h 4778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18571" h="4778052">
                    <a:moveTo>
                      <a:pt x="1752691" y="4776677"/>
                    </a:moveTo>
                    <a:cubicBezTo>
                      <a:pt x="2216181" y="4812235"/>
                      <a:pt x="2306966" y="4149435"/>
                      <a:pt x="2591277" y="3811826"/>
                    </a:cubicBezTo>
                    <a:cubicBezTo>
                      <a:pt x="2825220" y="3533917"/>
                      <a:pt x="3119172" y="2944162"/>
                      <a:pt x="2984730" y="2584107"/>
                    </a:cubicBezTo>
                    <a:cubicBezTo>
                      <a:pt x="2815579" y="2131107"/>
                      <a:pt x="2808174" y="1486896"/>
                      <a:pt x="2466168" y="1202817"/>
                    </a:cubicBezTo>
                    <a:cubicBezTo>
                      <a:pt x="2189185" y="972730"/>
                      <a:pt x="2101099" y="-3845"/>
                      <a:pt x="1720373" y="11"/>
                    </a:cubicBezTo>
                    <a:cubicBezTo>
                      <a:pt x="1244079" y="4794"/>
                      <a:pt x="830648" y="1354614"/>
                      <a:pt x="440974" y="1547522"/>
                    </a:cubicBezTo>
                    <a:cubicBezTo>
                      <a:pt x="-382030" y="1955091"/>
                      <a:pt x="190216" y="2298408"/>
                      <a:pt x="238116" y="2690858"/>
                    </a:cubicBezTo>
                    <a:cubicBezTo>
                      <a:pt x="294422" y="3162909"/>
                      <a:pt x="16205" y="3569861"/>
                      <a:pt x="359985" y="3853863"/>
                    </a:cubicBezTo>
                    <a:cubicBezTo>
                      <a:pt x="635965" y="4081944"/>
                      <a:pt x="1362169" y="4746827"/>
                      <a:pt x="1752691" y="47767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E3326A5D-6B15-C5FF-C9A2-E5AF9AD53C2F}"/>
                  </a:ext>
                </a:extLst>
              </p:cNvPr>
              <p:cNvSpPr/>
              <p:nvPr/>
            </p:nvSpPr>
            <p:spPr>
              <a:xfrm>
                <a:off x="4484173" y="1705758"/>
                <a:ext cx="3036493" cy="4605873"/>
              </a:xfrm>
              <a:custGeom>
                <a:avLst/>
                <a:gdLst>
                  <a:gd name="connsiteX0" fmla="*/ 1734082 w 3036493"/>
                  <a:gd name="connsiteY0" fmla="*/ 4601058 h 4605873"/>
                  <a:gd name="connsiteX1" fmla="*/ 2664764 w 3036493"/>
                  <a:gd name="connsiteY1" fmla="*/ 3753833 h 4605873"/>
                  <a:gd name="connsiteX2" fmla="*/ 2997591 w 3036493"/>
                  <a:gd name="connsiteY2" fmla="*/ 2499272 h 4605873"/>
                  <a:gd name="connsiteX3" fmla="*/ 2504559 w 3036493"/>
                  <a:gd name="connsiteY3" fmla="*/ 1097465 h 4605873"/>
                  <a:gd name="connsiteX4" fmla="*/ 1649930 w 3036493"/>
                  <a:gd name="connsiteY4" fmla="*/ 100 h 4605873"/>
                  <a:gd name="connsiteX5" fmla="*/ 449901 w 3036493"/>
                  <a:gd name="connsiteY5" fmla="*/ 1487524 h 4605873"/>
                  <a:gd name="connsiteX6" fmla="*/ 171221 w 3036493"/>
                  <a:gd name="connsiteY6" fmla="*/ 2663410 h 4605873"/>
                  <a:gd name="connsiteX7" fmla="*/ 311988 w 3036493"/>
                  <a:gd name="connsiteY7" fmla="*/ 3832586 h 4605873"/>
                  <a:gd name="connsiteX8" fmla="*/ 1734159 w 3036493"/>
                  <a:gd name="connsiteY8" fmla="*/ 4601135 h 46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36493" h="4605873">
                    <a:moveTo>
                      <a:pt x="1734082" y="4601058"/>
                    </a:moveTo>
                    <a:cubicBezTo>
                      <a:pt x="2177440" y="4664460"/>
                      <a:pt x="2384618" y="4086814"/>
                      <a:pt x="2664764" y="3753833"/>
                    </a:cubicBezTo>
                    <a:cubicBezTo>
                      <a:pt x="2906420" y="3466283"/>
                      <a:pt x="3128562" y="2867271"/>
                      <a:pt x="2997591" y="2499272"/>
                    </a:cubicBezTo>
                    <a:cubicBezTo>
                      <a:pt x="2840240" y="2056917"/>
                      <a:pt x="2841089" y="1377070"/>
                      <a:pt x="2504559" y="1097465"/>
                    </a:cubicBezTo>
                    <a:cubicBezTo>
                      <a:pt x="2217549" y="859048"/>
                      <a:pt x="2037290" y="-10699"/>
                      <a:pt x="1649930" y="100"/>
                    </a:cubicBezTo>
                    <a:cubicBezTo>
                      <a:pt x="1187597" y="12981"/>
                      <a:pt x="808491" y="1275410"/>
                      <a:pt x="449901" y="1487524"/>
                    </a:cubicBezTo>
                    <a:cubicBezTo>
                      <a:pt x="-320113" y="1942838"/>
                      <a:pt x="120622" y="2268337"/>
                      <a:pt x="171221" y="2663410"/>
                    </a:cubicBezTo>
                    <a:cubicBezTo>
                      <a:pt x="229996" y="3121963"/>
                      <a:pt x="-26007" y="3553212"/>
                      <a:pt x="311988" y="3832586"/>
                    </a:cubicBezTo>
                    <a:cubicBezTo>
                      <a:pt x="597533" y="4068688"/>
                      <a:pt x="1324122" y="4542514"/>
                      <a:pt x="1734159" y="460113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D4539212-8C82-0934-D258-A8E20B050421}"/>
                  </a:ext>
                </a:extLst>
              </p:cNvPr>
              <p:cNvSpPr/>
              <p:nvPr/>
            </p:nvSpPr>
            <p:spPr>
              <a:xfrm>
                <a:off x="4477865" y="1783678"/>
                <a:ext cx="3064583" cy="4435839"/>
              </a:xfrm>
              <a:custGeom>
                <a:avLst/>
                <a:gdLst>
                  <a:gd name="connsiteX0" fmla="*/ 1723421 w 3064583"/>
                  <a:gd name="connsiteY0" fmla="*/ 4425487 h 4435839"/>
                  <a:gd name="connsiteX1" fmla="*/ 2746122 w 3064583"/>
                  <a:gd name="connsiteY1" fmla="*/ 3695890 h 4435839"/>
                  <a:gd name="connsiteX2" fmla="*/ 3018400 w 3064583"/>
                  <a:gd name="connsiteY2" fmla="*/ 2414487 h 4435839"/>
                  <a:gd name="connsiteX3" fmla="*/ 2550822 w 3064583"/>
                  <a:gd name="connsiteY3" fmla="*/ 992240 h 4435839"/>
                  <a:gd name="connsiteX4" fmla="*/ 1587359 w 3064583"/>
                  <a:gd name="connsiteY4" fmla="*/ 315 h 4435839"/>
                  <a:gd name="connsiteX5" fmla="*/ 466700 w 3064583"/>
                  <a:gd name="connsiteY5" fmla="*/ 1427576 h 4435839"/>
                  <a:gd name="connsiteX6" fmla="*/ 112198 w 3064583"/>
                  <a:gd name="connsiteY6" fmla="*/ 2635935 h 4435839"/>
                  <a:gd name="connsiteX7" fmla="*/ 271940 w 3064583"/>
                  <a:gd name="connsiteY7" fmla="*/ 3811281 h 4435839"/>
                  <a:gd name="connsiteX8" fmla="*/ 1723498 w 3064583"/>
                  <a:gd name="connsiteY8" fmla="*/ 4425487 h 4435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64583" h="4435839">
                    <a:moveTo>
                      <a:pt x="1723421" y="4425487"/>
                    </a:moveTo>
                    <a:cubicBezTo>
                      <a:pt x="2146185" y="4513187"/>
                      <a:pt x="2470296" y="4024167"/>
                      <a:pt x="2746122" y="3695890"/>
                    </a:cubicBezTo>
                    <a:cubicBezTo>
                      <a:pt x="2995492" y="3398699"/>
                      <a:pt x="3145592" y="2790508"/>
                      <a:pt x="3018400" y="2414487"/>
                    </a:cubicBezTo>
                    <a:cubicBezTo>
                      <a:pt x="2872465" y="1983084"/>
                      <a:pt x="2881952" y="1267371"/>
                      <a:pt x="2550822" y="992240"/>
                    </a:cubicBezTo>
                    <a:cubicBezTo>
                      <a:pt x="2253785" y="745493"/>
                      <a:pt x="1981275" y="-17734"/>
                      <a:pt x="1587359" y="315"/>
                    </a:cubicBezTo>
                    <a:cubicBezTo>
                      <a:pt x="1138987" y="20832"/>
                      <a:pt x="794205" y="1197181"/>
                      <a:pt x="466700" y="1427576"/>
                    </a:cubicBezTo>
                    <a:cubicBezTo>
                      <a:pt x="-250479" y="1932100"/>
                      <a:pt x="58205" y="2238316"/>
                      <a:pt x="112198" y="2635935"/>
                    </a:cubicBezTo>
                    <a:cubicBezTo>
                      <a:pt x="172593" y="3081144"/>
                      <a:pt x="-60347" y="3536534"/>
                      <a:pt x="271940" y="3811281"/>
                    </a:cubicBezTo>
                    <a:cubicBezTo>
                      <a:pt x="566972" y="4055483"/>
                      <a:pt x="1293253" y="4336245"/>
                      <a:pt x="1723498" y="442548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FAF2D7E7-59DA-FF6E-115B-948C6E03C364}"/>
                  </a:ext>
                </a:extLst>
              </p:cNvPr>
              <p:cNvSpPr/>
              <p:nvPr/>
            </p:nvSpPr>
            <p:spPr>
              <a:xfrm>
                <a:off x="4460130" y="1861400"/>
                <a:ext cx="3107969" cy="4268490"/>
              </a:xfrm>
              <a:custGeom>
                <a:avLst/>
                <a:gdLst>
                  <a:gd name="connsiteX0" fmla="*/ 1724263 w 3107969"/>
                  <a:gd name="connsiteY0" fmla="*/ 4250116 h 4268490"/>
                  <a:gd name="connsiteX1" fmla="*/ 2838983 w 3107969"/>
                  <a:gd name="connsiteY1" fmla="*/ 3638145 h 4268490"/>
                  <a:gd name="connsiteX2" fmla="*/ 3050712 w 3107969"/>
                  <a:gd name="connsiteY2" fmla="*/ 2329900 h 4268490"/>
                  <a:gd name="connsiteX3" fmla="*/ 2608666 w 3107969"/>
                  <a:gd name="connsiteY3" fmla="*/ 887212 h 4268490"/>
                  <a:gd name="connsiteX4" fmla="*/ 1536291 w 3107969"/>
                  <a:gd name="connsiteY4" fmla="*/ 728 h 4268490"/>
                  <a:gd name="connsiteX5" fmla="*/ 495001 w 3107969"/>
                  <a:gd name="connsiteY5" fmla="*/ 1367826 h 4268490"/>
                  <a:gd name="connsiteX6" fmla="*/ 64601 w 3107969"/>
                  <a:gd name="connsiteY6" fmla="*/ 2608657 h 4268490"/>
                  <a:gd name="connsiteX7" fmla="*/ 243317 w 3107969"/>
                  <a:gd name="connsiteY7" fmla="*/ 3790251 h 4268490"/>
                  <a:gd name="connsiteX8" fmla="*/ 1724340 w 3107969"/>
                  <a:gd name="connsiteY8" fmla="*/ 4250116 h 4268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07969" h="4268490">
                    <a:moveTo>
                      <a:pt x="1724263" y="4250116"/>
                    </a:moveTo>
                    <a:cubicBezTo>
                      <a:pt x="2126510" y="4359027"/>
                      <a:pt x="2567400" y="3961794"/>
                      <a:pt x="2838983" y="3638145"/>
                    </a:cubicBezTo>
                    <a:cubicBezTo>
                      <a:pt x="3096066" y="3331235"/>
                      <a:pt x="3173893" y="2714020"/>
                      <a:pt x="3050712" y="2329900"/>
                    </a:cubicBezTo>
                    <a:cubicBezTo>
                      <a:pt x="2915808" y="1909528"/>
                      <a:pt x="2934396" y="1157793"/>
                      <a:pt x="2608666" y="887212"/>
                    </a:cubicBezTo>
                    <a:cubicBezTo>
                      <a:pt x="2301601" y="632135"/>
                      <a:pt x="1936918" y="-24880"/>
                      <a:pt x="1536291" y="728"/>
                    </a:cubicBezTo>
                    <a:cubicBezTo>
                      <a:pt x="1101957" y="28496"/>
                      <a:pt x="791576" y="1119844"/>
                      <a:pt x="495001" y="1367826"/>
                    </a:cubicBezTo>
                    <a:cubicBezTo>
                      <a:pt x="-169265" y="1923180"/>
                      <a:pt x="7215" y="2208570"/>
                      <a:pt x="64601" y="2608657"/>
                    </a:cubicBezTo>
                    <a:cubicBezTo>
                      <a:pt x="126539" y="3040445"/>
                      <a:pt x="-83262" y="3520055"/>
                      <a:pt x="243317" y="3790251"/>
                    </a:cubicBezTo>
                    <a:cubicBezTo>
                      <a:pt x="547914" y="4042475"/>
                      <a:pt x="1273500" y="4128092"/>
                      <a:pt x="1724340" y="42501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9EC2AEB9-6703-1ABC-CCB5-1A70853CE19D}"/>
                  </a:ext>
                </a:extLst>
              </p:cNvPr>
              <p:cNvSpPr/>
              <p:nvPr/>
            </p:nvSpPr>
            <p:spPr>
              <a:xfrm>
                <a:off x="4426209" y="1938811"/>
                <a:ext cx="3173562" cy="4104897"/>
              </a:xfrm>
              <a:custGeom>
                <a:avLst/>
                <a:gdLst>
                  <a:gd name="connsiteX0" fmla="*/ 1741215 w 3173562"/>
                  <a:gd name="connsiteY0" fmla="*/ 4075055 h 4104897"/>
                  <a:gd name="connsiteX1" fmla="*/ 2947955 w 3173562"/>
                  <a:gd name="connsiteY1" fmla="*/ 3580712 h 4104897"/>
                  <a:gd name="connsiteX2" fmla="*/ 3099057 w 3173562"/>
                  <a:gd name="connsiteY2" fmla="*/ 2245625 h 4104897"/>
                  <a:gd name="connsiteX3" fmla="*/ 2682464 w 3173562"/>
                  <a:gd name="connsiteY3" fmla="*/ 782497 h 4104897"/>
                  <a:gd name="connsiteX4" fmla="*/ 1501255 w 3173562"/>
                  <a:gd name="connsiteY4" fmla="*/ 1452 h 4104897"/>
                  <a:gd name="connsiteX5" fmla="*/ 539335 w 3173562"/>
                  <a:gd name="connsiteY5" fmla="*/ 1308387 h 4104897"/>
                  <a:gd name="connsiteX6" fmla="*/ 33114 w 3173562"/>
                  <a:gd name="connsiteY6" fmla="*/ 2581691 h 4104897"/>
                  <a:gd name="connsiteX7" fmla="*/ 230727 w 3173562"/>
                  <a:gd name="connsiteY7" fmla="*/ 3769455 h 4104897"/>
                  <a:gd name="connsiteX8" fmla="*/ 1741215 w 3173562"/>
                  <a:gd name="connsiteY8" fmla="*/ 4074978 h 4104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73562" h="4104897">
                    <a:moveTo>
                      <a:pt x="1741215" y="4075055"/>
                    </a:moveTo>
                    <a:cubicBezTo>
                      <a:pt x="2123407" y="4202555"/>
                      <a:pt x="2680613" y="3899655"/>
                      <a:pt x="2947955" y="3580712"/>
                    </a:cubicBezTo>
                    <a:cubicBezTo>
                      <a:pt x="3212750" y="3264160"/>
                      <a:pt x="3218073" y="2637921"/>
                      <a:pt x="3099057" y="2245625"/>
                    </a:cubicBezTo>
                    <a:cubicBezTo>
                      <a:pt x="2974874" y="1836359"/>
                      <a:pt x="3002796" y="1048604"/>
                      <a:pt x="2682464" y="782497"/>
                    </a:cubicBezTo>
                    <a:cubicBezTo>
                      <a:pt x="2365449" y="519089"/>
                      <a:pt x="1908516" y="-31946"/>
                      <a:pt x="1501255" y="1452"/>
                    </a:cubicBezTo>
                    <a:cubicBezTo>
                      <a:pt x="1080960" y="36008"/>
                      <a:pt x="805288" y="1043668"/>
                      <a:pt x="539335" y="1308387"/>
                    </a:cubicBezTo>
                    <a:cubicBezTo>
                      <a:pt x="-71324" y="1916191"/>
                      <a:pt x="-27821" y="2179059"/>
                      <a:pt x="33114" y="2581691"/>
                    </a:cubicBezTo>
                    <a:cubicBezTo>
                      <a:pt x="96440" y="3000135"/>
                      <a:pt x="-90144" y="3503888"/>
                      <a:pt x="230727" y="3769455"/>
                    </a:cubicBezTo>
                    <a:cubicBezTo>
                      <a:pt x="544811" y="4029701"/>
                      <a:pt x="1270089" y="3917782"/>
                      <a:pt x="1741215" y="40749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BDA5A66D-72FD-C750-38C1-1F104B4883F1}"/>
                  </a:ext>
                </a:extLst>
              </p:cNvPr>
              <p:cNvSpPr/>
              <p:nvPr/>
            </p:nvSpPr>
            <p:spPr>
              <a:xfrm>
                <a:off x="4376099" y="2015664"/>
                <a:ext cx="3263713" cy="3947335"/>
              </a:xfrm>
              <a:custGeom>
                <a:avLst/>
                <a:gdLst>
                  <a:gd name="connsiteX0" fmla="*/ 1774433 w 3263713"/>
                  <a:gd name="connsiteY0" fmla="*/ 3900552 h 3947335"/>
                  <a:gd name="connsiteX1" fmla="*/ 3073192 w 3263713"/>
                  <a:gd name="connsiteY1" fmla="*/ 3523836 h 3947335"/>
                  <a:gd name="connsiteX2" fmla="*/ 3163745 w 3263713"/>
                  <a:gd name="connsiteY2" fmla="*/ 2161907 h 3947335"/>
                  <a:gd name="connsiteX3" fmla="*/ 2772683 w 3263713"/>
                  <a:gd name="connsiteY3" fmla="*/ 678262 h 3947335"/>
                  <a:gd name="connsiteX4" fmla="*/ 1482563 w 3263713"/>
                  <a:gd name="connsiteY4" fmla="*/ 2735 h 3947335"/>
                  <a:gd name="connsiteX5" fmla="*/ 600012 w 3263713"/>
                  <a:gd name="connsiteY5" fmla="*/ 1249583 h 3947335"/>
                  <a:gd name="connsiteX6" fmla="*/ 17970 w 3263713"/>
                  <a:gd name="connsiteY6" fmla="*/ 2555437 h 3947335"/>
                  <a:gd name="connsiteX7" fmla="*/ 234558 w 3263713"/>
                  <a:gd name="connsiteY7" fmla="*/ 3749449 h 3947335"/>
                  <a:gd name="connsiteX8" fmla="*/ 1774433 w 3263713"/>
                  <a:gd name="connsiteY8" fmla="*/ 3900629 h 394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3713" h="3947335">
                    <a:moveTo>
                      <a:pt x="1774433" y="3900552"/>
                    </a:moveTo>
                    <a:cubicBezTo>
                      <a:pt x="2137188" y="4044635"/>
                      <a:pt x="2810169" y="3838151"/>
                      <a:pt x="3073192" y="3523836"/>
                    </a:cubicBezTo>
                    <a:cubicBezTo>
                      <a:pt x="3345701" y="3197643"/>
                      <a:pt x="3278210" y="2562533"/>
                      <a:pt x="3163745" y="2161907"/>
                    </a:cubicBezTo>
                    <a:cubicBezTo>
                      <a:pt x="3049975" y="1763902"/>
                      <a:pt x="3087538" y="939895"/>
                      <a:pt x="2772683" y="678262"/>
                    </a:cubicBezTo>
                    <a:cubicBezTo>
                      <a:pt x="2445641" y="406524"/>
                      <a:pt x="1896534" y="-38994"/>
                      <a:pt x="1482563" y="2735"/>
                    </a:cubicBezTo>
                    <a:cubicBezTo>
                      <a:pt x="1068593" y="44463"/>
                      <a:pt x="835884" y="968666"/>
                      <a:pt x="600012" y="1249583"/>
                    </a:cubicBezTo>
                    <a:cubicBezTo>
                      <a:pt x="44118" y="1911380"/>
                      <a:pt x="-46590" y="2150260"/>
                      <a:pt x="17970" y="2555437"/>
                    </a:cubicBezTo>
                    <a:cubicBezTo>
                      <a:pt x="82530" y="2960460"/>
                      <a:pt x="-80606" y="3488355"/>
                      <a:pt x="234558" y="3749449"/>
                    </a:cubicBezTo>
                    <a:cubicBezTo>
                      <a:pt x="558206" y="4017716"/>
                      <a:pt x="1283870" y="3705792"/>
                      <a:pt x="1774433" y="39006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F191AD03-C910-0240-BE66-12F45D3B2B4D}"/>
                  </a:ext>
                </a:extLst>
              </p:cNvPr>
              <p:cNvSpPr/>
              <p:nvPr/>
            </p:nvSpPr>
            <p:spPr>
              <a:xfrm>
                <a:off x="4316854" y="2091550"/>
                <a:ext cx="3371549" cy="3814147"/>
              </a:xfrm>
              <a:custGeom>
                <a:avLst/>
                <a:gdLst>
                  <a:gd name="connsiteX0" fmla="*/ 1816709 w 3371549"/>
                  <a:gd name="connsiteY0" fmla="*/ 3727016 h 3814147"/>
                  <a:gd name="connsiteX1" fmla="*/ 3207564 w 3371549"/>
                  <a:gd name="connsiteY1" fmla="*/ 3467928 h 3814147"/>
                  <a:gd name="connsiteX2" fmla="*/ 3237568 w 3371549"/>
                  <a:gd name="connsiteY2" fmla="*/ 2079156 h 3814147"/>
                  <a:gd name="connsiteX3" fmla="*/ 2871960 w 3371549"/>
                  <a:gd name="connsiteY3" fmla="*/ 575071 h 3814147"/>
                  <a:gd name="connsiteX4" fmla="*/ 1473006 w 3371549"/>
                  <a:gd name="connsiteY4" fmla="*/ 4984 h 3814147"/>
                  <a:gd name="connsiteX5" fmla="*/ 669824 w 3371549"/>
                  <a:gd name="connsiteY5" fmla="*/ 1191668 h 3814147"/>
                  <a:gd name="connsiteX6" fmla="*/ 11883 w 3371549"/>
                  <a:gd name="connsiteY6" fmla="*/ 2529996 h 3814147"/>
                  <a:gd name="connsiteX7" fmla="*/ 247369 w 3371549"/>
                  <a:gd name="connsiteY7" fmla="*/ 3730178 h 3814147"/>
                  <a:gd name="connsiteX8" fmla="*/ 1816709 w 3371549"/>
                  <a:gd name="connsiteY8" fmla="*/ 3727016 h 3814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1549" h="3814147">
                    <a:moveTo>
                      <a:pt x="1816709" y="3727016"/>
                    </a:moveTo>
                    <a:cubicBezTo>
                      <a:pt x="2160874" y="3886063"/>
                      <a:pt x="2948707" y="3777615"/>
                      <a:pt x="3207564" y="3467928"/>
                    </a:cubicBezTo>
                    <a:cubicBezTo>
                      <a:pt x="3487786" y="3132092"/>
                      <a:pt x="3347173" y="2488190"/>
                      <a:pt x="3237568" y="2079156"/>
                    </a:cubicBezTo>
                    <a:cubicBezTo>
                      <a:pt x="3133902" y="1692567"/>
                      <a:pt x="3181416" y="832231"/>
                      <a:pt x="2871960" y="575071"/>
                    </a:cubicBezTo>
                    <a:cubicBezTo>
                      <a:pt x="2534890" y="295002"/>
                      <a:pt x="1893533" y="-45307"/>
                      <a:pt x="1473006" y="4984"/>
                    </a:cubicBezTo>
                    <a:cubicBezTo>
                      <a:pt x="1080710" y="51880"/>
                      <a:pt x="876308" y="895248"/>
                      <a:pt x="669824" y="1191668"/>
                    </a:cubicBezTo>
                    <a:cubicBezTo>
                      <a:pt x="170313" y="1908693"/>
                      <a:pt x="-56379" y="2122427"/>
                      <a:pt x="11883" y="2529996"/>
                    </a:cubicBezTo>
                    <a:cubicBezTo>
                      <a:pt x="80145" y="2937564"/>
                      <a:pt x="-62010" y="3473713"/>
                      <a:pt x="247369" y="3730178"/>
                    </a:cubicBezTo>
                    <a:cubicBezTo>
                      <a:pt x="580505" y="4006544"/>
                      <a:pt x="1307942" y="3491916"/>
                      <a:pt x="1816709" y="37270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F7987BBC-D6DA-0A7C-2B77-044D5F8F2576}"/>
                  </a:ext>
                </a:extLst>
              </p:cNvPr>
              <p:cNvSpPr/>
              <p:nvPr/>
            </p:nvSpPr>
            <p:spPr>
              <a:xfrm>
                <a:off x="4254170" y="2165535"/>
                <a:ext cx="3489733" cy="3780696"/>
              </a:xfrm>
              <a:custGeom>
                <a:avLst/>
                <a:gdLst>
                  <a:gd name="connsiteX0" fmla="*/ 1862424 w 3489733"/>
                  <a:gd name="connsiteY0" fmla="*/ 3555381 h 3780696"/>
                  <a:gd name="connsiteX1" fmla="*/ 3345298 w 3489733"/>
                  <a:gd name="connsiteY1" fmla="*/ 3413920 h 3780696"/>
                  <a:gd name="connsiteX2" fmla="*/ 3314677 w 3489733"/>
                  <a:gd name="connsiteY2" fmla="*/ 1998383 h 3780696"/>
                  <a:gd name="connsiteX3" fmla="*/ 2974599 w 3489733"/>
                  <a:gd name="connsiteY3" fmla="*/ 473858 h 3780696"/>
                  <a:gd name="connsiteX4" fmla="*/ 1466734 w 3489733"/>
                  <a:gd name="connsiteY4" fmla="*/ 9211 h 3780696"/>
                  <a:gd name="connsiteX5" fmla="*/ 742922 w 3489733"/>
                  <a:gd name="connsiteY5" fmla="*/ 1135733 h 3780696"/>
                  <a:gd name="connsiteX6" fmla="*/ 9159 w 3489733"/>
                  <a:gd name="connsiteY6" fmla="*/ 2506532 h 3780696"/>
                  <a:gd name="connsiteX7" fmla="*/ 263620 w 3489733"/>
                  <a:gd name="connsiteY7" fmla="*/ 3712886 h 3780696"/>
                  <a:gd name="connsiteX8" fmla="*/ 1862424 w 3489733"/>
                  <a:gd name="connsiteY8" fmla="*/ 3555381 h 3780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9733" h="3780696">
                    <a:moveTo>
                      <a:pt x="1862424" y="3555381"/>
                    </a:moveTo>
                    <a:cubicBezTo>
                      <a:pt x="2188927" y="3728158"/>
                      <a:pt x="3090761" y="3718902"/>
                      <a:pt x="3345298" y="3413920"/>
                    </a:cubicBezTo>
                    <a:cubicBezTo>
                      <a:pt x="3633311" y="3068443"/>
                      <a:pt x="3419114" y="2415825"/>
                      <a:pt x="3314677" y="1998383"/>
                    </a:cubicBezTo>
                    <a:cubicBezTo>
                      <a:pt x="3220807" y="1623210"/>
                      <a:pt x="3278656" y="726467"/>
                      <a:pt x="2974599" y="473858"/>
                    </a:cubicBezTo>
                    <a:cubicBezTo>
                      <a:pt x="2627580" y="185459"/>
                      <a:pt x="1893894" y="-50104"/>
                      <a:pt x="1466734" y="9211"/>
                    </a:cubicBezTo>
                    <a:cubicBezTo>
                      <a:pt x="1088321" y="61816"/>
                      <a:pt x="920789" y="824040"/>
                      <a:pt x="742922" y="1135733"/>
                    </a:cubicBezTo>
                    <a:cubicBezTo>
                      <a:pt x="301800" y="1908755"/>
                      <a:pt x="-63037" y="2096496"/>
                      <a:pt x="9159" y="2506532"/>
                    </a:cubicBezTo>
                    <a:cubicBezTo>
                      <a:pt x="75802" y="2884945"/>
                      <a:pt x="-40051" y="3461048"/>
                      <a:pt x="263620" y="3712886"/>
                    </a:cubicBezTo>
                    <a:cubicBezTo>
                      <a:pt x="606320" y="3997273"/>
                      <a:pt x="1337228" y="3277473"/>
                      <a:pt x="1862424" y="355538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8CEC8054-97C8-1F23-BD8F-23F689156097}"/>
                  </a:ext>
                </a:extLst>
              </p:cNvPr>
              <p:cNvSpPr/>
              <p:nvPr/>
            </p:nvSpPr>
            <p:spPr>
              <a:xfrm>
                <a:off x="4190357" y="2234963"/>
                <a:ext cx="3614123" cy="3758010"/>
              </a:xfrm>
              <a:custGeom>
                <a:avLst/>
                <a:gdLst>
                  <a:gd name="connsiteX0" fmla="*/ 1909345 w 3614123"/>
                  <a:gd name="connsiteY0" fmla="*/ 3388303 h 3758010"/>
                  <a:gd name="connsiteX1" fmla="*/ 3484238 w 3614123"/>
                  <a:gd name="connsiteY1" fmla="*/ 3364469 h 3758010"/>
                  <a:gd name="connsiteX2" fmla="*/ 3393067 w 3614123"/>
                  <a:gd name="connsiteY2" fmla="*/ 1922090 h 3758010"/>
                  <a:gd name="connsiteX3" fmla="*/ 3078443 w 3614123"/>
                  <a:gd name="connsiteY3" fmla="*/ 377125 h 3758010"/>
                  <a:gd name="connsiteX4" fmla="*/ 1461744 w 3614123"/>
                  <a:gd name="connsiteY4" fmla="*/ 17919 h 3758010"/>
                  <a:gd name="connsiteX5" fmla="*/ 817301 w 3614123"/>
                  <a:gd name="connsiteY5" fmla="*/ 1084276 h 3758010"/>
                  <a:gd name="connsiteX6" fmla="*/ 7718 w 3614123"/>
                  <a:gd name="connsiteY6" fmla="*/ 2487549 h 3758010"/>
                  <a:gd name="connsiteX7" fmla="*/ 281153 w 3614123"/>
                  <a:gd name="connsiteY7" fmla="*/ 3700150 h 3758010"/>
                  <a:gd name="connsiteX8" fmla="*/ 1909345 w 3614123"/>
                  <a:gd name="connsiteY8" fmla="*/ 3388303 h 3758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14123" h="3758010">
                    <a:moveTo>
                      <a:pt x="1909345" y="3388303"/>
                    </a:moveTo>
                    <a:cubicBezTo>
                      <a:pt x="2219418" y="3574116"/>
                      <a:pt x="3233943" y="3664824"/>
                      <a:pt x="3484238" y="3364469"/>
                    </a:cubicBezTo>
                    <a:cubicBezTo>
                      <a:pt x="3779964" y="3009351"/>
                      <a:pt x="3491874" y="2348094"/>
                      <a:pt x="3393067" y="1922090"/>
                    </a:cubicBezTo>
                    <a:cubicBezTo>
                      <a:pt x="3308684" y="1558333"/>
                      <a:pt x="3377101" y="625260"/>
                      <a:pt x="3078443" y="377125"/>
                    </a:cubicBezTo>
                    <a:cubicBezTo>
                      <a:pt x="2721397" y="80473"/>
                      <a:pt x="1895307" y="-50884"/>
                      <a:pt x="1461744" y="17919"/>
                    </a:cubicBezTo>
                    <a:cubicBezTo>
                      <a:pt x="1097138" y="75845"/>
                      <a:pt x="967324" y="757388"/>
                      <a:pt x="817301" y="1084276"/>
                    </a:cubicBezTo>
                    <a:cubicBezTo>
                      <a:pt x="436652" y="1913683"/>
                      <a:pt x="-68566" y="2075121"/>
                      <a:pt x="7718" y="2487549"/>
                    </a:cubicBezTo>
                    <a:cubicBezTo>
                      <a:pt x="75286" y="2852695"/>
                      <a:pt x="-16810" y="3452863"/>
                      <a:pt x="281153" y="3700150"/>
                    </a:cubicBezTo>
                    <a:cubicBezTo>
                      <a:pt x="633340" y="3992560"/>
                      <a:pt x="1370034" y="3065041"/>
                      <a:pt x="1909345" y="3388303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07A7C064-30EB-5818-60B4-14A8B1AA3179}"/>
                  </a:ext>
                </a:extLst>
              </p:cNvPr>
              <p:cNvSpPr/>
              <p:nvPr/>
            </p:nvSpPr>
            <p:spPr>
              <a:xfrm>
                <a:off x="4125770" y="2293347"/>
                <a:ext cx="3742715" cy="3749606"/>
              </a:xfrm>
              <a:custGeom>
                <a:avLst/>
                <a:gdLst>
                  <a:gd name="connsiteX0" fmla="*/ 1956963 w 3742715"/>
                  <a:gd name="connsiteY0" fmla="*/ 3232269 h 3749606"/>
                  <a:gd name="connsiteX1" fmla="*/ 3623876 w 3742715"/>
                  <a:gd name="connsiteY1" fmla="*/ 3326063 h 3749606"/>
                  <a:gd name="connsiteX2" fmla="*/ 3472155 w 3742715"/>
                  <a:gd name="connsiteY2" fmla="*/ 1856842 h 3749606"/>
                  <a:gd name="connsiteX3" fmla="*/ 3183063 w 3742715"/>
                  <a:gd name="connsiteY3" fmla="*/ 291359 h 3749606"/>
                  <a:gd name="connsiteX4" fmla="*/ 1457529 w 3742715"/>
                  <a:gd name="connsiteY4" fmla="*/ 37593 h 3749606"/>
                  <a:gd name="connsiteX5" fmla="*/ 892456 w 3742715"/>
                  <a:gd name="connsiteY5" fmla="*/ 1043864 h 3749606"/>
                  <a:gd name="connsiteX6" fmla="*/ 6974 w 3742715"/>
                  <a:gd name="connsiteY6" fmla="*/ 2479687 h 3749606"/>
                  <a:gd name="connsiteX7" fmla="*/ 299306 w 3742715"/>
                  <a:gd name="connsiteY7" fmla="*/ 3698459 h 3749606"/>
                  <a:gd name="connsiteX8" fmla="*/ 1956963 w 3742715"/>
                  <a:gd name="connsiteY8" fmla="*/ 3232269 h 3749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42715" h="3749606">
                    <a:moveTo>
                      <a:pt x="1956963" y="3232269"/>
                    </a:moveTo>
                    <a:cubicBezTo>
                      <a:pt x="2251687" y="3430655"/>
                      <a:pt x="3377822" y="3621712"/>
                      <a:pt x="3623876" y="3326063"/>
                    </a:cubicBezTo>
                    <a:cubicBezTo>
                      <a:pt x="3927315" y="2961226"/>
                      <a:pt x="3564869" y="2291484"/>
                      <a:pt x="3472155" y="1856842"/>
                    </a:cubicBezTo>
                    <a:cubicBezTo>
                      <a:pt x="3397028" y="1504577"/>
                      <a:pt x="3476244" y="535021"/>
                      <a:pt x="3183063" y="291359"/>
                    </a:cubicBezTo>
                    <a:cubicBezTo>
                      <a:pt x="2815989" y="-13623"/>
                      <a:pt x="1897339" y="-41237"/>
                      <a:pt x="1457529" y="37593"/>
                    </a:cubicBezTo>
                    <a:cubicBezTo>
                      <a:pt x="1106653" y="100533"/>
                      <a:pt x="1015405" y="701550"/>
                      <a:pt x="892456" y="1043864"/>
                    </a:cubicBezTo>
                    <a:cubicBezTo>
                      <a:pt x="574361" y="1929346"/>
                      <a:pt x="-74247" y="2064945"/>
                      <a:pt x="6974" y="2479687"/>
                    </a:cubicBezTo>
                    <a:cubicBezTo>
                      <a:pt x="74696" y="2831643"/>
                      <a:pt x="7128" y="3455800"/>
                      <a:pt x="299306" y="3698459"/>
                    </a:cubicBezTo>
                    <a:cubicBezTo>
                      <a:pt x="661058" y="3998967"/>
                      <a:pt x="1405928" y="2861262"/>
                      <a:pt x="1956963" y="323226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F2D2DED7-CADB-B2AC-3C19-BFC26368B662}"/>
                  </a:ext>
                </a:extLst>
              </p:cNvPr>
              <p:cNvSpPr/>
              <p:nvPr/>
            </p:nvSpPr>
            <p:spPr>
              <a:xfrm>
                <a:off x="4061078" y="2330966"/>
                <a:ext cx="3873961" cy="3763840"/>
              </a:xfrm>
              <a:custGeom>
                <a:avLst/>
                <a:gdLst>
                  <a:gd name="connsiteX0" fmla="*/ 3763695 w 3873961"/>
                  <a:gd name="connsiteY0" fmla="*/ 3308421 h 3763840"/>
                  <a:gd name="connsiteX1" fmla="*/ 3551425 w 3873961"/>
                  <a:gd name="connsiteY1" fmla="*/ 1812358 h 3763840"/>
                  <a:gd name="connsiteX2" fmla="*/ 3287786 w 3873961"/>
                  <a:gd name="connsiteY2" fmla="*/ 226435 h 3763840"/>
                  <a:gd name="connsiteX3" fmla="*/ 1453342 w 3873961"/>
                  <a:gd name="connsiteY3" fmla="*/ 78186 h 3763840"/>
                  <a:gd name="connsiteX4" fmla="*/ 967638 w 3873961"/>
                  <a:gd name="connsiteY4" fmla="*/ 1024294 h 3763840"/>
                  <a:gd name="connsiteX5" fmla="*/ 6334 w 3873961"/>
                  <a:gd name="connsiteY5" fmla="*/ 2492590 h 3763840"/>
                  <a:gd name="connsiteX6" fmla="*/ 317642 w 3873961"/>
                  <a:gd name="connsiteY6" fmla="*/ 3717532 h 3763840"/>
                  <a:gd name="connsiteX7" fmla="*/ 2004763 w 3873961"/>
                  <a:gd name="connsiteY7" fmla="*/ 3096923 h 3763840"/>
                  <a:gd name="connsiteX8" fmla="*/ 3763772 w 3873961"/>
                  <a:gd name="connsiteY8" fmla="*/ 3308421 h 3763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73961" h="3763840">
                    <a:moveTo>
                      <a:pt x="3763695" y="3308421"/>
                    </a:moveTo>
                    <a:cubicBezTo>
                      <a:pt x="4074847" y="2933942"/>
                      <a:pt x="3637583" y="2255716"/>
                      <a:pt x="3551425" y="1812358"/>
                    </a:cubicBezTo>
                    <a:cubicBezTo>
                      <a:pt x="3485169" y="1471586"/>
                      <a:pt x="3575568" y="465623"/>
                      <a:pt x="3287786" y="226435"/>
                    </a:cubicBezTo>
                    <a:cubicBezTo>
                      <a:pt x="2910685" y="-86878"/>
                      <a:pt x="1899323" y="-11288"/>
                      <a:pt x="1453342" y="78186"/>
                    </a:cubicBezTo>
                    <a:cubicBezTo>
                      <a:pt x="1116041" y="145831"/>
                      <a:pt x="1064131" y="666245"/>
                      <a:pt x="967638" y="1024294"/>
                    </a:cubicBezTo>
                    <a:cubicBezTo>
                      <a:pt x="714026" y="1965311"/>
                      <a:pt x="-78589" y="2075380"/>
                      <a:pt x="6334" y="2492590"/>
                    </a:cubicBezTo>
                    <a:cubicBezTo>
                      <a:pt x="75291" y="2831202"/>
                      <a:pt x="31094" y="3479501"/>
                      <a:pt x="317642" y="3717532"/>
                    </a:cubicBezTo>
                    <a:cubicBezTo>
                      <a:pt x="688958" y="4026062"/>
                      <a:pt x="1444780" y="2676242"/>
                      <a:pt x="2004763" y="3096923"/>
                    </a:cubicBezTo>
                    <a:cubicBezTo>
                      <a:pt x="2285294" y="3307727"/>
                      <a:pt x="3521961" y="3599365"/>
                      <a:pt x="3763772" y="330842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0" name="Title 6">
            <a:extLst>
              <a:ext uri="{FF2B5EF4-FFF2-40B4-BE49-F238E27FC236}">
                <a16:creationId xmlns:a16="http://schemas.microsoft.com/office/drawing/2014/main" id="{1DA8C7AE-7BA4-0F40-E3B2-D91DF4BE0465}"/>
              </a:ext>
            </a:extLst>
          </p:cNvPr>
          <p:cNvSpPr txBox="1">
            <a:spLocks/>
          </p:cNvSpPr>
          <p:nvPr/>
        </p:nvSpPr>
        <p:spPr>
          <a:xfrm>
            <a:off x="737757" y="861774"/>
            <a:ext cx="11017250" cy="55403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-50" normalizeH="0" baseline="0" noProof="0" dirty="0">
                <a:ln w="3175"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+mn-lt"/>
                <a:ea typeface="+mn-ea"/>
                <a:cs typeface="Segoe Sans Text" pitchFamily="2" charset="0"/>
              </a:rPr>
              <a:t>Peer-to</a:t>
            </a:r>
            <a:r>
              <a:rPr lang="en-US" sz="2000" b="1" i="1" dirty="0">
                <a:solidFill>
                  <a:srgbClr val="C03BC4"/>
                </a:solidFill>
                <a:latin typeface="+mn-lt"/>
                <a:cs typeface="Segoe Sans Text" pitchFamily="2" charset="0"/>
              </a:rPr>
              <a:t>-Peer Conversation</a:t>
            </a:r>
            <a:endParaRPr kumimoji="0" lang="en-US" sz="2000" b="1" i="1" u="none" strike="noStrike" kern="1200" cap="none" spc="-50" normalizeH="0" baseline="0" noProof="0" dirty="0">
              <a:ln w="3175">
                <a:noFill/>
              </a:ln>
              <a:solidFill>
                <a:srgbClr val="C03BC4"/>
              </a:solidFill>
              <a:effectLst/>
              <a:uLnTx/>
              <a:uFillTx/>
              <a:latin typeface="Segoe Sans Text Semibold"/>
              <a:ea typeface="+mn-ea"/>
              <a:cs typeface="Segoe Sans Text" pitchFamily="2" charset="0"/>
            </a:endParaRPr>
          </a:p>
        </p:txBody>
      </p:sp>
      <p:sp>
        <p:nvSpPr>
          <p:cNvPr id="66" name="Title 2">
            <a:extLst>
              <a:ext uri="{FF2B5EF4-FFF2-40B4-BE49-F238E27FC236}">
                <a16:creationId xmlns:a16="http://schemas.microsoft.com/office/drawing/2014/main" id="{63255D6F-825C-4FA9-F19A-1FFCB40853AC}"/>
              </a:ext>
            </a:extLst>
          </p:cNvPr>
          <p:cNvSpPr txBox="1">
            <a:spLocks/>
          </p:cNvSpPr>
          <p:nvPr/>
        </p:nvSpPr>
        <p:spPr>
          <a:xfrm>
            <a:off x="736487" y="0"/>
            <a:ext cx="11018520" cy="861774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8661C5"/>
                </a:solidFill>
              </a:rPr>
              <a:t>Why </a:t>
            </a:r>
            <a:r>
              <a:rPr lang="en-US" b="1" dirty="0">
                <a:solidFill>
                  <a:schemeClr val="accent1"/>
                </a:solidFill>
              </a:rPr>
              <a:t>Not Move </a:t>
            </a:r>
            <a:r>
              <a:rPr lang="en-US" b="1" dirty="0">
                <a:solidFill>
                  <a:srgbClr val="8661C5"/>
                </a:solidFill>
              </a:rPr>
              <a:t>From Naïve RAG to Agentic RAG?</a:t>
            </a:r>
            <a:endParaRPr lang="en-US" sz="2000" dirty="0">
              <a:solidFill>
                <a:srgbClr val="8661C5"/>
              </a:solidFill>
              <a:latin typeface="+mn-lt"/>
            </a:endParaRPr>
          </a:p>
        </p:txBody>
      </p:sp>
      <p:graphicFrame>
        <p:nvGraphicFramePr>
          <p:cNvPr id="140" name="Table 139">
            <a:extLst>
              <a:ext uri="{FF2B5EF4-FFF2-40B4-BE49-F238E27FC236}">
                <a16:creationId xmlns:a16="http://schemas.microsoft.com/office/drawing/2014/main" id="{A323D1D0-2C39-B6FD-355E-A479607A62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3893246"/>
              </p:ext>
            </p:extLst>
          </p:nvPr>
        </p:nvGraphicFramePr>
        <p:xfrm>
          <a:off x="2783840" y="1723548"/>
          <a:ext cx="7401560" cy="3867798"/>
        </p:xfrm>
        <a:graphic>
          <a:graphicData uri="http://schemas.openxmlformats.org/drawingml/2006/table">
            <a:tbl>
              <a:tblPr/>
              <a:tblGrid>
                <a:gridCol w="3698240">
                  <a:extLst>
                    <a:ext uri="{9D8B030D-6E8A-4147-A177-3AD203B41FA5}">
                      <a16:colId xmlns:a16="http://schemas.microsoft.com/office/drawing/2014/main" val="155362385"/>
                    </a:ext>
                  </a:extLst>
                </a:gridCol>
                <a:gridCol w="3703320">
                  <a:extLst>
                    <a:ext uri="{9D8B030D-6E8A-4147-A177-3AD203B41FA5}">
                      <a16:colId xmlns:a16="http://schemas.microsoft.com/office/drawing/2014/main" val="3319297770"/>
                    </a:ext>
                  </a:extLst>
                </a:gridCol>
              </a:tblGrid>
              <a:tr h="396698">
                <a:tc>
                  <a:txBody>
                    <a:bodyPr/>
                    <a:lstStyle/>
                    <a:p>
                      <a:r>
                        <a:rPr lang="en-US" sz="1400" b="1" i="1" dirty="0">
                          <a:solidFill>
                            <a:srgbClr val="8661C5"/>
                          </a:solidFill>
                        </a:rPr>
                        <a:t>Reason</a:t>
                      </a:r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1" dirty="0">
                          <a:solidFill>
                            <a:srgbClr val="8661C5"/>
                          </a:solidFill>
                        </a:rPr>
                        <a:t>My thoughts</a:t>
                      </a:r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1347021"/>
                  </a:ext>
                </a:extLst>
              </a:tr>
              <a:tr h="694220">
                <a:tc>
                  <a:txBody>
                    <a:bodyPr/>
                    <a:lstStyle/>
                    <a:p>
                      <a:r>
                        <a:rPr lang="en-US" sz="1400" b="1" dirty="0"/>
                        <a:t>Overkill for Simple Use Cases</a:t>
                      </a:r>
                      <a:endParaRPr lang="en-US" sz="1400" dirty="0"/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f your queries are straightforward (e.g., “What’s the refund policy?”), Agentic RAG adds unnecessary overhead.</a:t>
                      </a:r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8530153"/>
                  </a:ext>
                </a:extLst>
              </a:tr>
              <a:tr h="694220">
                <a:tc>
                  <a:txBody>
                    <a:bodyPr/>
                    <a:lstStyle/>
                    <a:p>
                      <a:r>
                        <a:rPr lang="en-US" sz="1400" b="1" dirty="0"/>
                        <a:t>Higher Compute Cost</a:t>
                      </a:r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ultiple agents, memory, iterative workflows = more tokens, more API calls, more infra.</a:t>
                      </a:r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7565199"/>
                  </a:ext>
                </a:extLst>
              </a:tr>
              <a:tr h="694220">
                <a:tc>
                  <a:txBody>
                    <a:bodyPr/>
                    <a:lstStyle/>
                    <a:p>
                      <a:r>
                        <a:rPr lang="en-US" sz="1400" b="1" dirty="0"/>
                        <a:t>Latency Sensitivity</a:t>
                      </a:r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In real-time systems (e.g., live chat or trading), agent loops can add delay.</a:t>
                      </a:r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86963"/>
                  </a:ext>
                </a:extLst>
              </a:tr>
              <a:tr h="694220">
                <a:tc>
                  <a:txBody>
                    <a:bodyPr/>
                    <a:lstStyle/>
                    <a:p>
                      <a:r>
                        <a:rPr lang="en-US" sz="1400" b="1" dirty="0"/>
                        <a:t>Lack of Ground Truth for Evaluation</a:t>
                      </a:r>
                      <a:endParaRPr lang="en-US" sz="1400" dirty="0"/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valuating dynamic agent behavior in real time is hard. </a:t>
                      </a:r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8237920"/>
                  </a:ext>
                </a:extLst>
              </a:tr>
              <a:tr h="694220">
                <a:tc>
                  <a:txBody>
                    <a:bodyPr/>
                    <a:lstStyle/>
                    <a:p>
                      <a:r>
                        <a:rPr lang="en-US" sz="1400" b="1" dirty="0"/>
                        <a:t>Lack of Domain-Specific Tools</a:t>
                      </a:r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gentic RAG thrives with APIs, plugins, calculators — without them, the agent becomes a glorified router.</a:t>
                      </a:r>
                    </a:p>
                  </a:txBody>
                  <a:tcPr marL="41356" marR="41356" marT="20678" marB="2067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01526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3315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CF6C4C-0C13-08DF-E526-274A55AD36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!! Purple box">
            <a:extLst>
              <a:ext uri="{FF2B5EF4-FFF2-40B4-BE49-F238E27FC236}">
                <a16:creationId xmlns:a16="http://schemas.microsoft.com/office/drawing/2014/main" id="{7AFCE3B6-4E06-4E1B-B412-E4DC4CDC6A4E}"/>
              </a:ext>
            </a:extLst>
          </p:cNvPr>
          <p:cNvSpPr txBox="1"/>
          <p:nvPr/>
        </p:nvSpPr>
        <p:spPr>
          <a:xfrm>
            <a:off x="4321454" y="3084036"/>
            <a:ext cx="1067682" cy="446465"/>
          </a:xfrm>
          <a:prstGeom prst="roundRect">
            <a:avLst>
              <a:gd name="adj" fmla="val 16667"/>
            </a:avLst>
          </a:prstGeom>
          <a:solidFill>
            <a:srgbClr val="8661C5"/>
          </a:solidFill>
          <a:ln w="15875">
            <a:noFill/>
            <a:headEnd type="none" w="med" len="med"/>
            <a:tailEnd type="none" w="med" len="med"/>
          </a:ln>
          <a:effectLst>
            <a:outerShdw blurRad="101600" dist="1270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72000" rIns="179285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14102" fontAlgn="base">
              <a:spcBef>
                <a:spcPct val="0"/>
              </a:spcBef>
              <a:spcAft>
                <a:spcPct val="0"/>
              </a:spcAft>
              <a:defRPr sz="196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1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Sans Text Semibold"/>
                <a:ea typeface="+mn-ea"/>
                <a:cs typeface="Segoe UI" pitchFamily="34" charset="0"/>
              </a:rPr>
              <a:t>Search Query</a:t>
            </a:r>
          </a:p>
        </p:txBody>
      </p:sp>
      <p:pic>
        <p:nvPicPr>
          <p:cNvPr id="95" name="Picture Placeholder 23" descr="Profile image of maker.">
            <a:extLst>
              <a:ext uri="{FF2B5EF4-FFF2-40B4-BE49-F238E27FC236}">
                <a16:creationId xmlns:a16="http://schemas.microsoft.com/office/drawing/2014/main" id="{AA72197D-3803-FFA6-F4A2-780BBB53813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391409" y="3179507"/>
            <a:ext cx="642289" cy="642289"/>
          </a:xfrm>
          <a:prstGeom prst="ellipse">
            <a:avLst/>
          </a:prstGeom>
          <a:ln>
            <a:noFill/>
          </a:ln>
        </p:spPr>
      </p:pic>
      <p:sp>
        <p:nvSpPr>
          <p:cNvPr id="96" name="Text Placeholder 8">
            <a:extLst>
              <a:ext uri="{FF2B5EF4-FFF2-40B4-BE49-F238E27FC236}">
                <a16:creationId xmlns:a16="http://schemas.microsoft.com/office/drawing/2014/main" id="{16DEA628-C5DA-7016-3890-AA9CC906C27C}"/>
              </a:ext>
            </a:extLst>
          </p:cNvPr>
          <p:cNvSpPr txBox="1">
            <a:spLocks/>
          </p:cNvSpPr>
          <p:nvPr/>
        </p:nvSpPr>
        <p:spPr>
          <a:xfrm>
            <a:off x="2329547" y="3863067"/>
            <a:ext cx="1079411" cy="15388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3pPr>
            <a:lvl4pPr marL="661988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4pPr>
            <a:lvl5pPr marL="855663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A1B45"/>
                </a:solidFill>
                <a:effectLst/>
                <a:uLnTx/>
                <a:uFillTx/>
                <a:latin typeface="Segoe UI Semibold"/>
                <a:ea typeface="+mn-ea"/>
                <a:cs typeface="Segoe UI"/>
              </a:rPr>
              <a:t>Product Manager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A1B45"/>
              </a:solidFill>
              <a:effectLst/>
              <a:uLnTx/>
              <a:uFillTx/>
              <a:latin typeface="Segoe UI Semibold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8" name="!! Purple box">
            <a:extLst>
              <a:ext uri="{FF2B5EF4-FFF2-40B4-BE49-F238E27FC236}">
                <a16:creationId xmlns:a16="http://schemas.microsoft.com/office/drawing/2014/main" id="{CFE0A7DC-EBF4-53A5-3F1E-920F6025E6DE}"/>
              </a:ext>
            </a:extLst>
          </p:cNvPr>
          <p:cNvSpPr txBox="1"/>
          <p:nvPr/>
        </p:nvSpPr>
        <p:spPr>
          <a:xfrm>
            <a:off x="4355945" y="4104391"/>
            <a:ext cx="1067682" cy="446465"/>
          </a:xfrm>
          <a:prstGeom prst="roundRect">
            <a:avLst>
              <a:gd name="adj" fmla="val 16667"/>
            </a:avLst>
          </a:prstGeom>
          <a:solidFill>
            <a:schemeClr val="accent1">
              <a:lumMod val="60000"/>
              <a:lumOff val="40000"/>
            </a:schemeClr>
          </a:solidFill>
          <a:ln w="15875">
            <a:noFill/>
            <a:headEnd type="none" w="med" len="med"/>
            <a:tailEnd type="none" w="med" len="med"/>
          </a:ln>
          <a:effectLst>
            <a:outerShdw blurRad="101600" dist="1270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72000" rIns="179285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14102" fontAlgn="base">
              <a:spcBef>
                <a:spcPct val="0"/>
              </a:spcBef>
              <a:spcAft>
                <a:spcPct val="0"/>
              </a:spcAft>
              <a:defRPr sz="196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1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Sans Text Semibold"/>
                <a:ea typeface="+mn-ea"/>
                <a:cs typeface="Segoe UI" pitchFamily="34" charset="0"/>
              </a:rPr>
              <a:t>Product</a:t>
            </a:r>
            <a:r>
              <a:rPr lang="en-US" sz="1000" b="1" dirty="0">
                <a:latin typeface="Segoe Sans Text Semibold"/>
              </a:rPr>
              <a:t> Insight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Sans Text Semibold"/>
              <a:ea typeface="+mn-ea"/>
              <a:cs typeface="Segoe UI" pitchFamily="34" charset="0"/>
            </a:endParaRPr>
          </a:p>
        </p:txBody>
      </p:sp>
      <p:cxnSp>
        <p:nvCxnSpPr>
          <p:cNvPr id="109" name="Elbow Connector 7200">
            <a:extLst>
              <a:ext uri="{FF2B5EF4-FFF2-40B4-BE49-F238E27FC236}">
                <a16:creationId xmlns:a16="http://schemas.microsoft.com/office/drawing/2014/main" id="{48F1E241-1343-320A-4C65-C81D77B8A774}"/>
              </a:ext>
            </a:extLst>
          </p:cNvPr>
          <p:cNvCxnSpPr>
            <a:cxnSpLocks/>
          </p:cNvCxnSpPr>
          <p:nvPr/>
        </p:nvCxnSpPr>
        <p:spPr>
          <a:xfrm>
            <a:off x="5610056" y="4276635"/>
            <a:ext cx="968258" cy="459800"/>
          </a:xfrm>
          <a:prstGeom prst="bentConnector3">
            <a:avLst>
              <a:gd name="adj1" fmla="val 50000"/>
            </a:avLst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arrow" w="lg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Elbow Connector 7200">
            <a:extLst>
              <a:ext uri="{FF2B5EF4-FFF2-40B4-BE49-F238E27FC236}">
                <a16:creationId xmlns:a16="http://schemas.microsoft.com/office/drawing/2014/main" id="{89850607-2077-9639-77CE-E09633899AB6}"/>
              </a:ext>
            </a:extLst>
          </p:cNvPr>
          <p:cNvCxnSpPr>
            <a:cxnSpLocks/>
            <a:stCxn id="95" idx="6"/>
          </p:cNvCxnSpPr>
          <p:nvPr/>
        </p:nvCxnSpPr>
        <p:spPr>
          <a:xfrm flipV="1">
            <a:off x="3033698" y="3346886"/>
            <a:ext cx="1108613" cy="153766"/>
          </a:xfrm>
          <a:prstGeom prst="bentConnector3">
            <a:avLst>
              <a:gd name="adj1" fmla="val 50000"/>
            </a:avLst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none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3" name="!! Purple box">
            <a:extLst>
              <a:ext uri="{FF2B5EF4-FFF2-40B4-BE49-F238E27FC236}">
                <a16:creationId xmlns:a16="http://schemas.microsoft.com/office/drawing/2014/main" id="{23F0DA44-0D69-2CE5-07E0-4E5FFD3869AE}"/>
              </a:ext>
            </a:extLst>
          </p:cNvPr>
          <p:cNvSpPr txBox="1"/>
          <p:nvPr/>
        </p:nvSpPr>
        <p:spPr>
          <a:xfrm>
            <a:off x="5985390" y="3047411"/>
            <a:ext cx="1185848" cy="449022"/>
          </a:xfrm>
          <a:prstGeom prst="roundRect">
            <a:avLst>
              <a:gd name="adj" fmla="val 16667"/>
            </a:avLst>
          </a:prstGeom>
          <a:solidFill>
            <a:srgbClr val="C1DDE9"/>
          </a:solidFill>
          <a:ln w="15875">
            <a:noFill/>
            <a:headEnd type="none" w="med" len="med"/>
            <a:tailEnd type="none" w="med" len="med"/>
          </a:ln>
          <a:effectLst>
            <a:outerShdw blurRad="101600" dist="1270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72000" rIns="179285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14102" fontAlgn="base">
              <a:spcBef>
                <a:spcPct val="0"/>
              </a:spcBef>
              <a:spcAft>
                <a:spcPct val="0"/>
              </a:spcAft>
              <a:defRPr sz="196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cs typeface="Segoe UI" pitchFamily="34" charset="0"/>
              </a:rPr>
              <a:t>Doc</a:t>
            </a:r>
            <a:r>
              <a:rPr lang="en-US" sz="105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cs typeface="Segoe UI" pitchFamily="34" charset="0"/>
              </a:rPr>
              <a:t> Search</a:t>
            </a:r>
            <a:endParaRPr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 Semibold"/>
              <a:cs typeface="Segoe UI" pitchFamily="34" charset="0"/>
            </a:endParaRPr>
          </a:p>
        </p:txBody>
      </p:sp>
      <p:sp>
        <p:nvSpPr>
          <p:cNvPr id="1035" name="TextBox 1034">
            <a:extLst>
              <a:ext uri="{FF2B5EF4-FFF2-40B4-BE49-F238E27FC236}">
                <a16:creationId xmlns:a16="http://schemas.microsoft.com/office/drawing/2014/main" id="{0011860A-DCEC-3CB9-C824-731A9DDA78D9}"/>
              </a:ext>
            </a:extLst>
          </p:cNvPr>
          <p:cNvSpPr txBox="1"/>
          <p:nvPr/>
        </p:nvSpPr>
        <p:spPr>
          <a:xfrm>
            <a:off x="6578314" y="1726529"/>
            <a:ext cx="7008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zure AI     Search</a:t>
            </a:r>
          </a:p>
        </p:txBody>
      </p:sp>
      <p:pic>
        <p:nvPicPr>
          <p:cNvPr id="1036" name="Picture 6" descr="Pricing - Azure AI Search | Microsoft Azure">
            <a:extLst>
              <a:ext uri="{FF2B5EF4-FFF2-40B4-BE49-F238E27FC236}">
                <a16:creationId xmlns:a16="http://schemas.microsoft.com/office/drawing/2014/main" id="{ED55010F-EC97-51D6-DDE1-3D4DBF1625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9839" y="2033559"/>
            <a:ext cx="1188797" cy="625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Elbow Connector 7200">
            <a:extLst>
              <a:ext uri="{FF2B5EF4-FFF2-40B4-BE49-F238E27FC236}">
                <a16:creationId xmlns:a16="http://schemas.microsoft.com/office/drawing/2014/main" id="{78DF0861-C7F5-7290-FC90-00A222B3A647}"/>
              </a:ext>
            </a:extLst>
          </p:cNvPr>
          <p:cNvCxnSpPr>
            <a:cxnSpLocks/>
            <a:endCxn id="1033" idx="1"/>
          </p:cNvCxnSpPr>
          <p:nvPr/>
        </p:nvCxnSpPr>
        <p:spPr>
          <a:xfrm flipV="1">
            <a:off x="5386958" y="3271922"/>
            <a:ext cx="598432" cy="88902"/>
          </a:xfrm>
          <a:prstGeom prst="bentConnector3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none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7200">
            <a:extLst>
              <a:ext uri="{FF2B5EF4-FFF2-40B4-BE49-F238E27FC236}">
                <a16:creationId xmlns:a16="http://schemas.microsoft.com/office/drawing/2014/main" id="{6F6526CF-F084-7120-0CF0-68BDED26986E}"/>
              </a:ext>
            </a:extLst>
          </p:cNvPr>
          <p:cNvCxnSpPr>
            <a:cxnSpLocks/>
            <a:stCxn id="1036" idx="2"/>
            <a:endCxn id="1033" idx="0"/>
          </p:cNvCxnSpPr>
          <p:nvPr/>
        </p:nvCxnSpPr>
        <p:spPr>
          <a:xfrm rot="5400000">
            <a:off x="6506889" y="2730061"/>
            <a:ext cx="388775" cy="245924"/>
          </a:xfrm>
          <a:prstGeom prst="bentConnector3">
            <a:avLst>
              <a:gd name="adj1" fmla="val 50000"/>
            </a:avLst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arrow" w="lg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BA88C142-25B7-802D-F101-2428C117C45A}"/>
              </a:ext>
            </a:extLst>
          </p:cNvPr>
          <p:cNvSpPr txBox="1"/>
          <p:nvPr/>
        </p:nvSpPr>
        <p:spPr>
          <a:xfrm>
            <a:off x="8379533" y="4822124"/>
            <a:ext cx="71113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LM</a:t>
            </a:r>
          </a:p>
        </p:txBody>
      </p:sp>
      <p:pic>
        <p:nvPicPr>
          <p:cNvPr id="25" name="Picture 24" descr="A blue square with a white star&#10;&#10;Description automatically generated">
            <a:extLst>
              <a:ext uri="{FF2B5EF4-FFF2-40B4-BE49-F238E27FC236}">
                <a16:creationId xmlns:a16="http://schemas.microsoft.com/office/drawing/2014/main" id="{D75CFD60-86E6-2B64-7DF0-910EDC7F126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3217" y="4311941"/>
            <a:ext cx="644943" cy="644943"/>
          </a:xfrm>
          <a:prstGeom prst="rect">
            <a:avLst/>
          </a:prstGeom>
        </p:spPr>
      </p:pic>
      <p:cxnSp>
        <p:nvCxnSpPr>
          <p:cNvPr id="26" name="Elbow Connector 7200">
            <a:extLst>
              <a:ext uri="{FF2B5EF4-FFF2-40B4-BE49-F238E27FC236}">
                <a16:creationId xmlns:a16="http://schemas.microsoft.com/office/drawing/2014/main" id="{1D2E593B-832F-1E9B-701F-790519F4218F}"/>
              </a:ext>
            </a:extLst>
          </p:cNvPr>
          <p:cNvCxnSpPr>
            <a:cxnSpLocks/>
            <a:endCxn id="43" idx="0"/>
          </p:cNvCxnSpPr>
          <p:nvPr/>
        </p:nvCxnSpPr>
        <p:spPr>
          <a:xfrm>
            <a:off x="7231874" y="2346097"/>
            <a:ext cx="1049480" cy="725842"/>
          </a:xfrm>
          <a:prstGeom prst="bentConnector2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none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!! Purple box">
            <a:extLst>
              <a:ext uri="{FF2B5EF4-FFF2-40B4-BE49-F238E27FC236}">
                <a16:creationId xmlns:a16="http://schemas.microsoft.com/office/drawing/2014/main" id="{92482E4C-7CE4-4AC1-C357-991428731178}"/>
              </a:ext>
            </a:extLst>
          </p:cNvPr>
          <p:cNvSpPr txBox="1"/>
          <p:nvPr/>
        </p:nvSpPr>
        <p:spPr>
          <a:xfrm>
            <a:off x="6642141" y="4311941"/>
            <a:ext cx="1411094" cy="851297"/>
          </a:xfrm>
          <a:prstGeom prst="roundRect">
            <a:avLst>
              <a:gd name="adj" fmla="val 16667"/>
            </a:avLst>
          </a:prstGeom>
          <a:solidFill>
            <a:srgbClr val="C1DDE9"/>
          </a:solidFill>
          <a:ln w="15875">
            <a:noFill/>
            <a:headEnd type="none" w="med" len="med"/>
            <a:tailEnd type="none" w="med" len="med"/>
          </a:ln>
          <a:effectLst>
            <a:outerShdw blurRad="101600" dist="1270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72000" rIns="179285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14102" fontAlgn="base">
              <a:spcBef>
                <a:spcPct val="0"/>
              </a:spcBef>
              <a:spcAft>
                <a:spcPct val="0"/>
              </a:spcAft>
              <a:defRPr sz="196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cs typeface="Segoe UI" pitchFamily="34" charset="0"/>
              </a:rPr>
              <a:t>Reasoning over</a:t>
            </a:r>
            <a:r>
              <a:rPr lang="en-US" sz="105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cs typeface="Segoe UI" pitchFamily="34" charset="0"/>
              </a:rPr>
              <a:t> Search Query + Context (Chunks)</a:t>
            </a:r>
            <a:endParaRPr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 Semibold"/>
              <a:cs typeface="Segoe UI" pitchFamily="34" charset="0"/>
            </a:endParaRPr>
          </a:p>
        </p:txBody>
      </p:sp>
      <p:sp>
        <p:nvSpPr>
          <p:cNvPr id="43" name="!! Purple box">
            <a:extLst>
              <a:ext uri="{FF2B5EF4-FFF2-40B4-BE49-F238E27FC236}">
                <a16:creationId xmlns:a16="http://schemas.microsoft.com/office/drawing/2014/main" id="{90798EF3-3391-0222-5C48-222333048B58}"/>
              </a:ext>
            </a:extLst>
          </p:cNvPr>
          <p:cNvSpPr txBox="1"/>
          <p:nvPr/>
        </p:nvSpPr>
        <p:spPr>
          <a:xfrm>
            <a:off x="7688430" y="3071939"/>
            <a:ext cx="1185848" cy="449022"/>
          </a:xfrm>
          <a:prstGeom prst="roundRect">
            <a:avLst>
              <a:gd name="adj" fmla="val 16667"/>
            </a:avLst>
          </a:prstGeom>
          <a:solidFill>
            <a:srgbClr val="C1DDE9"/>
          </a:solidFill>
          <a:ln w="15875">
            <a:noFill/>
            <a:headEnd type="none" w="med" len="med"/>
            <a:tailEnd type="none" w="med" len="med"/>
          </a:ln>
          <a:effectLst>
            <a:outerShdw blurRad="101600" dist="1270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72000" rIns="179285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14102" fontAlgn="base">
              <a:spcBef>
                <a:spcPct val="0"/>
              </a:spcBef>
              <a:spcAft>
                <a:spcPct val="0"/>
              </a:spcAft>
              <a:defRPr sz="196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cs typeface="Segoe UI" pitchFamily="34" charset="0"/>
              </a:rPr>
              <a:t>Context</a:t>
            </a:r>
            <a:r>
              <a:rPr lang="en-US" sz="105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cs typeface="Segoe UI" pitchFamily="34" charset="0"/>
              </a:rPr>
              <a:t> Retrieval</a:t>
            </a:r>
            <a:endParaRPr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 Semibold"/>
              <a:cs typeface="Segoe UI" pitchFamily="34" charset="0"/>
            </a:endParaRPr>
          </a:p>
        </p:txBody>
      </p:sp>
      <p:cxnSp>
        <p:nvCxnSpPr>
          <p:cNvPr id="55" name="Elbow Connector 7200">
            <a:extLst>
              <a:ext uri="{FF2B5EF4-FFF2-40B4-BE49-F238E27FC236}">
                <a16:creationId xmlns:a16="http://schemas.microsoft.com/office/drawing/2014/main" id="{1E409118-4DA6-21A9-72FA-91BAA3874DA6}"/>
              </a:ext>
            </a:extLst>
          </p:cNvPr>
          <p:cNvCxnSpPr>
            <a:cxnSpLocks/>
            <a:stCxn id="96" idx="2"/>
          </p:cNvCxnSpPr>
          <p:nvPr/>
        </p:nvCxnSpPr>
        <p:spPr>
          <a:xfrm rot="16200000" flipH="1">
            <a:off x="3385298" y="3500910"/>
            <a:ext cx="371828" cy="1403918"/>
          </a:xfrm>
          <a:prstGeom prst="bentConnector2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arrow" w="lg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Elbow Connector 7200">
            <a:extLst>
              <a:ext uri="{FF2B5EF4-FFF2-40B4-BE49-F238E27FC236}">
                <a16:creationId xmlns:a16="http://schemas.microsoft.com/office/drawing/2014/main" id="{6C027328-631B-A4EA-619E-358FB0184935}"/>
              </a:ext>
            </a:extLst>
          </p:cNvPr>
          <p:cNvCxnSpPr>
            <a:cxnSpLocks/>
            <a:stCxn id="39" idx="3"/>
          </p:cNvCxnSpPr>
          <p:nvPr/>
        </p:nvCxnSpPr>
        <p:spPr>
          <a:xfrm flipV="1">
            <a:off x="8053235" y="4627307"/>
            <a:ext cx="903530" cy="110283"/>
          </a:xfrm>
          <a:prstGeom prst="bentConnector3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arrow" w="lg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7200">
            <a:extLst>
              <a:ext uri="{FF2B5EF4-FFF2-40B4-BE49-F238E27FC236}">
                <a16:creationId xmlns:a16="http://schemas.microsoft.com/office/drawing/2014/main" id="{DFE37F89-D37D-C3BC-EC64-C7DE2B5B46BC}"/>
              </a:ext>
            </a:extLst>
          </p:cNvPr>
          <p:cNvCxnSpPr>
            <a:cxnSpLocks/>
            <a:stCxn id="43" idx="2"/>
            <a:endCxn id="39" idx="0"/>
          </p:cNvCxnSpPr>
          <p:nvPr/>
        </p:nvCxnSpPr>
        <p:spPr>
          <a:xfrm rot="5400000">
            <a:off x="7419031" y="3449618"/>
            <a:ext cx="790980" cy="933666"/>
          </a:xfrm>
          <a:prstGeom prst="bentConnector3">
            <a:avLst>
              <a:gd name="adj1" fmla="val 50000"/>
            </a:avLst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none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73519417-A3EC-2C02-E9D7-FF25C0230CE0}"/>
              </a:ext>
            </a:extLst>
          </p:cNvPr>
          <p:cNvSpPr txBox="1"/>
          <p:nvPr/>
        </p:nvSpPr>
        <p:spPr>
          <a:xfrm>
            <a:off x="7599491" y="3934580"/>
            <a:ext cx="68186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cs typeface="Segoe UI" pitchFamily="34" charset="0"/>
              </a:rPr>
              <a:t>Chunk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81C67EE-E73A-B3A7-3CBB-9C32B39EBF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6981742">
            <a:off x="-2247367" y="4927031"/>
            <a:ext cx="8334992" cy="7408967"/>
            <a:chOff x="-1641318" y="-299489"/>
            <a:chExt cx="8683276" cy="7718554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F5088B40-CF30-2E31-970E-3158FDBBF81F}"/>
                </a:ext>
              </a:extLst>
            </p:cNvPr>
            <p:cNvGrpSpPr/>
            <p:nvPr/>
          </p:nvGrpSpPr>
          <p:grpSpPr>
            <a:xfrm rot="13963223">
              <a:off x="-1235110" y="-252874"/>
              <a:ext cx="7671937" cy="7671942"/>
              <a:chOff x="-13073550" y="260470"/>
              <a:chExt cx="10868115" cy="10868116"/>
            </a:xfrm>
            <a:solidFill>
              <a:schemeClr val="bg1">
                <a:lumMod val="85000"/>
              </a:schemeClr>
            </a:solidFill>
          </p:grpSpPr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3296AD30-2B66-C6B7-79FB-AE9E8F4D4684}"/>
                  </a:ext>
                </a:extLst>
              </p:cNvPr>
              <p:cNvGrpSpPr/>
              <p:nvPr/>
            </p:nvGrpSpPr>
            <p:grpSpPr>
              <a:xfrm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75" name="Graphic 74">
                  <a:extLst>
                    <a:ext uri="{FF2B5EF4-FFF2-40B4-BE49-F238E27FC236}">
                      <a16:creationId xmlns:a16="http://schemas.microsoft.com/office/drawing/2014/main" id="{59DFB6DB-F78C-A099-F61E-14C92001B87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76" name="Graphic 75">
                  <a:extLst>
                    <a:ext uri="{FF2B5EF4-FFF2-40B4-BE49-F238E27FC236}">
                      <a16:creationId xmlns:a16="http://schemas.microsoft.com/office/drawing/2014/main" id="{2BD2B5C9-64D4-7375-D889-5EFA99A2B9F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3466108C-3D36-1CA0-7F74-53645B061C77}"/>
                  </a:ext>
                </a:extLst>
              </p:cNvPr>
              <p:cNvGrpSpPr/>
              <p:nvPr/>
            </p:nvGrpSpPr>
            <p:grpSpPr>
              <a:xfrm rot="18000000"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73" name="Graphic 72">
                  <a:extLst>
                    <a:ext uri="{FF2B5EF4-FFF2-40B4-BE49-F238E27FC236}">
                      <a16:creationId xmlns:a16="http://schemas.microsoft.com/office/drawing/2014/main" id="{C8A15D51-E321-CD58-31D6-05D53D633E8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74" name="Graphic 73">
                  <a:extLst>
                    <a:ext uri="{FF2B5EF4-FFF2-40B4-BE49-F238E27FC236}">
                      <a16:creationId xmlns:a16="http://schemas.microsoft.com/office/drawing/2014/main" id="{48BB5931-3BB3-CF00-AC69-F022A4BAFDB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94DFDAAA-003E-27FD-8495-77D8862E71B1}"/>
                  </a:ext>
                </a:extLst>
              </p:cNvPr>
              <p:cNvGrpSpPr/>
              <p:nvPr/>
            </p:nvGrpSpPr>
            <p:grpSpPr>
              <a:xfrm rot="3600000">
                <a:off x="-13073550" y="3398291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71" name="Graphic 70">
                  <a:extLst>
                    <a:ext uri="{FF2B5EF4-FFF2-40B4-BE49-F238E27FC236}">
                      <a16:creationId xmlns:a16="http://schemas.microsoft.com/office/drawing/2014/main" id="{1D5FEE01-CCEB-8870-BDA2-F21BFA6B189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72" name="Graphic 71">
                  <a:extLst>
                    <a:ext uri="{FF2B5EF4-FFF2-40B4-BE49-F238E27FC236}">
                      <a16:creationId xmlns:a16="http://schemas.microsoft.com/office/drawing/2014/main" id="{A1FC5F36-9B61-E401-9D06-5201A1FDE2A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5" name="Graphic 5">
              <a:extLst>
                <a:ext uri="{FF2B5EF4-FFF2-40B4-BE49-F238E27FC236}">
                  <a16:creationId xmlns:a16="http://schemas.microsoft.com/office/drawing/2014/main" id="{B4A1BF93-F1EC-48C5-24C2-6D4FBC74AA09}"/>
                </a:ext>
              </a:extLst>
            </p:cNvPr>
            <p:cNvGrpSpPr/>
            <p:nvPr/>
          </p:nvGrpSpPr>
          <p:grpSpPr>
            <a:xfrm rot="15746055">
              <a:off x="-177888" y="1123433"/>
              <a:ext cx="5330696" cy="5499097"/>
              <a:chOff x="4071312" y="2489702"/>
              <a:chExt cx="3527293" cy="3638722"/>
            </a:xfrm>
            <a:noFill/>
          </p:grpSpPr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C0FE7D30-777E-6229-4B9B-A0D4FE96B6EC}"/>
                  </a:ext>
                </a:extLst>
              </p:cNvPr>
              <p:cNvSpPr/>
              <p:nvPr/>
            </p:nvSpPr>
            <p:spPr>
              <a:xfrm>
                <a:off x="4071312" y="2489702"/>
                <a:ext cx="3259151" cy="3638722"/>
              </a:xfrm>
              <a:custGeom>
                <a:avLst/>
                <a:gdLst>
                  <a:gd name="connsiteX0" fmla="*/ 3079707 w 3259151"/>
                  <a:gd name="connsiteY0" fmla="*/ 3021953 h 3638722"/>
                  <a:gd name="connsiteX1" fmla="*/ 3132080 w 3259151"/>
                  <a:gd name="connsiteY1" fmla="*/ 1787369 h 3638722"/>
                  <a:gd name="connsiteX2" fmla="*/ 3107243 w 3259151"/>
                  <a:gd name="connsiteY2" fmla="*/ 829383 h 3638722"/>
                  <a:gd name="connsiteX3" fmla="*/ 1658848 w 3259151"/>
                  <a:gd name="connsiteY3" fmla="*/ 4990 h 3638722"/>
                  <a:gd name="connsiteX4" fmla="*/ 849418 w 3259151"/>
                  <a:gd name="connsiteY4" fmla="*/ 1005939 h 3638722"/>
                  <a:gd name="connsiteX5" fmla="*/ 4585 w 3259151"/>
                  <a:gd name="connsiteY5" fmla="*/ 2043526 h 3638722"/>
                  <a:gd name="connsiteX6" fmla="*/ 820725 w 3259151"/>
                  <a:gd name="connsiteY6" fmla="*/ 2918441 h 3638722"/>
                  <a:gd name="connsiteX7" fmla="*/ 2033249 w 3259151"/>
                  <a:gd name="connsiteY7" fmla="*/ 3633846 h 3638722"/>
                  <a:gd name="connsiteX8" fmla="*/ 3079785 w 3259151"/>
                  <a:gd name="connsiteY8" fmla="*/ 3022030 h 3638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59151" h="3638722">
                    <a:moveTo>
                      <a:pt x="3079707" y="3021953"/>
                    </a:moveTo>
                    <a:cubicBezTo>
                      <a:pt x="3412226" y="2666372"/>
                      <a:pt x="3192167" y="2234970"/>
                      <a:pt x="3132080" y="1787369"/>
                    </a:cubicBezTo>
                    <a:cubicBezTo>
                      <a:pt x="3085955" y="1443358"/>
                      <a:pt x="3380525" y="1084923"/>
                      <a:pt x="3107243" y="829383"/>
                    </a:cubicBezTo>
                    <a:cubicBezTo>
                      <a:pt x="2749194" y="494473"/>
                      <a:pt x="2109225" y="-58259"/>
                      <a:pt x="1658848" y="4990"/>
                    </a:cubicBezTo>
                    <a:cubicBezTo>
                      <a:pt x="1318153" y="52812"/>
                      <a:pt x="1102645" y="735127"/>
                      <a:pt x="849418" y="1005939"/>
                    </a:cubicBezTo>
                    <a:cubicBezTo>
                      <a:pt x="515743" y="1362755"/>
                      <a:pt x="-56967" y="1594538"/>
                      <a:pt x="4585" y="2043526"/>
                    </a:cubicBezTo>
                    <a:cubicBezTo>
                      <a:pt x="51559" y="2385918"/>
                      <a:pt x="548678" y="2663981"/>
                      <a:pt x="820725" y="2918441"/>
                    </a:cubicBezTo>
                    <a:cubicBezTo>
                      <a:pt x="1173298" y="3248183"/>
                      <a:pt x="1589043" y="3690075"/>
                      <a:pt x="2033249" y="3633846"/>
                    </a:cubicBezTo>
                    <a:cubicBezTo>
                      <a:pt x="2381349" y="3589726"/>
                      <a:pt x="2821390" y="3298397"/>
                      <a:pt x="3079785" y="302203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232A86EC-17E7-35A6-61E9-54282631EC6B}"/>
                  </a:ext>
                </a:extLst>
              </p:cNvPr>
              <p:cNvSpPr/>
              <p:nvPr/>
            </p:nvSpPr>
            <p:spPr>
              <a:xfrm>
                <a:off x="4109618" y="2534620"/>
                <a:ext cx="3220782" cy="3579817"/>
              </a:xfrm>
              <a:custGeom>
                <a:avLst/>
                <a:gdLst>
                  <a:gd name="connsiteX0" fmla="*/ 791058 w 3220782"/>
                  <a:gd name="connsiteY0" fmla="*/ 2907154 h 3579817"/>
                  <a:gd name="connsiteX1" fmla="*/ 2002194 w 3220782"/>
                  <a:gd name="connsiteY1" fmla="*/ 3574659 h 3579817"/>
                  <a:gd name="connsiteX2" fmla="*/ 3028289 w 3220782"/>
                  <a:gd name="connsiteY2" fmla="*/ 2934613 h 3579817"/>
                  <a:gd name="connsiteX3" fmla="*/ 3129333 w 3220782"/>
                  <a:gd name="connsiteY3" fmla="*/ 1743455 h 3579817"/>
                  <a:gd name="connsiteX4" fmla="*/ 3052277 w 3220782"/>
                  <a:gd name="connsiteY4" fmla="*/ 731167 h 3579817"/>
                  <a:gd name="connsiteX5" fmla="*/ 1620928 w 3220782"/>
                  <a:gd name="connsiteY5" fmla="*/ 5581 h 3579817"/>
                  <a:gd name="connsiteX6" fmla="*/ 765913 w 3220782"/>
                  <a:gd name="connsiteY6" fmla="*/ 939888 h 3579817"/>
                  <a:gd name="connsiteX7" fmla="*/ 5000 w 3220782"/>
                  <a:gd name="connsiteY7" fmla="*/ 1991745 h 3579817"/>
                  <a:gd name="connsiteX8" fmla="*/ 791058 w 3220782"/>
                  <a:gd name="connsiteY8" fmla="*/ 2907231 h 3579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782" h="3579817">
                    <a:moveTo>
                      <a:pt x="791058" y="2907154"/>
                    </a:moveTo>
                    <a:cubicBezTo>
                      <a:pt x="1139775" y="3222549"/>
                      <a:pt x="1564312" y="3630426"/>
                      <a:pt x="2002194" y="3574659"/>
                    </a:cubicBezTo>
                    <a:cubicBezTo>
                      <a:pt x="2362558" y="3528688"/>
                      <a:pt x="2770743" y="3219772"/>
                      <a:pt x="3028289" y="2934613"/>
                    </a:cubicBezTo>
                    <a:cubicBezTo>
                      <a:pt x="3345767" y="2583197"/>
                      <a:pt x="3188417" y="2184113"/>
                      <a:pt x="3129333" y="1743455"/>
                    </a:cubicBezTo>
                    <a:cubicBezTo>
                      <a:pt x="3081433" y="1386485"/>
                      <a:pt x="3334968" y="986244"/>
                      <a:pt x="3052277" y="731167"/>
                    </a:cubicBezTo>
                    <a:cubicBezTo>
                      <a:pt x="2698624" y="412069"/>
                      <a:pt x="2063823" y="-56434"/>
                      <a:pt x="1620928" y="5581"/>
                    </a:cubicBezTo>
                    <a:cubicBezTo>
                      <a:pt x="1267198" y="54946"/>
                      <a:pt x="1018908" y="659665"/>
                      <a:pt x="765913" y="939888"/>
                    </a:cubicBezTo>
                    <a:cubicBezTo>
                      <a:pt x="447664" y="1292461"/>
                      <a:pt x="-55549" y="1549929"/>
                      <a:pt x="5000" y="1991745"/>
                    </a:cubicBezTo>
                    <a:cubicBezTo>
                      <a:pt x="53516" y="2346477"/>
                      <a:pt x="510218" y="2653234"/>
                      <a:pt x="791058" y="290723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77764720-7FAA-5A28-0619-72669F198894}"/>
                  </a:ext>
                </a:extLst>
              </p:cNvPr>
              <p:cNvSpPr/>
              <p:nvPr/>
            </p:nvSpPr>
            <p:spPr>
              <a:xfrm>
                <a:off x="4147825" y="2579175"/>
                <a:ext cx="3187979" cy="3521387"/>
              </a:xfrm>
              <a:custGeom>
                <a:avLst/>
                <a:gdLst>
                  <a:gd name="connsiteX0" fmla="*/ 761567 w 3187979"/>
                  <a:gd name="connsiteY0" fmla="*/ 2896229 h 3521387"/>
                  <a:gd name="connsiteX1" fmla="*/ 1971315 w 3187979"/>
                  <a:gd name="connsiteY1" fmla="*/ 3515912 h 3521387"/>
                  <a:gd name="connsiteX2" fmla="*/ 2977047 w 3187979"/>
                  <a:gd name="connsiteY2" fmla="*/ 2847635 h 3521387"/>
                  <a:gd name="connsiteX3" fmla="*/ 3126683 w 3187979"/>
                  <a:gd name="connsiteY3" fmla="*/ 1699825 h 3521387"/>
                  <a:gd name="connsiteX4" fmla="*/ 2997409 w 3187979"/>
                  <a:gd name="connsiteY4" fmla="*/ 633236 h 3521387"/>
                  <a:gd name="connsiteX5" fmla="*/ 1583183 w 3187979"/>
                  <a:gd name="connsiteY5" fmla="*/ 6380 h 3521387"/>
                  <a:gd name="connsiteX6" fmla="*/ 682583 w 3187979"/>
                  <a:gd name="connsiteY6" fmla="*/ 874121 h 3521387"/>
                  <a:gd name="connsiteX7" fmla="*/ 5513 w 3187979"/>
                  <a:gd name="connsiteY7" fmla="*/ 1940171 h 3521387"/>
                  <a:gd name="connsiteX8" fmla="*/ 761567 w 3187979"/>
                  <a:gd name="connsiteY8" fmla="*/ 2896229 h 3521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87979" h="3521387">
                    <a:moveTo>
                      <a:pt x="761567" y="2896229"/>
                    </a:moveTo>
                    <a:cubicBezTo>
                      <a:pt x="1106195" y="3197508"/>
                      <a:pt x="1539681" y="3571139"/>
                      <a:pt x="1971315" y="3515912"/>
                    </a:cubicBezTo>
                    <a:cubicBezTo>
                      <a:pt x="2343865" y="3468090"/>
                      <a:pt x="2720426" y="3141742"/>
                      <a:pt x="2977047" y="2847635"/>
                    </a:cubicBezTo>
                    <a:cubicBezTo>
                      <a:pt x="3279715" y="2500770"/>
                      <a:pt x="3184842" y="2133542"/>
                      <a:pt x="3126683" y="1699825"/>
                    </a:cubicBezTo>
                    <a:cubicBezTo>
                      <a:pt x="3077087" y="1329975"/>
                      <a:pt x="3289665" y="887620"/>
                      <a:pt x="2997409" y="633236"/>
                    </a:cubicBezTo>
                    <a:cubicBezTo>
                      <a:pt x="2648539" y="329565"/>
                      <a:pt x="2018520" y="-54246"/>
                      <a:pt x="1583183" y="6380"/>
                    </a:cubicBezTo>
                    <a:cubicBezTo>
                      <a:pt x="1216418" y="57287"/>
                      <a:pt x="935115" y="584257"/>
                      <a:pt x="682583" y="874121"/>
                    </a:cubicBezTo>
                    <a:cubicBezTo>
                      <a:pt x="379529" y="1222066"/>
                      <a:pt x="-53879" y="1505683"/>
                      <a:pt x="5513" y="1940171"/>
                    </a:cubicBezTo>
                    <a:cubicBezTo>
                      <a:pt x="55572" y="2307322"/>
                      <a:pt x="471703" y="2642848"/>
                      <a:pt x="761567" y="28962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91798041-6357-DCE3-1838-8E9CEF16BEE6}"/>
                  </a:ext>
                </a:extLst>
              </p:cNvPr>
              <p:cNvSpPr/>
              <p:nvPr/>
            </p:nvSpPr>
            <p:spPr>
              <a:xfrm>
                <a:off x="4185926" y="2623532"/>
                <a:ext cx="3162650" cy="3463280"/>
              </a:xfrm>
              <a:custGeom>
                <a:avLst/>
                <a:gdLst>
                  <a:gd name="connsiteX0" fmla="*/ 732182 w 3162650"/>
                  <a:gd name="connsiteY0" fmla="*/ 2885579 h 3463280"/>
                  <a:gd name="connsiteX1" fmla="*/ 1940541 w 3162650"/>
                  <a:gd name="connsiteY1" fmla="*/ 3457440 h 3463280"/>
                  <a:gd name="connsiteX2" fmla="*/ 2925910 w 3162650"/>
                  <a:gd name="connsiteY2" fmla="*/ 2760933 h 3463280"/>
                  <a:gd name="connsiteX3" fmla="*/ 3124217 w 3162650"/>
                  <a:gd name="connsiteY3" fmla="*/ 1656549 h 3463280"/>
                  <a:gd name="connsiteX4" fmla="*/ 2942725 w 3162650"/>
                  <a:gd name="connsiteY4" fmla="*/ 535658 h 3463280"/>
                  <a:gd name="connsiteX5" fmla="*/ 1545622 w 3162650"/>
                  <a:gd name="connsiteY5" fmla="*/ 7609 h 3463280"/>
                  <a:gd name="connsiteX6" fmla="*/ 599436 w 3162650"/>
                  <a:gd name="connsiteY6" fmla="*/ 808708 h 3463280"/>
                  <a:gd name="connsiteX7" fmla="*/ 6210 w 3162650"/>
                  <a:gd name="connsiteY7" fmla="*/ 1888949 h 3463280"/>
                  <a:gd name="connsiteX8" fmla="*/ 732182 w 3162650"/>
                  <a:gd name="connsiteY8" fmla="*/ 2885579 h 3463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62650" h="3463280">
                    <a:moveTo>
                      <a:pt x="732182" y="2885579"/>
                    </a:moveTo>
                    <a:cubicBezTo>
                      <a:pt x="1072413" y="3173052"/>
                      <a:pt x="1515232" y="3512050"/>
                      <a:pt x="1940541" y="3457440"/>
                    </a:cubicBezTo>
                    <a:cubicBezTo>
                      <a:pt x="2325355" y="3407689"/>
                      <a:pt x="2670370" y="3064218"/>
                      <a:pt x="2925910" y="2760933"/>
                    </a:cubicBezTo>
                    <a:cubicBezTo>
                      <a:pt x="3214077" y="2418850"/>
                      <a:pt x="3181450" y="2083246"/>
                      <a:pt x="3124217" y="1656549"/>
                    </a:cubicBezTo>
                    <a:cubicBezTo>
                      <a:pt x="3072847" y="1273817"/>
                      <a:pt x="3244776" y="789270"/>
                      <a:pt x="2942725" y="535658"/>
                    </a:cubicBezTo>
                    <a:cubicBezTo>
                      <a:pt x="2599022" y="247105"/>
                      <a:pt x="1973399" y="-51783"/>
                      <a:pt x="1545622" y="7609"/>
                    </a:cubicBezTo>
                    <a:cubicBezTo>
                      <a:pt x="1165821" y="60059"/>
                      <a:pt x="851352" y="508970"/>
                      <a:pt x="599436" y="808708"/>
                    </a:cubicBezTo>
                    <a:cubicBezTo>
                      <a:pt x="311192" y="1151639"/>
                      <a:pt x="-52025" y="1461712"/>
                      <a:pt x="6210" y="1888949"/>
                    </a:cubicBezTo>
                    <a:cubicBezTo>
                      <a:pt x="57888" y="2268441"/>
                      <a:pt x="433139" y="2632970"/>
                      <a:pt x="732182" y="28855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473793AB-4918-FEC7-2FEB-082C1F7C74FC}"/>
                  </a:ext>
                </a:extLst>
              </p:cNvPr>
              <p:cNvSpPr/>
              <p:nvPr/>
            </p:nvSpPr>
            <p:spPr>
              <a:xfrm>
                <a:off x="4223622" y="2666959"/>
                <a:ext cx="3145783" cy="3406134"/>
              </a:xfrm>
              <a:custGeom>
                <a:avLst/>
                <a:gdLst>
                  <a:gd name="connsiteX0" fmla="*/ 703202 w 3145783"/>
                  <a:gd name="connsiteY0" fmla="*/ 2875858 h 3406134"/>
                  <a:gd name="connsiteX1" fmla="*/ 1910173 w 3145783"/>
                  <a:gd name="connsiteY1" fmla="*/ 3399820 h 3406134"/>
                  <a:gd name="connsiteX2" fmla="*/ 2875101 w 3145783"/>
                  <a:gd name="connsiteY2" fmla="*/ 2675082 h 3406134"/>
                  <a:gd name="connsiteX3" fmla="*/ 3122003 w 3145783"/>
                  <a:gd name="connsiteY3" fmla="*/ 1614047 h 3406134"/>
                  <a:gd name="connsiteX4" fmla="*/ 2888291 w 3145783"/>
                  <a:gd name="connsiteY4" fmla="*/ 438855 h 3406134"/>
                  <a:gd name="connsiteX5" fmla="*/ 1508312 w 3145783"/>
                  <a:gd name="connsiteY5" fmla="*/ 9612 h 3406134"/>
                  <a:gd name="connsiteX6" fmla="*/ 516541 w 3145783"/>
                  <a:gd name="connsiteY6" fmla="*/ 744146 h 3406134"/>
                  <a:gd name="connsiteX7" fmla="*/ 7234 w 3145783"/>
                  <a:gd name="connsiteY7" fmla="*/ 1838580 h 3406134"/>
                  <a:gd name="connsiteX8" fmla="*/ 703125 w 3145783"/>
                  <a:gd name="connsiteY8" fmla="*/ 2875858 h 340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45783" h="3406134">
                    <a:moveTo>
                      <a:pt x="703202" y="2875858"/>
                    </a:moveTo>
                    <a:cubicBezTo>
                      <a:pt x="1038729" y="3149756"/>
                      <a:pt x="1491188" y="3453967"/>
                      <a:pt x="1910173" y="3399820"/>
                    </a:cubicBezTo>
                    <a:cubicBezTo>
                      <a:pt x="2307174" y="3348218"/>
                      <a:pt x="2620872" y="2987778"/>
                      <a:pt x="2875101" y="2675082"/>
                    </a:cubicBezTo>
                    <a:cubicBezTo>
                      <a:pt x="3149077" y="2338167"/>
                      <a:pt x="3178310" y="2033802"/>
                      <a:pt x="3122003" y="1614047"/>
                    </a:cubicBezTo>
                    <a:cubicBezTo>
                      <a:pt x="3068936" y="1218434"/>
                      <a:pt x="3200369" y="691464"/>
                      <a:pt x="2888291" y="438855"/>
                    </a:cubicBezTo>
                    <a:cubicBezTo>
                      <a:pt x="2549988" y="165034"/>
                      <a:pt x="1928530" y="-48546"/>
                      <a:pt x="1508312" y="9612"/>
                    </a:cubicBezTo>
                    <a:cubicBezTo>
                      <a:pt x="1115476" y="63605"/>
                      <a:pt x="767685" y="434304"/>
                      <a:pt x="516541" y="744146"/>
                    </a:cubicBezTo>
                    <a:cubicBezTo>
                      <a:pt x="242797" y="1081832"/>
                      <a:pt x="-49998" y="1418593"/>
                      <a:pt x="7234" y="1838580"/>
                    </a:cubicBezTo>
                    <a:cubicBezTo>
                      <a:pt x="60456" y="2230413"/>
                      <a:pt x="394749" y="2624098"/>
                      <a:pt x="703125" y="287585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742F276D-8DA4-A8D5-6B5B-866BAD8B7BCC}"/>
                  </a:ext>
                </a:extLst>
              </p:cNvPr>
              <p:cNvSpPr/>
              <p:nvPr/>
            </p:nvSpPr>
            <p:spPr>
              <a:xfrm>
                <a:off x="4260986" y="2709255"/>
                <a:ext cx="3135893" cy="3350272"/>
              </a:xfrm>
              <a:custGeom>
                <a:avLst/>
                <a:gdLst>
                  <a:gd name="connsiteX0" fmla="*/ 674554 w 3135893"/>
                  <a:gd name="connsiteY0" fmla="*/ 2867269 h 3350272"/>
                  <a:gd name="connsiteX1" fmla="*/ 1880214 w 3135893"/>
                  <a:gd name="connsiteY1" fmla="*/ 3343408 h 3350272"/>
                  <a:gd name="connsiteX2" fmla="*/ 2824779 w 3135893"/>
                  <a:gd name="connsiteY2" fmla="*/ 2590440 h 3350272"/>
                  <a:gd name="connsiteX3" fmla="*/ 3120352 w 3135893"/>
                  <a:gd name="connsiteY3" fmla="*/ 1572830 h 3350272"/>
                  <a:gd name="connsiteX4" fmla="*/ 2834498 w 3135893"/>
                  <a:gd name="connsiteY4" fmla="*/ 343337 h 3350272"/>
                  <a:gd name="connsiteX5" fmla="*/ 1471565 w 3135893"/>
                  <a:gd name="connsiteY5" fmla="*/ 12824 h 3350272"/>
                  <a:gd name="connsiteX6" fmla="*/ 434209 w 3135893"/>
                  <a:gd name="connsiteY6" fmla="*/ 680715 h 3350272"/>
                  <a:gd name="connsiteX7" fmla="*/ 8746 w 3135893"/>
                  <a:gd name="connsiteY7" fmla="*/ 1789341 h 3350272"/>
                  <a:gd name="connsiteX8" fmla="*/ 674631 w 3135893"/>
                  <a:gd name="connsiteY8" fmla="*/ 2867192 h 3350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893" h="3350272">
                    <a:moveTo>
                      <a:pt x="674554" y="2867269"/>
                    </a:moveTo>
                    <a:cubicBezTo>
                      <a:pt x="1005144" y="3127900"/>
                      <a:pt x="1467477" y="3396938"/>
                      <a:pt x="1880214" y="3343408"/>
                    </a:cubicBezTo>
                    <a:cubicBezTo>
                      <a:pt x="2289402" y="3289956"/>
                      <a:pt x="2572016" y="2912777"/>
                      <a:pt x="2824779" y="2590440"/>
                    </a:cubicBezTo>
                    <a:cubicBezTo>
                      <a:pt x="3084794" y="2258847"/>
                      <a:pt x="3175656" y="1985567"/>
                      <a:pt x="3120352" y="1572830"/>
                    </a:cubicBezTo>
                    <a:cubicBezTo>
                      <a:pt x="3065587" y="1164336"/>
                      <a:pt x="3156758" y="594635"/>
                      <a:pt x="2834498" y="343337"/>
                    </a:cubicBezTo>
                    <a:cubicBezTo>
                      <a:pt x="2512238" y="92039"/>
                      <a:pt x="1884302" y="-44023"/>
                      <a:pt x="1471565" y="12824"/>
                    </a:cubicBezTo>
                    <a:cubicBezTo>
                      <a:pt x="1065694" y="68359"/>
                      <a:pt x="684273" y="360692"/>
                      <a:pt x="434209" y="680715"/>
                    </a:cubicBezTo>
                    <a:cubicBezTo>
                      <a:pt x="174658" y="1012848"/>
                      <a:pt x="-47330" y="1376605"/>
                      <a:pt x="8746" y="1789341"/>
                    </a:cubicBezTo>
                    <a:cubicBezTo>
                      <a:pt x="63510" y="2193593"/>
                      <a:pt x="356691" y="2616588"/>
                      <a:pt x="674631" y="286719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3EFF9EE0-7EF4-D589-27B9-33B1E6D9B584}"/>
                  </a:ext>
                </a:extLst>
              </p:cNvPr>
              <p:cNvSpPr/>
              <p:nvPr/>
            </p:nvSpPr>
            <p:spPr>
              <a:xfrm>
                <a:off x="4297185" y="2745782"/>
                <a:ext cx="3130741" cy="3300265"/>
              </a:xfrm>
              <a:custGeom>
                <a:avLst/>
                <a:gdLst>
                  <a:gd name="connsiteX0" fmla="*/ 647071 w 3130741"/>
                  <a:gd name="connsiteY0" fmla="*/ 2864372 h 3300265"/>
                  <a:gd name="connsiteX1" fmla="*/ 1851342 w 3130741"/>
                  <a:gd name="connsiteY1" fmla="*/ 3292689 h 3300265"/>
                  <a:gd name="connsiteX2" fmla="*/ 2775545 w 3130741"/>
                  <a:gd name="connsiteY2" fmla="*/ 2511491 h 3300265"/>
                  <a:gd name="connsiteX3" fmla="*/ 3119711 w 3130741"/>
                  <a:gd name="connsiteY3" fmla="*/ 1537229 h 3300265"/>
                  <a:gd name="connsiteX4" fmla="*/ 2781639 w 3130741"/>
                  <a:gd name="connsiteY4" fmla="*/ 253435 h 3300265"/>
                  <a:gd name="connsiteX5" fmla="*/ 1435829 w 3130741"/>
                  <a:gd name="connsiteY5" fmla="*/ 21729 h 3300265"/>
                  <a:gd name="connsiteX6" fmla="*/ 352887 w 3130741"/>
                  <a:gd name="connsiteY6" fmla="*/ 622977 h 3300265"/>
                  <a:gd name="connsiteX7" fmla="*/ 11267 w 3130741"/>
                  <a:gd name="connsiteY7" fmla="*/ 1745873 h 3300265"/>
                  <a:gd name="connsiteX8" fmla="*/ 647071 w 3130741"/>
                  <a:gd name="connsiteY8" fmla="*/ 2864295 h 3300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0741" h="3300265">
                    <a:moveTo>
                      <a:pt x="647071" y="2864372"/>
                    </a:moveTo>
                    <a:cubicBezTo>
                      <a:pt x="972571" y="3111968"/>
                      <a:pt x="1444853" y="3345679"/>
                      <a:pt x="1851342" y="3292689"/>
                    </a:cubicBezTo>
                    <a:cubicBezTo>
                      <a:pt x="2272795" y="3237385"/>
                      <a:pt x="2524556" y="2843624"/>
                      <a:pt x="2775545" y="2511491"/>
                    </a:cubicBezTo>
                    <a:cubicBezTo>
                      <a:pt x="3021907" y="2185529"/>
                      <a:pt x="3174166" y="1943024"/>
                      <a:pt x="3119711" y="1537229"/>
                    </a:cubicBezTo>
                    <a:cubicBezTo>
                      <a:pt x="3063172" y="1115777"/>
                      <a:pt x="3114388" y="503190"/>
                      <a:pt x="2781639" y="253435"/>
                    </a:cubicBezTo>
                    <a:cubicBezTo>
                      <a:pt x="2455059" y="8308"/>
                      <a:pt x="1841007" y="-33884"/>
                      <a:pt x="1435829" y="21729"/>
                    </a:cubicBezTo>
                    <a:cubicBezTo>
                      <a:pt x="1016845" y="78884"/>
                      <a:pt x="601640" y="292464"/>
                      <a:pt x="352887" y="622977"/>
                    </a:cubicBezTo>
                    <a:cubicBezTo>
                      <a:pt x="107297" y="949325"/>
                      <a:pt x="-43651" y="1340387"/>
                      <a:pt x="11267" y="1745873"/>
                    </a:cubicBezTo>
                    <a:cubicBezTo>
                      <a:pt x="67574" y="2162466"/>
                      <a:pt x="319412" y="2615080"/>
                      <a:pt x="647071" y="286429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B7A1108-07D2-A39B-447D-6E6C5B380D45}"/>
                  </a:ext>
                </a:extLst>
              </p:cNvPr>
              <p:cNvSpPr/>
              <p:nvPr/>
            </p:nvSpPr>
            <p:spPr>
              <a:xfrm>
                <a:off x="4331073" y="2769810"/>
                <a:ext cx="3129679" cy="3263042"/>
              </a:xfrm>
              <a:custGeom>
                <a:avLst/>
                <a:gdLst>
                  <a:gd name="connsiteX0" fmla="*/ 621899 w 3129679"/>
                  <a:gd name="connsiteY0" fmla="*/ 2874051 h 3263042"/>
                  <a:gd name="connsiteX1" fmla="*/ 1824782 w 3129679"/>
                  <a:gd name="connsiteY1" fmla="*/ 3254546 h 3263042"/>
                  <a:gd name="connsiteX2" fmla="*/ 2728544 w 3129679"/>
                  <a:gd name="connsiteY2" fmla="*/ 2445116 h 3263042"/>
                  <a:gd name="connsiteX3" fmla="*/ 3121380 w 3129679"/>
                  <a:gd name="connsiteY3" fmla="*/ 1514281 h 3263042"/>
                  <a:gd name="connsiteX4" fmla="*/ 2731090 w 3129679"/>
                  <a:gd name="connsiteY4" fmla="*/ 176262 h 3263042"/>
                  <a:gd name="connsiteX5" fmla="*/ 1402404 w 3129679"/>
                  <a:gd name="connsiteY5" fmla="*/ 43363 h 3263042"/>
                  <a:gd name="connsiteX6" fmla="*/ 273877 w 3129679"/>
                  <a:gd name="connsiteY6" fmla="*/ 578045 h 3263042"/>
                  <a:gd name="connsiteX7" fmla="*/ 16177 w 3129679"/>
                  <a:gd name="connsiteY7" fmla="*/ 1715134 h 3263042"/>
                  <a:gd name="connsiteX8" fmla="*/ 621899 w 3129679"/>
                  <a:gd name="connsiteY8" fmla="*/ 2874205 h 3263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29679" h="3263042">
                    <a:moveTo>
                      <a:pt x="621899" y="2874051"/>
                    </a:moveTo>
                    <a:cubicBezTo>
                      <a:pt x="941999" y="3108842"/>
                      <a:pt x="1424618" y="3306996"/>
                      <a:pt x="1824782" y="3254546"/>
                    </a:cubicBezTo>
                    <a:cubicBezTo>
                      <a:pt x="2258421" y="3197313"/>
                      <a:pt x="2479637" y="2787277"/>
                      <a:pt x="2728544" y="2445116"/>
                    </a:cubicBezTo>
                    <a:cubicBezTo>
                      <a:pt x="2961485" y="2124939"/>
                      <a:pt x="3174833" y="1913056"/>
                      <a:pt x="3121380" y="1514281"/>
                    </a:cubicBezTo>
                    <a:cubicBezTo>
                      <a:pt x="3063145" y="1079947"/>
                      <a:pt x="3074561" y="424089"/>
                      <a:pt x="2731090" y="176262"/>
                    </a:cubicBezTo>
                    <a:cubicBezTo>
                      <a:pt x="2410681" y="-54982"/>
                      <a:pt x="1800022" y="-10939"/>
                      <a:pt x="1402404" y="43363"/>
                    </a:cubicBezTo>
                    <a:cubicBezTo>
                      <a:pt x="970384" y="102060"/>
                      <a:pt x="521009" y="236734"/>
                      <a:pt x="273877" y="578045"/>
                    </a:cubicBezTo>
                    <a:cubicBezTo>
                      <a:pt x="41862" y="898377"/>
                      <a:pt x="-37739" y="1316898"/>
                      <a:pt x="16177" y="1715134"/>
                    </a:cubicBezTo>
                    <a:cubicBezTo>
                      <a:pt x="74026" y="2144068"/>
                      <a:pt x="284289" y="2626532"/>
                      <a:pt x="621899" y="287420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21B6B7AF-3E37-407C-9431-683D89D2E7CE}"/>
                  </a:ext>
                </a:extLst>
              </p:cNvPr>
              <p:cNvSpPr/>
              <p:nvPr/>
            </p:nvSpPr>
            <p:spPr>
              <a:xfrm>
                <a:off x="4358871" y="2771233"/>
                <a:ext cx="3135688" cy="3248662"/>
              </a:xfrm>
              <a:custGeom>
                <a:avLst/>
                <a:gdLst>
                  <a:gd name="connsiteX0" fmla="*/ 602817 w 3135688"/>
                  <a:gd name="connsiteY0" fmla="*/ 2906335 h 3248662"/>
                  <a:gd name="connsiteX1" fmla="*/ 1804311 w 3135688"/>
                  <a:gd name="connsiteY1" fmla="*/ 3238930 h 3248662"/>
                  <a:gd name="connsiteX2" fmla="*/ 2687711 w 3135688"/>
                  <a:gd name="connsiteY2" fmla="*/ 2401271 h 3248662"/>
                  <a:gd name="connsiteX3" fmla="*/ 3129140 w 3135688"/>
                  <a:gd name="connsiteY3" fmla="*/ 1513860 h 3248662"/>
                  <a:gd name="connsiteX4" fmla="*/ 2686631 w 3135688"/>
                  <a:gd name="connsiteY4" fmla="*/ 121540 h 3248662"/>
                  <a:gd name="connsiteX5" fmla="*/ 1375068 w 3135688"/>
                  <a:gd name="connsiteY5" fmla="*/ 87448 h 3248662"/>
                  <a:gd name="connsiteX6" fmla="*/ 200956 w 3135688"/>
                  <a:gd name="connsiteY6" fmla="*/ 555488 h 3248662"/>
                  <a:gd name="connsiteX7" fmla="*/ 27099 w 3135688"/>
                  <a:gd name="connsiteY7" fmla="*/ 1706769 h 3248662"/>
                  <a:gd name="connsiteX8" fmla="*/ 602817 w 3135688"/>
                  <a:gd name="connsiteY8" fmla="*/ 2906412 h 3248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688" h="3248662">
                    <a:moveTo>
                      <a:pt x="602817" y="2906335"/>
                    </a:moveTo>
                    <a:cubicBezTo>
                      <a:pt x="917441" y="3128631"/>
                      <a:pt x="1410472" y="3290840"/>
                      <a:pt x="1804311" y="3238930"/>
                    </a:cubicBezTo>
                    <a:cubicBezTo>
                      <a:pt x="2250214" y="3179847"/>
                      <a:pt x="2441195" y="2753612"/>
                      <a:pt x="2687711" y="2401271"/>
                    </a:cubicBezTo>
                    <a:cubicBezTo>
                      <a:pt x="2907538" y="2087032"/>
                      <a:pt x="3181668" y="1905617"/>
                      <a:pt x="3129140" y="1513860"/>
                    </a:cubicBezTo>
                    <a:cubicBezTo>
                      <a:pt x="3069209" y="1066646"/>
                      <a:pt x="3040978" y="367208"/>
                      <a:pt x="2686631" y="121540"/>
                    </a:cubicBezTo>
                    <a:cubicBezTo>
                      <a:pt x="2372624" y="-96128"/>
                      <a:pt x="1765128" y="34381"/>
                      <a:pt x="1375068" y="87448"/>
                    </a:cubicBezTo>
                    <a:cubicBezTo>
                      <a:pt x="930013" y="147688"/>
                      <a:pt x="446083" y="203301"/>
                      <a:pt x="200956" y="555488"/>
                    </a:cubicBezTo>
                    <a:cubicBezTo>
                      <a:pt x="-17715" y="869649"/>
                      <a:pt x="-25660" y="1315784"/>
                      <a:pt x="27099" y="1706769"/>
                    </a:cubicBezTo>
                    <a:cubicBezTo>
                      <a:pt x="86568" y="2148122"/>
                      <a:pt x="255026" y="2660667"/>
                      <a:pt x="602817" y="290641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B21B079C-9E8D-FDBF-6C0D-1F0C484034D0}"/>
                  </a:ext>
                </a:extLst>
              </p:cNvPr>
              <p:cNvSpPr/>
              <p:nvPr/>
            </p:nvSpPr>
            <p:spPr>
              <a:xfrm>
                <a:off x="4372952" y="2753381"/>
                <a:ext cx="3156027" cy="3254119"/>
              </a:xfrm>
              <a:custGeom>
                <a:avLst/>
                <a:gdLst>
                  <a:gd name="connsiteX0" fmla="*/ 597452 w 3156027"/>
                  <a:gd name="connsiteY0" fmla="*/ 2957894 h 3254119"/>
                  <a:gd name="connsiteX1" fmla="*/ 1797558 w 3156027"/>
                  <a:gd name="connsiteY1" fmla="*/ 3242667 h 3254119"/>
                  <a:gd name="connsiteX2" fmla="*/ 2660594 w 3156027"/>
                  <a:gd name="connsiteY2" fmla="*/ 2376700 h 3254119"/>
                  <a:gd name="connsiteX3" fmla="*/ 3150695 w 3156027"/>
                  <a:gd name="connsiteY3" fmla="*/ 1532638 h 3254119"/>
                  <a:gd name="connsiteX4" fmla="*/ 2655966 w 3156027"/>
                  <a:gd name="connsiteY4" fmla="*/ 86017 h 3254119"/>
                  <a:gd name="connsiteX5" fmla="*/ 1361450 w 3156027"/>
                  <a:gd name="connsiteY5" fmla="*/ 150654 h 3254119"/>
                  <a:gd name="connsiteX6" fmla="*/ 141752 w 3156027"/>
                  <a:gd name="connsiteY6" fmla="*/ 552129 h 3254119"/>
                  <a:gd name="connsiteX7" fmla="*/ 51738 w 3156027"/>
                  <a:gd name="connsiteY7" fmla="*/ 1717602 h 3254119"/>
                  <a:gd name="connsiteX8" fmla="*/ 597374 w 3156027"/>
                  <a:gd name="connsiteY8" fmla="*/ 2957816 h 3254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56027" h="3254119">
                    <a:moveTo>
                      <a:pt x="597452" y="2957894"/>
                    </a:moveTo>
                    <a:cubicBezTo>
                      <a:pt x="906445" y="3167925"/>
                      <a:pt x="1410044" y="3294037"/>
                      <a:pt x="1797558" y="3242667"/>
                    </a:cubicBezTo>
                    <a:cubicBezTo>
                      <a:pt x="2255648" y="3181732"/>
                      <a:pt x="2416778" y="2739608"/>
                      <a:pt x="2660594" y="2376700"/>
                    </a:cubicBezTo>
                    <a:cubicBezTo>
                      <a:pt x="2867541" y="2068555"/>
                      <a:pt x="3202297" y="1917452"/>
                      <a:pt x="3150695" y="1532638"/>
                    </a:cubicBezTo>
                    <a:cubicBezTo>
                      <a:pt x="3088989" y="1072542"/>
                      <a:pt x="3021574" y="329061"/>
                      <a:pt x="2655966" y="86017"/>
                    </a:cubicBezTo>
                    <a:cubicBezTo>
                      <a:pt x="2348516" y="-118385"/>
                      <a:pt x="1744028" y="98898"/>
                      <a:pt x="1361450" y="150654"/>
                    </a:cubicBezTo>
                    <a:cubicBezTo>
                      <a:pt x="903359" y="212437"/>
                      <a:pt x="384566" y="188680"/>
                      <a:pt x="141752" y="552129"/>
                    </a:cubicBezTo>
                    <a:cubicBezTo>
                      <a:pt x="-63883" y="859965"/>
                      <a:pt x="60" y="1333867"/>
                      <a:pt x="51738" y="1717602"/>
                    </a:cubicBezTo>
                    <a:cubicBezTo>
                      <a:pt x="112750" y="2171296"/>
                      <a:pt x="239248" y="2714386"/>
                      <a:pt x="597374" y="2957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30744017-54D3-08DD-950B-E803D0E6F9A6}"/>
                  </a:ext>
                </a:extLst>
              </p:cNvPr>
              <p:cNvSpPr/>
              <p:nvPr/>
            </p:nvSpPr>
            <p:spPr>
              <a:xfrm>
                <a:off x="4369454" y="2723578"/>
                <a:ext cx="3194199" cy="3272228"/>
              </a:xfrm>
              <a:custGeom>
                <a:avLst/>
                <a:gdLst>
                  <a:gd name="connsiteX0" fmla="*/ 609666 w 3194199"/>
                  <a:gd name="connsiteY0" fmla="*/ 3021327 h 3272228"/>
                  <a:gd name="connsiteX1" fmla="*/ 1808461 w 3194199"/>
                  <a:gd name="connsiteY1" fmla="*/ 3258278 h 3272228"/>
                  <a:gd name="connsiteX2" fmla="*/ 2651057 w 3194199"/>
                  <a:gd name="connsiteY2" fmla="*/ 2364080 h 3272228"/>
                  <a:gd name="connsiteX3" fmla="*/ 3189751 w 3194199"/>
                  <a:gd name="connsiteY3" fmla="*/ 1563444 h 3272228"/>
                  <a:gd name="connsiteX4" fmla="*/ 2642804 w 3194199"/>
                  <a:gd name="connsiteY4" fmla="*/ 62522 h 3272228"/>
                  <a:gd name="connsiteX5" fmla="*/ 1365411 w 3194199"/>
                  <a:gd name="connsiteY5" fmla="*/ 225965 h 3272228"/>
                  <a:gd name="connsiteX6" fmla="*/ 100128 w 3194199"/>
                  <a:gd name="connsiteY6" fmla="*/ 560798 h 3272228"/>
                  <a:gd name="connsiteX7" fmla="*/ 94034 w 3194199"/>
                  <a:gd name="connsiteY7" fmla="*/ 1740540 h 3272228"/>
                  <a:gd name="connsiteX8" fmla="*/ 609589 w 3194199"/>
                  <a:gd name="connsiteY8" fmla="*/ 3021327 h 3272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94199" h="3272228">
                    <a:moveTo>
                      <a:pt x="609666" y="3021327"/>
                    </a:moveTo>
                    <a:cubicBezTo>
                      <a:pt x="912874" y="3219326"/>
                      <a:pt x="1427194" y="3309031"/>
                      <a:pt x="1808461" y="3258278"/>
                    </a:cubicBezTo>
                    <a:cubicBezTo>
                      <a:pt x="2278815" y="3195492"/>
                      <a:pt x="2410481" y="2737710"/>
                      <a:pt x="2651057" y="2364080"/>
                    </a:cubicBezTo>
                    <a:cubicBezTo>
                      <a:pt x="2845431" y="2062183"/>
                      <a:pt x="3240427" y="1941240"/>
                      <a:pt x="3189751" y="1563444"/>
                    </a:cubicBezTo>
                    <a:cubicBezTo>
                      <a:pt x="3126348" y="1090390"/>
                      <a:pt x="3019828" y="302481"/>
                      <a:pt x="2642804" y="62522"/>
                    </a:cubicBezTo>
                    <a:cubicBezTo>
                      <a:pt x="2342064" y="-128844"/>
                      <a:pt x="1740430" y="175444"/>
                      <a:pt x="1365411" y="225965"/>
                    </a:cubicBezTo>
                    <a:cubicBezTo>
                      <a:pt x="894285" y="289291"/>
                      <a:pt x="340087" y="185934"/>
                      <a:pt x="100128" y="560798"/>
                    </a:cubicBezTo>
                    <a:cubicBezTo>
                      <a:pt x="-92781" y="862155"/>
                      <a:pt x="43435" y="1364056"/>
                      <a:pt x="94034" y="1740540"/>
                    </a:cubicBezTo>
                    <a:cubicBezTo>
                      <a:pt x="156589" y="2206653"/>
                      <a:pt x="240972" y="2780596"/>
                      <a:pt x="609589" y="302132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9770158A-092B-63B7-A8D1-BA86DC577B88}"/>
                  </a:ext>
                </a:extLst>
              </p:cNvPr>
              <p:cNvSpPr/>
              <p:nvPr/>
            </p:nvSpPr>
            <p:spPr>
              <a:xfrm>
                <a:off x="4352455" y="2686397"/>
                <a:ext cx="3246150" cy="3299210"/>
              </a:xfrm>
              <a:custGeom>
                <a:avLst/>
                <a:gdLst>
                  <a:gd name="connsiteX0" fmla="*/ 1832787 w 3246150"/>
                  <a:gd name="connsiteY0" fmla="*/ 3281344 h 3299210"/>
                  <a:gd name="connsiteX1" fmla="*/ 2655021 w 3246150"/>
                  <a:gd name="connsiteY1" fmla="*/ 2358915 h 3299210"/>
                  <a:gd name="connsiteX2" fmla="*/ 3242385 w 3246150"/>
                  <a:gd name="connsiteY2" fmla="*/ 1601628 h 3299210"/>
                  <a:gd name="connsiteX3" fmla="*/ 2643296 w 3246150"/>
                  <a:gd name="connsiteY3" fmla="*/ 46404 h 3299210"/>
                  <a:gd name="connsiteX4" fmla="*/ 1383027 w 3246150"/>
                  <a:gd name="connsiteY4" fmla="*/ 308655 h 3299210"/>
                  <a:gd name="connsiteX5" fmla="*/ 72158 w 3246150"/>
                  <a:gd name="connsiteY5" fmla="*/ 576844 h 3299210"/>
                  <a:gd name="connsiteX6" fmla="*/ 149908 w 3246150"/>
                  <a:gd name="connsiteY6" fmla="*/ 1770779 h 3299210"/>
                  <a:gd name="connsiteX7" fmla="*/ 635458 w 3246150"/>
                  <a:gd name="connsiteY7" fmla="*/ 3092214 h 3299210"/>
                  <a:gd name="connsiteX8" fmla="*/ 1832864 w 3246150"/>
                  <a:gd name="connsiteY8" fmla="*/ 3281266 h 3299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6150" h="3299210">
                    <a:moveTo>
                      <a:pt x="1832787" y="3281344"/>
                    </a:moveTo>
                    <a:cubicBezTo>
                      <a:pt x="2315329" y="3216707"/>
                      <a:pt x="2418069" y="2743421"/>
                      <a:pt x="2655021" y="2358915"/>
                    </a:cubicBezTo>
                    <a:cubicBezTo>
                      <a:pt x="2837131" y="2063420"/>
                      <a:pt x="3292059" y="1972558"/>
                      <a:pt x="3242385" y="1601628"/>
                    </a:cubicBezTo>
                    <a:cubicBezTo>
                      <a:pt x="3177285" y="1115693"/>
                      <a:pt x="3031967" y="282661"/>
                      <a:pt x="2643296" y="46404"/>
                    </a:cubicBezTo>
                    <a:cubicBezTo>
                      <a:pt x="2349344" y="-132312"/>
                      <a:pt x="1750487" y="259367"/>
                      <a:pt x="1383027" y="308655"/>
                    </a:cubicBezTo>
                    <a:cubicBezTo>
                      <a:pt x="898866" y="373523"/>
                      <a:pt x="308801" y="190333"/>
                      <a:pt x="72158" y="576844"/>
                    </a:cubicBezTo>
                    <a:cubicBezTo>
                      <a:pt x="-108255" y="871568"/>
                      <a:pt x="100466" y="1401546"/>
                      <a:pt x="149908" y="1770779"/>
                    </a:cubicBezTo>
                    <a:cubicBezTo>
                      <a:pt x="214005" y="2249233"/>
                      <a:pt x="255965" y="2854492"/>
                      <a:pt x="635458" y="3092214"/>
                    </a:cubicBezTo>
                    <a:cubicBezTo>
                      <a:pt x="932804" y="3278490"/>
                      <a:pt x="1457845" y="3331557"/>
                      <a:pt x="1832864" y="328126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6" name="Graphic 5">
              <a:extLst>
                <a:ext uri="{FF2B5EF4-FFF2-40B4-BE49-F238E27FC236}">
                  <a16:creationId xmlns:a16="http://schemas.microsoft.com/office/drawing/2014/main" id="{E1586629-B048-A3DE-B9B7-C6AA9C0276B6}"/>
                </a:ext>
              </a:extLst>
            </p:cNvPr>
            <p:cNvGrpSpPr/>
            <p:nvPr/>
          </p:nvGrpSpPr>
          <p:grpSpPr>
            <a:xfrm rot="180525">
              <a:off x="-597053" y="441139"/>
              <a:ext cx="6472770" cy="6313556"/>
              <a:chOff x="4270587" y="2574268"/>
              <a:chExt cx="3544376" cy="3457192"/>
            </a:xfrm>
            <a:noFill/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D45A1AA0-C299-1399-51F7-055E23EA3C5C}"/>
                  </a:ext>
                </a:extLst>
              </p:cNvPr>
              <p:cNvSpPr/>
              <p:nvPr/>
            </p:nvSpPr>
            <p:spPr>
              <a:xfrm>
                <a:off x="4270587" y="2606803"/>
                <a:ext cx="3544376" cy="3424657"/>
              </a:xfrm>
              <a:custGeom>
                <a:avLst/>
                <a:gdLst>
                  <a:gd name="connsiteX0" fmla="*/ 3338832 w 3544376"/>
                  <a:gd name="connsiteY0" fmla="*/ 932573 h 3424657"/>
                  <a:gd name="connsiteX1" fmla="*/ 2419102 w 3544376"/>
                  <a:gd name="connsiteY1" fmla="*/ 117205 h 3424657"/>
                  <a:gd name="connsiteX2" fmla="*/ 1318575 w 3544376"/>
                  <a:gd name="connsiteY2" fmla="*/ 80027 h 3424657"/>
                  <a:gd name="connsiteX3" fmla="*/ 8709 w 3544376"/>
                  <a:gd name="connsiteY3" fmla="*/ 1110518 h 3424657"/>
                  <a:gd name="connsiteX4" fmla="*/ 630398 w 3544376"/>
                  <a:gd name="connsiteY4" fmla="*/ 2237733 h 3424657"/>
                  <a:gd name="connsiteX5" fmla="*/ 1272758 w 3544376"/>
                  <a:gd name="connsiteY5" fmla="*/ 3411536 h 3424657"/>
                  <a:gd name="connsiteX6" fmla="*/ 2390872 w 3544376"/>
                  <a:gd name="connsiteY6" fmla="*/ 2985687 h 3424657"/>
                  <a:gd name="connsiteX7" fmla="*/ 3510760 w 3544376"/>
                  <a:gd name="connsiteY7" fmla="*/ 2132601 h 3424657"/>
                  <a:gd name="connsiteX8" fmla="*/ 3338908 w 3544376"/>
                  <a:gd name="connsiteY8" fmla="*/ 932650 h 342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44376" h="3424657">
                    <a:moveTo>
                      <a:pt x="3338832" y="932573"/>
                    </a:moveTo>
                    <a:cubicBezTo>
                      <a:pt x="3134970" y="490449"/>
                      <a:pt x="2856290" y="230435"/>
                      <a:pt x="2419102" y="117205"/>
                    </a:cubicBezTo>
                    <a:cubicBezTo>
                      <a:pt x="2083036" y="30199"/>
                      <a:pt x="1658344" y="-76630"/>
                      <a:pt x="1318575" y="80027"/>
                    </a:cubicBezTo>
                    <a:cubicBezTo>
                      <a:pt x="873365" y="285354"/>
                      <a:pt x="120088" y="669551"/>
                      <a:pt x="8709" y="1110518"/>
                    </a:cubicBezTo>
                    <a:cubicBezTo>
                      <a:pt x="-75520" y="1444039"/>
                      <a:pt x="475130" y="1900972"/>
                      <a:pt x="630398" y="2237733"/>
                    </a:cubicBezTo>
                    <a:cubicBezTo>
                      <a:pt x="834953" y="2681323"/>
                      <a:pt x="833642" y="3299231"/>
                      <a:pt x="1272758" y="3411536"/>
                    </a:cubicBezTo>
                    <a:cubicBezTo>
                      <a:pt x="1607591" y="3497153"/>
                      <a:pt x="2052568" y="3141650"/>
                      <a:pt x="2390872" y="2985687"/>
                    </a:cubicBezTo>
                    <a:cubicBezTo>
                      <a:pt x="2829217" y="2783523"/>
                      <a:pt x="3395293" y="2565161"/>
                      <a:pt x="3510760" y="2132601"/>
                    </a:cubicBezTo>
                    <a:cubicBezTo>
                      <a:pt x="3601236" y="1793527"/>
                      <a:pt x="3497339" y="1276198"/>
                      <a:pt x="3338908" y="93265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F13360AD-80C3-B00E-9AA3-902B51B7D41C}"/>
                  </a:ext>
                </a:extLst>
              </p:cNvPr>
              <p:cNvSpPr/>
              <p:nvPr/>
            </p:nvSpPr>
            <p:spPr>
              <a:xfrm>
                <a:off x="4311149" y="2610445"/>
                <a:ext cx="3481515" cy="3380560"/>
              </a:xfrm>
              <a:custGeom>
                <a:avLst/>
                <a:gdLst>
                  <a:gd name="connsiteX0" fmla="*/ 2384788 w 3481515"/>
                  <a:gd name="connsiteY0" fmla="*/ 2986674 h 3380560"/>
                  <a:gd name="connsiteX1" fmla="*/ 3435796 w 3481515"/>
                  <a:gd name="connsiteY1" fmla="*/ 2123946 h 3380560"/>
                  <a:gd name="connsiteX2" fmla="*/ 3309068 w 3481515"/>
                  <a:gd name="connsiteY2" fmla="*/ 911268 h 3380560"/>
                  <a:gd name="connsiteX3" fmla="*/ 2359797 w 3481515"/>
                  <a:gd name="connsiteY3" fmla="*/ 156988 h 3380560"/>
                  <a:gd name="connsiteX4" fmla="*/ 1222399 w 3481515"/>
                  <a:gd name="connsiteY4" fmla="*/ 71757 h 3380560"/>
                  <a:gd name="connsiteX5" fmla="*/ 10492 w 3481515"/>
                  <a:gd name="connsiteY5" fmla="*/ 1123691 h 3380560"/>
                  <a:gd name="connsiteX6" fmla="*/ 573097 w 3481515"/>
                  <a:gd name="connsiteY6" fmla="*/ 2302662 h 3380560"/>
                  <a:gd name="connsiteX7" fmla="*/ 1256646 w 3481515"/>
                  <a:gd name="connsiteY7" fmla="*/ 3364546 h 3380560"/>
                  <a:gd name="connsiteX8" fmla="*/ 2384788 w 3481515"/>
                  <a:gd name="connsiteY8" fmla="*/ 2986674 h 3380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1515" h="3380560">
                    <a:moveTo>
                      <a:pt x="2384788" y="2986674"/>
                    </a:moveTo>
                    <a:cubicBezTo>
                      <a:pt x="2808400" y="2782658"/>
                      <a:pt x="3322257" y="2550489"/>
                      <a:pt x="3435796" y="2123946"/>
                    </a:cubicBezTo>
                    <a:cubicBezTo>
                      <a:pt x="3529127" y="1772916"/>
                      <a:pt x="3475983" y="1257439"/>
                      <a:pt x="3309068" y="911268"/>
                    </a:cubicBezTo>
                    <a:cubicBezTo>
                      <a:pt x="3103355" y="484725"/>
                      <a:pt x="2790197" y="268368"/>
                      <a:pt x="2359797" y="156988"/>
                    </a:cubicBezTo>
                    <a:cubicBezTo>
                      <a:pt x="2011157" y="66743"/>
                      <a:pt x="1565254" y="-93770"/>
                      <a:pt x="1222399" y="71757"/>
                    </a:cubicBezTo>
                    <a:cubicBezTo>
                      <a:pt x="793465" y="278935"/>
                      <a:pt x="120175" y="690129"/>
                      <a:pt x="10492" y="1123691"/>
                    </a:cubicBezTo>
                    <a:cubicBezTo>
                      <a:pt x="-77208" y="1469862"/>
                      <a:pt x="408959" y="1962662"/>
                      <a:pt x="573097" y="2302662"/>
                    </a:cubicBezTo>
                    <a:cubicBezTo>
                      <a:pt x="779581" y="2730362"/>
                      <a:pt x="824704" y="3254015"/>
                      <a:pt x="1256646" y="3364546"/>
                    </a:cubicBezTo>
                    <a:cubicBezTo>
                      <a:pt x="1603512" y="3453403"/>
                      <a:pt x="2043630" y="3150966"/>
                      <a:pt x="2384788" y="298667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7874B82C-BC33-EEB7-3C56-0ACBBD1CB9F8}"/>
                  </a:ext>
                </a:extLst>
              </p:cNvPr>
              <p:cNvSpPr/>
              <p:nvPr/>
            </p:nvSpPr>
            <p:spPr>
              <a:xfrm>
                <a:off x="4351228" y="2611075"/>
                <a:ext cx="3424905" cy="3340311"/>
              </a:xfrm>
              <a:custGeom>
                <a:avLst/>
                <a:gdLst>
                  <a:gd name="connsiteX0" fmla="*/ 2379187 w 3424905"/>
                  <a:gd name="connsiteY0" fmla="*/ 2990672 h 3340311"/>
                  <a:gd name="connsiteX1" fmla="*/ 3361317 w 3424905"/>
                  <a:gd name="connsiteY1" fmla="*/ 2118303 h 3340311"/>
                  <a:gd name="connsiteX2" fmla="*/ 3279788 w 3424905"/>
                  <a:gd name="connsiteY2" fmla="*/ 892974 h 3340311"/>
                  <a:gd name="connsiteX3" fmla="*/ 2300975 w 3424905"/>
                  <a:gd name="connsiteY3" fmla="*/ 199707 h 3340311"/>
                  <a:gd name="connsiteX4" fmla="*/ 1126708 w 3424905"/>
                  <a:gd name="connsiteY4" fmla="*/ 66422 h 3340311"/>
                  <a:gd name="connsiteX5" fmla="*/ 12759 w 3424905"/>
                  <a:gd name="connsiteY5" fmla="*/ 1139722 h 3340311"/>
                  <a:gd name="connsiteX6" fmla="*/ 516204 w 3424905"/>
                  <a:gd name="connsiteY6" fmla="*/ 2370449 h 3340311"/>
                  <a:gd name="connsiteX7" fmla="*/ 1241019 w 3424905"/>
                  <a:gd name="connsiteY7" fmla="*/ 3320491 h 3340311"/>
                  <a:gd name="connsiteX8" fmla="*/ 2379265 w 3424905"/>
                  <a:gd name="connsiteY8" fmla="*/ 2990594 h 3340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24905" h="3340311">
                    <a:moveTo>
                      <a:pt x="2379187" y="2990672"/>
                    </a:moveTo>
                    <a:cubicBezTo>
                      <a:pt x="2788222" y="2785113"/>
                      <a:pt x="3249628" y="2538829"/>
                      <a:pt x="3361317" y="2118303"/>
                    </a:cubicBezTo>
                    <a:cubicBezTo>
                      <a:pt x="3457501" y="1755239"/>
                      <a:pt x="3455341" y="1241614"/>
                      <a:pt x="3279788" y="892974"/>
                    </a:cubicBezTo>
                    <a:cubicBezTo>
                      <a:pt x="3072686" y="481781"/>
                      <a:pt x="2724587" y="309389"/>
                      <a:pt x="2300975" y="199707"/>
                    </a:cubicBezTo>
                    <a:cubicBezTo>
                      <a:pt x="1939763" y="106145"/>
                      <a:pt x="1472571" y="-108206"/>
                      <a:pt x="1126708" y="66422"/>
                    </a:cubicBezTo>
                    <a:cubicBezTo>
                      <a:pt x="713895" y="274988"/>
                      <a:pt x="120745" y="713641"/>
                      <a:pt x="12759" y="1139722"/>
                    </a:cubicBezTo>
                    <a:cubicBezTo>
                      <a:pt x="-78411" y="1498619"/>
                      <a:pt x="342964" y="2027286"/>
                      <a:pt x="516204" y="2370449"/>
                    </a:cubicBezTo>
                    <a:cubicBezTo>
                      <a:pt x="724076" y="2782414"/>
                      <a:pt x="816250" y="3211657"/>
                      <a:pt x="1241019" y="3320491"/>
                    </a:cubicBezTo>
                    <a:cubicBezTo>
                      <a:pt x="1599917" y="3412587"/>
                      <a:pt x="2035176" y="3163449"/>
                      <a:pt x="2379265" y="299059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6A59B39C-C48E-6990-7748-C82C34DFB4B2}"/>
                  </a:ext>
                </a:extLst>
              </p:cNvPr>
              <p:cNvSpPr/>
              <p:nvPr/>
            </p:nvSpPr>
            <p:spPr>
              <a:xfrm>
                <a:off x="4390546" y="2609845"/>
                <a:ext cx="3375801" cy="3303429"/>
              </a:xfrm>
              <a:custGeom>
                <a:avLst/>
                <a:gdLst>
                  <a:gd name="connsiteX0" fmla="*/ 2374347 w 3375801"/>
                  <a:gd name="connsiteY0" fmla="*/ 2996529 h 3303429"/>
                  <a:gd name="connsiteX1" fmla="*/ 3287597 w 3375801"/>
                  <a:gd name="connsiteY1" fmla="*/ 2114518 h 3303429"/>
                  <a:gd name="connsiteX2" fmla="*/ 3251191 w 3375801"/>
                  <a:gd name="connsiteY2" fmla="*/ 876541 h 3303429"/>
                  <a:gd name="connsiteX3" fmla="*/ 2242836 w 3375801"/>
                  <a:gd name="connsiteY3" fmla="*/ 244285 h 3303429"/>
                  <a:gd name="connsiteX4" fmla="*/ 1031700 w 3375801"/>
                  <a:gd name="connsiteY4" fmla="*/ 62946 h 3303429"/>
                  <a:gd name="connsiteX5" fmla="*/ 15710 w 3375801"/>
                  <a:gd name="connsiteY5" fmla="*/ 1157689 h 3303429"/>
                  <a:gd name="connsiteX6" fmla="*/ 459993 w 3375801"/>
                  <a:gd name="connsiteY6" fmla="*/ 2440249 h 3303429"/>
                  <a:gd name="connsiteX7" fmla="*/ 1226074 w 3375801"/>
                  <a:gd name="connsiteY7" fmla="*/ 3278449 h 3303429"/>
                  <a:gd name="connsiteX8" fmla="*/ 2374347 w 3375801"/>
                  <a:gd name="connsiteY8" fmla="*/ 2996529 h 330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5801" h="3303429">
                    <a:moveTo>
                      <a:pt x="2374347" y="2996529"/>
                    </a:moveTo>
                    <a:cubicBezTo>
                      <a:pt x="2768881" y="2789891"/>
                      <a:pt x="3177760" y="2529029"/>
                      <a:pt x="3287597" y="2114518"/>
                    </a:cubicBezTo>
                    <a:cubicBezTo>
                      <a:pt x="3386712" y="1739423"/>
                      <a:pt x="3435692" y="1227571"/>
                      <a:pt x="3251191" y="876541"/>
                    </a:cubicBezTo>
                    <a:cubicBezTo>
                      <a:pt x="3043087" y="480619"/>
                      <a:pt x="2659584" y="352193"/>
                      <a:pt x="2242836" y="244285"/>
                    </a:cubicBezTo>
                    <a:cubicBezTo>
                      <a:pt x="1869052" y="147483"/>
                      <a:pt x="1380494" y="-121092"/>
                      <a:pt x="1031700" y="62946"/>
                    </a:cubicBezTo>
                    <a:cubicBezTo>
                      <a:pt x="634776" y="272438"/>
                      <a:pt x="121999" y="739090"/>
                      <a:pt x="15710" y="1157689"/>
                    </a:cubicBezTo>
                    <a:cubicBezTo>
                      <a:pt x="-78932" y="1529236"/>
                      <a:pt x="277421" y="2093847"/>
                      <a:pt x="459993" y="2440249"/>
                    </a:cubicBezTo>
                    <a:cubicBezTo>
                      <a:pt x="668869" y="2836556"/>
                      <a:pt x="808402" y="3171312"/>
                      <a:pt x="1226074" y="3278449"/>
                    </a:cubicBezTo>
                    <a:cubicBezTo>
                      <a:pt x="1597005" y="3373785"/>
                      <a:pt x="2027559" y="3178176"/>
                      <a:pt x="2374347" y="29965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87677A80-C5EB-26CB-FF0C-940154DD389C}"/>
                  </a:ext>
                </a:extLst>
              </p:cNvPr>
              <p:cNvSpPr/>
              <p:nvPr/>
            </p:nvSpPr>
            <p:spPr>
              <a:xfrm>
                <a:off x="4428860" y="2607348"/>
                <a:ext cx="3333638" cy="3269772"/>
              </a:xfrm>
              <a:custGeom>
                <a:avLst/>
                <a:gdLst>
                  <a:gd name="connsiteX0" fmla="*/ 2370512 w 3333638"/>
                  <a:gd name="connsiteY0" fmla="*/ 3003654 h 3269772"/>
                  <a:gd name="connsiteX1" fmla="*/ 3214806 w 3333638"/>
                  <a:gd name="connsiteY1" fmla="*/ 2112002 h 3269772"/>
                  <a:gd name="connsiteX2" fmla="*/ 3223522 w 3333638"/>
                  <a:gd name="connsiteY2" fmla="*/ 861297 h 3269772"/>
                  <a:gd name="connsiteX3" fmla="*/ 2185625 w 3333638"/>
                  <a:gd name="connsiteY3" fmla="*/ 290053 h 3269772"/>
                  <a:gd name="connsiteX4" fmla="*/ 937697 w 3333638"/>
                  <a:gd name="connsiteY4" fmla="*/ 60738 h 3269772"/>
                  <a:gd name="connsiteX5" fmla="*/ 19665 w 3333638"/>
                  <a:gd name="connsiteY5" fmla="*/ 1176924 h 3269772"/>
                  <a:gd name="connsiteX6" fmla="*/ 404865 w 3333638"/>
                  <a:gd name="connsiteY6" fmla="*/ 2511240 h 3269772"/>
                  <a:gd name="connsiteX7" fmla="*/ 1212212 w 3333638"/>
                  <a:gd name="connsiteY7" fmla="*/ 3237597 h 3269772"/>
                  <a:gd name="connsiteX8" fmla="*/ 2370512 w 3333638"/>
                  <a:gd name="connsiteY8" fmla="*/ 3003654 h 3269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638" h="3269772">
                    <a:moveTo>
                      <a:pt x="2370512" y="3003654"/>
                    </a:moveTo>
                    <a:cubicBezTo>
                      <a:pt x="2750699" y="2796245"/>
                      <a:pt x="3106897" y="2520419"/>
                      <a:pt x="3214806" y="2112002"/>
                    </a:cubicBezTo>
                    <a:cubicBezTo>
                      <a:pt x="3316775" y="1724873"/>
                      <a:pt x="3417279" y="1214719"/>
                      <a:pt x="3223522" y="861297"/>
                    </a:cubicBezTo>
                    <a:cubicBezTo>
                      <a:pt x="3014800" y="480494"/>
                      <a:pt x="2595585" y="396265"/>
                      <a:pt x="2185625" y="290053"/>
                    </a:cubicBezTo>
                    <a:cubicBezTo>
                      <a:pt x="1799191" y="189935"/>
                      <a:pt x="1289268" y="-133019"/>
                      <a:pt x="937697" y="60738"/>
                    </a:cubicBezTo>
                    <a:cubicBezTo>
                      <a:pt x="556508" y="270770"/>
                      <a:pt x="124334" y="765730"/>
                      <a:pt x="19665" y="1176924"/>
                    </a:cubicBezTo>
                    <a:cubicBezTo>
                      <a:pt x="-78448" y="1561121"/>
                      <a:pt x="212651" y="2161829"/>
                      <a:pt x="404865" y="2511240"/>
                    </a:cubicBezTo>
                    <a:cubicBezTo>
                      <a:pt x="614357" y="2892120"/>
                      <a:pt x="801635" y="3132157"/>
                      <a:pt x="1212212" y="3237597"/>
                    </a:cubicBezTo>
                    <a:cubicBezTo>
                      <a:pt x="1595175" y="3336095"/>
                      <a:pt x="2021102" y="3194326"/>
                      <a:pt x="2370512" y="30036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9ACE584D-D129-BB7C-C18B-64ECA48EB4F6}"/>
                  </a:ext>
                </a:extLst>
              </p:cNvPr>
              <p:cNvSpPr/>
              <p:nvPr/>
            </p:nvSpPr>
            <p:spPr>
              <a:xfrm>
                <a:off x="4465597" y="2604029"/>
                <a:ext cx="3297610" cy="3240257"/>
              </a:xfrm>
              <a:custGeom>
                <a:avLst/>
                <a:gdLst>
                  <a:gd name="connsiteX0" fmla="*/ 2368253 w 3297610"/>
                  <a:gd name="connsiteY0" fmla="*/ 3011601 h 3240257"/>
                  <a:gd name="connsiteX1" fmla="*/ 3143667 w 3297610"/>
                  <a:gd name="connsiteY1" fmla="*/ 2110307 h 3240257"/>
                  <a:gd name="connsiteX2" fmla="*/ 3197583 w 3297610"/>
                  <a:gd name="connsiteY2" fmla="*/ 846953 h 3240257"/>
                  <a:gd name="connsiteX3" fmla="*/ 2130145 w 3297610"/>
                  <a:gd name="connsiteY3" fmla="*/ 336721 h 3240257"/>
                  <a:gd name="connsiteX4" fmla="*/ 845347 w 3297610"/>
                  <a:gd name="connsiteY4" fmla="*/ 59352 h 3240257"/>
                  <a:gd name="connsiteX5" fmla="*/ 25197 w 3297610"/>
                  <a:gd name="connsiteY5" fmla="*/ 1196981 h 3240257"/>
                  <a:gd name="connsiteX6" fmla="*/ 351236 w 3297610"/>
                  <a:gd name="connsiteY6" fmla="*/ 2583130 h 3240257"/>
                  <a:gd name="connsiteX7" fmla="*/ 1199772 w 3297610"/>
                  <a:gd name="connsiteY7" fmla="*/ 3197645 h 3240257"/>
                  <a:gd name="connsiteX8" fmla="*/ 2368176 w 3297610"/>
                  <a:gd name="connsiteY8" fmla="*/ 3011756 h 3240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7610" h="3240257">
                    <a:moveTo>
                      <a:pt x="2368253" y="3011601"/>
                    </a:moveTo>
                    <a:cubicBezTo>
                      <a:pt x="2734325" y="2803729"/>
                      <a:pt x="3037610" y="2512708"/>
                      <a:pt x="3143667" y="2110307"/>
                    </a:cubicBezTo>
                    <a:cubicBezTo>
                      <a:pt x="3248491" y="1711146"/>
                      <a:pt x="3400750" y="1202611"/>
                      <a:pt x="3197583" y="846953"/>
                    </a:cubicBezTo>
                    <a:cubicBezTo>
                      <a:pt x="2988554" y="481113"/>
                      <a:pt x="2533317" y="441159"/>
                      <a:pt x="2130145" y="336721"/>
                    </a:cubicBezTo>
                    <a:cubicBezTo>
                      <a:pt x="1731138" y="233364"/>
                      <a:pt x="1199617" y="-144355"/>
                      <a:pt x="845347" y="59352"/>
                    </a:cubicBezTo>
                    <a:cubicBezTo>
                      <a:pt x="479739" y="269539"/>
                      <a:pt x="128246" y="793269"/>
                      <a:pt x="25197" y="1196981"/>
                    </a:cubicBezTo>
                    <a:cubicBezTo>
                      <a:pt x="-76464" y="1593828"/>
                      <a:pt x="149149" y="2230788"/>
                      <a:pt x="351236" y="2583130"/>
                    </a:cubicBezTo>
                    <a:cubicBezTo>
                      <a:pt x="560960" y="2948739"/>
                      <a:pt x="796368" y="3093902"/>
                      <a:pt x="1199772" y="3197645"/>
                    </a:cubicBezTo>
                    <a:cubicBezTo>
                      <a:pt x="1594768" y="3299383"/>
                      <a:pt x="2016143" y="3211683"/>
                      <a:pt x="2368176" y="301175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D6A02208-02D4-53DD-F6B7-FEB8D679D297}"/>
                  </a:ext>
                </a:extLst>
              </p:cNvPr>
              <p:cNvSpPr/>
              <p:nvPr/>
            </p:nvSpPr>
            <p:spPr>
              <a:xfrm>
                <a:off x="4499869" y="2600116"/>
                <a:ext cx="3267148" cy="3216006"/>
              </a:xfrm>
              <a:custGeom>
                <a:avLst/>
                <a:gdLst>
                  <a:gd name="connsiteX0" fmla="*/ 2368459 w 3267148"/>
                  <a:gd name="connsiteY0" fmla="*/ 3020220 h 3216006"/>
                  <a:gd name="connsiteX1" fmla="*/ 3074994 w 3267148"/>
                  <a:gd name="connsiteY1" fmla="*/ 2109207 h 3216006"/>
                  <a:gd name="connsiteX2" fmla="*/ 3174032 w 3267148"/>
                  <a:gd name="connsiteY2" fmla="*/ 833203 h 3216006"/>
                  <a:gd name="connsiteX3" fmla="*/ 2077052 w 3267148"/>
                  <a:gd name="connsiteY3" fmla="*/ 384060 h 3216006"/>
                  <a:gd name="connsiteX4" fmla="*/ 755385 w 3267148"/>
                  <a:gd name="connsiteY4" fmla="*/ 58637 h 3216006"/>
                  <a:gd name="connsiteX5" fmla="*/ 33193 w 3267148"/>
                  <a:gd name="connsiteY5" fmla="*/ 1217631 h 3216006"/>
                  <a:gd name="connsiteX6" fmla="*/ 300072 w 3267148"/>
                  <a:gd name="connsiteY6" fmla="*/ 2655537 h 3216006"/>
                  <a:gd name="connsiteX7" fmla="*/ 1189873 w 3267148"/>
                  <a:gd name="connsiteY7" fmla="*/ 3158209 h 3216006"/>
                  <a:gd name="connsiteX8" fmla="*/ 2368305 w 3267148"/>
                  <a:gd name="connsiteY8" fmla="*/ 3020297 h 3216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7148" h="3216006">
                    <a:moveTo>
                      <a:pt x="2368459" y="3020220"/>
                    </a:moveTo>
                    <a:cubicBezTo>
                      <a:pt x="2720493" y="2812193"/>
                      <a:pt x="2970787" y="2505668"/>
                      <a:pt x="3074994" y="2109207"/>
                    </a:cubicBezTo>
                    <a:cubicBezTo>
                      <a:pt x="3182748" y="1698013"/>
                      <a:pt x="3386995" y="1190866"/>
                      <a:pt x="3174032" y="833203"/>
                    </a:cubicBezTo>
                    <a:cubicBezTo>
                      <a:pt x="2965002" y="482095"/>
                      <a:pt x="2473360" y="486646"/>
                      <a:pt x="2077052" y="384060"/>
                    </a:cubicBezTo>
                    <a:cubicBezTo>
                      <a:pt x="1665473" y="277462"/>
                      <a:pt x="1112201" y="-155406"/>
                      <a:pt x="755385" y="58637"/>
                    </a:cubicBezTo>
                    <a:cubicBezTo>
                      <a:pt x="405203" y="268669"/>
                      <a:pt x="134545" y="821401"/>
                      <a:pt x="33193" y="1217631"/>
                    </a:cubicBezTo>
                    <a:cubicBezTo>
                      <a:pt x="-71939" y="1627205"/>
                      <a:pt x="87803" y="2300495"/>
                      <a:pt x="300072" y="2655537"/>
                    </a:cubicBezTo>
                    <a:cubicBezTo>
                      <a:pt x="509718" y="3006104"/>
                      <a:pt x="793566" y="3056163"/>
                      <a:pt x="1189873" y="3158209"/>
                    </a:cubicBezTo>
                    <a:cubicBezTo>
                      <a:pt x="1596979" y="3263187"/>
                      <a:pt x="2013881" y="3229711"/>
                      <a:pt x="2368305" y="302029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E8627B1-ACEC-E83F-83CA-97867FABC602}"/>
                  </a:ext>
                </a:extLst>
              </p:cNvPr>
              <p:cNvSpPr/>
              <p:nvPr/>
            </p:nvSpPr>
            <p:spPr>
              <a:xfrm>
                <a:off x="4530202" y="2595585"/>
                <a:ext cx="3242767" cy="3198539"/>
              </a:xfrm>
              <a:custGeom>
                <a:avLst/>
                <a:gdLst>
                  <a:gd name="connsiteX0" fmla="*/ 2372604 w 3242767"/>
                  <a:gd name="connsiteY0" fmla="*/ 3029379 h 3198539"/>
                  <a:gd name="connsiteX1" fmla="*/ 3010259 w 3242767"/>
                  <a:gd name="connsiteY1" fmla="*/ 2108724 h 3198539"/>
                  <a:gd name="connsiteX2" fmla="*/ 3154497 w 3242767"/>
                  <a:gd name="connsiteY2" fmla="*/ 819993 h 3198539"/>
                  <a:gd name="connsiteX3" fmla="*/ 2027976 w 3242767"/>
                  <a:gd name="connsiteY3" fmla="*/ 431862 h 3198539"/>
                  <a:gd name="connsiteX4" fmla="*/ 669516 w 3242767"/>
                  <a:gd name="connsiteY4" fmla="*/ 58386 h 3198539"/>
                  <a:gd name="connsiteX5" fmla="*/ 45282 w 3242767"/>
                  <a:gd name="connsiteY5" fmla="*/ 1238823 h 3198539"/>
                  <a:gd name="connsiteX6" fmla="*/ 253078 w 3242767"/>
                  <a:gd name="connsiteY6" fmla="*/ 2728484 h 3198539"/>
                  <a:gd name="connsiteX7" fmla="*/ 1184145 w 3242767"/>
                  <a:gd name="connsiteY7" fmla="*/ 3119315 h 3198539"/>
                  <a:gd name="connsiteX8" fmla="*/ 2372681 w 3242767"/>
                  <a:gd name="connsiteY8" fmla="*/ 3029379 h 319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2767" h="3198539">
                    <a:moveTo>
                      <a:pt x="2372604" y="3029379"/>
                    </a:moveTo>
                    <a:cubicBezTo>
                      <a:pt x="2710831" y="2821429"/>
                      <a:pt x="2907904" y="2499092"/>
                      <a:pt x="3010259" y="2108724"/>
                    </a:cubicBezTo>
                    <a:cubicBezTo>
                      <a:pt x="3120867" y="1685498"/>
                      <a:pt x="3377488" y="1179585"/>
                      <a:pt x="3154497" y="819993"/>
                    </a:cubicBezTo>
                    <a:cubicBezTo>
                      <a:pt x="2945776" y="483464"/>
                      <a:pt x="2417495" y="532752"/>
                      <a:pt x="2027976" y="431862"/>
                    </a:cubicBezTo>
                    <a:cubicBezTo>
                      <a:pt x="1603746" y="321948"/>
                      <a:pt x="1028569" y="-166224"/>
                      <a:pt x="669516" y="58386"/>
                    </a:cubicBezTo>
                    <a:cubicBezTo>
                      <a:pt x="334530" y="267878"/>
                      <a:pt x="144938" y="850075"/>
                      <a:pt x="45282" y="1238823"/>
                    </a:cubicBezTo>
                    <a:cubicBezTo>
                      <a:pt x="-63320" y="1661047"/>
                      <a:pt x="30241" y="2370898"/>
                      <a:pt x="253078" y="2728484"/>
                    </a:cubicBezTo>
                    <a:cubicBezTo>
                      <a:pt x="462261" y="3064165"/>
                      <a:pt x="795011" y="3018966"/>
                      <a:pt x="1184145" y="3119315"/>
                    </a:cubicBezTo>
                    <a:cubicBezTo>
                      <a:pt x="1603283" y="3227532"/>
                      <a:pt x="2015943" y="3248666"/>
                      <a:pt x="2372681" y="30293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5DC39304-6213-A7C3-2D5F-AAFA35F561C4}"/>
                  </a:ext>
                </a:extLst>
              </p:cNvPr>
              <p:cNvSpPr/>
              <p:nvPr/>
            </p:nvSpPr>
            <p:spPr>
              <a:xfrm>
                <a:off x="4553971" y="2590726"/>
                <a:ext cx="3226504" cy="3187950"/>
              </a:xfrm>
              <a:custGeom>
                <a:avLst/>
                <a:gdLst>
                  <a:gd name="connsiteX0" fmla="*/ 2383391 w 3226504"/>
                  <a:gd name="connsiteY0" fmla="*/ 3038865 h 3187950"/>
                  <a:gd name="connsiteX1" fmla="*/ 2952166 w 3226504"/>
                  <a:gd name="connsiteY1" fmla="*/ 2108570 h 3187950"/>
                  <a:gd name="connsiteX2" fmla="*/ 3141527 w 3226504"/>
                  <a:gd name="connsiteY2" fmla="*/ 807189 h 3187950"/>
                  <a:gd name="connsiteX3" fmla="*/ 1985463 w 3226504"/>
                  <a:gd name="connsiteY3" fmla="*/ 480070 h 3187950"/>
                  <a:gd name="connsiteX4" fmla="*/ 590135 w 3226504"/>
                  <a:gd name="connsiteY4" fmla="*/ 58540 h 3187950"/>
                  <a:gd name="connsiteX5" fmla="*/ 63859 w 3226504"/>
                  <a:gd name="connsiteY5" fmla="*/ 1260420 h 3187950"/>
                  <a:gd name="connsiteX6" fmla="*/ 212494 w 3226504"/>
                  <a:gd name="connsiteY6" fmla="*/ 2801914 h 3187950"/>
                  <a:gd name="connsiteX7" fmla="*/ 1184827 w 3226504"/>
                  <a:gd name="connsiteY7" fmla="*/ 3080825 h 3187950"/>
                  <a:gd name="connsiteX8" fmla="*/ 2383391 w 3226504"/>
                  <a:gd name="connsiteY8" fmla="*/ 3038865 h 3187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6504" h="3187950">
                    <a:moveTo>
                      <a:pt x="2383391" y="3038865"/>
                    </a:moveTo>
                    <a:cubicBezTo>
                      <a:pt x="2707964" y="2831302"/>
                      <a:pt x="2851740" y="2492921"/>
                      <a:pt x="2952166" y="2108570"/>
                    </a:cubicBezTo>
                    <a:cubicBezTo>
                      <a:pt x="3065629" y="1673310"/>
                      <a:pt x="3374930" y="1168401"/>
                      <a:pt x="3141527" y="807189"/>
                    </a:cubicBezTo>
                    <a:cubicBezTo>
                      <a:pt x="2933423" y="485083"/>
                      <a:pt x="2368118" y="579185"/>
                      <a:pt x="1985463" y="480070"/>
                    </a:cubicBezTo>
                    <a:cubicBezTo>
                      <a:pt x="1548662" y="366916"/>
                      <a:pt x="951347" y="-177023"/>
                      <a:pt x="590135" y="58540"/>
                    </a:cubicBezTo>
                    <a:cubicBezTo>
                      <a:pt x="270112" y="267261"/>
                      <a:pt x="161818" y="879077"/>
                      <a:pt x="63859" y="1260420"/>
                    </a:cubicBezTo>
                    <a:cubicBezTo>
                      <a:pt x="-48214" y="1695293"/>
                      <a:pt x="-21218" y="2442014"/>
                      <a:pt x="212494" y="2801914"/>
                    </a:cubicBezTo>
                    <a:cubicBezTo>
                      <a:pt x="420983" y="3122940"/>
                      <a:pt x="802790" y="2982250"/>
                      <a:pt x="1184827" y="3080825"/>
                    </a:cubicBezTo>
                    <a:cubicBezTo>
                      <a:pt x="1615998" y="3192205"/>
                      <a:pt x="2024647" y="3268258"/>
                      <a:pt x="2383391" y="303886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33B6098B-5925-9431-44FB-8CC1040A8553}"/>
                  </a:ext>
                </a:extLst>
              </p:cNvPr>
              <p:cNvSpPr/>
              <p:nvPr/>
            </p:nvSpPr>
            <p:spPr>
              <a:xfrm>
                <a:off x="4568996" y="2585529"/>
                <a:ext cx="3220062" cy="3183237"/>
              </a:xfrm>
              <a:custGeom>
                <a:avLst/>
                <a:gdLst>
                  <a:gd name="connsiteX0" fmla="*/ 2402845 w 3220062"/>
                  <a:gd name="connsiteY0" fmla="*/ 3048690 h 3183237"/>
                  <a:gd name="connsiteX1" fmla="*/ 2902741 w 3220062"/>
                  <a:gd name="connsiteY1" fmla="*/ 2108752 h 3183237"/>
                  <a:gd name="connsiteX2" fmla="*/ 3137301 w 3220062"/>
                  <a:gd name="connsiteY2" fmla="*/ 794722 h 3183237"/>
                  <a:gd name="connsiteX3" fmla="*/ 1951696 w 3220062"/>
                  <a:gd name="connsiteY3" fmla="*/ 528615 h 3183237"/>
                  <a:gd name="connsiteX4" fmla="*/ 519498 w 3220062"/>
                  <a:gd name="connsiteY4" fmla="*/ 59031 h 3183237"/>
                  <a:gd name="connsiteX5" fmla="*/ 91104 w 3220062"/>
                  <a:gd name="connsiteY5" fmla="*/ 1282277 h 3183237"/>
                  <a:gd name="connsiteX6" fmla="*/ 180577 w 3220062"/>
                  <a:gd name="connsiteY6" fmla="*/ 2875527 h 3183237"/>
                  <a:gd name="connsiteX7" fmla="*/ 1194100 w 3220062"/>
                  <a:gd name="connsiteY7" fmla="*/ 3042597 h 3183237"/>
                  <a:gd name="connsiteX8" fmla="*/ 2402690 w 3220062"/>
                  <a:gd name="connsiteY8" fmla="*/ 3048690 h 3183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062" h="3183237">
                    <a:moveTo>
                      <a:pt x="2402845" y="3048690"/>
                    </a:moveTo>
                    <a:cubicBezTo>
                      <a:pt x="2713920" y="2841743"/>
                      <a:pt x="2804166" y="2487088"/>
                      <a:pt x="2902741" y="2108752"/>
                    </a:cubicBezTo>
                    <a:cubicBezTo>
                      <a:pt x="3019057" y="1661538"/>
                      <a:pt x="3381426" y="1157322"/>
                      <a:pt x="3137301" y="794722"/>
                    </a:cubicBezTo>
                    <a:cubicBezTo>
                      <a:pt x="2930046" y="486809"/>
                      <a:pt x="2327563" y="626033"/>
                      <a:pt x="1951696" y="528615"/>
                    </a:cubicBezTo>
                    <a:cubicBezTo>
                      <a:pt x="1502322" y="412221"/>
                      <a:pt x="882484" y="-187870"/>
                      <a:pt x="519498" y="59031"/>
                    </a:cubicBezTo>
                    <a:cubicBezTo>
                      <a:pt x="214284" y="266672"/>
                      <a:pt x="187442" y="908415"/>
                      <a:pt x="91104" y="1282277"/>
                    </a:cubicBezTo>
                    <a:cubicBezTo>
                      <a:pt x="-24441" y="1729877"/>
                      <a:pt x="-64396" y="2513621"/>
                      <a:pt x="180577" y="2875527"/>
                    </a:cubicBezTo>
                    <a:cubicBezTo>
                      <a:pt x="388064" y="3182052"/>
                      <a:pt x="819235" y="2945718"/>
                      <a:pt x="1194100" y="3042597"/>
                    </a:cubicBezTo>
                    <a:cubicBezTo>
                      <a:pt x="1637304" y="3157215"/>
                      <a:pt x="2042173" y="3288495"/>
                      <a:pt x="2402690" y="304869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5A09090A-5D8E-77C0-37E2-CA61D079D8B6}"/>
                  </a:ext>
                </a:extLst>
              </p:cNvPr>
              <p:cNvSpPr/>
              <p:nvPr/>
            </p:nvSpPr>
            <p:spPr>
              <a:xfrm>
                <a:off x="4575239" y="2579941"/>
                <a:ext cx="3223194" cy="3183120"/>
              </a:xfrm>
              <a:custGeom>
                <a:avLst/>
                <a:gdLst>
                  <a:gd name="connsiteX0" fmla="*/ 2431079 w 3223194"/>
                  <a:gd name="connsiteY0" fmla="*/ 3058906 h 3183120"/>
                  <a:gd name="connsiteX1" fmla="*/ 2862096 w 3223194"/>
                  <a:gd name="connsiteY1" fmla="*/ 2109327 h 3183120"/>
                  <a:gd name="connsiteX2" fmla="*/ 3141779 w 3223194"/>
                  <a:gd name="connsiteY2" fmla="*/ 782570 h 3183120"/>
                  <a:gd name="connsiteX3" fmla="*/ 1926632 w 3223194"/>
                  <a:gd name="connsiteY3" fmla="*/ 577475 h 3183120"/>
                  <a:gd name="connsiteX4" fmla="*/ 457565 w 3223194"/>
                  <a:gd name="connsiteY4" fmla="*/ 59838 h 3183120"/>
                  <a:gd name="connsiteX5" fmla="*/ 127129 w 3223194"/>
                  <a:gd name="connsiteY5" fmla="*/ 1304526 h 3183120"/>
                  <a:gd name="connsiteX6" fmla="*/ 157519 w 3223194"/>
                  <a:gd name="connsiteY6" fmla="*/ 2949610 h 3183120"/>
                  <a:gd name="connsiteX7" fmla="*/ 1212307 w 3223194"/>
                  <a:gd name="connsiteY7" fmla="*/ 3004836 h 3183120"/>
                  <a:gd name="connsiteX8" fmla="*/ 2431002 w 3223194"/>
                  <a:gd name="connsiteY8" fmla="*/ 3058906 h 318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3194" h="3183120">
                    <a:moveTo>
                      <a:pt x="2431079" y="3058906"/>
                    </a:moveTo>
                    <a:cubicBezTo>
                      <a:pt x="2728888" y="2852731"/>
                      <a:pt x="2765372" y="2481646"/>
                      <a:pt x="2862096" y="2109327"/>
                    </a:cubicBezTo>
                    <a:cubicBezTo>
                      <a:pt x="2981343" y="1650080"/>
                      <a:pt x="3397011" y="1146327"/>
                      <a:pt x="3141779" y="782570"/>
                    </a:cubicBezTo>
                    <a:cubicBezTo>
                      <a:pt x="2935526" y="488695"/>
                      <a:pt x="2295712" y="673119"/>
                      <a:pt x="1926632" y="577475"/>
                    </a:cubicBezTo>
                    <a:cubicBezTo>
                      <a:pt x="1464608" y="457765"/>
                      <a:pt x="822016" y="-198865"/>
                      <a:pt x="457565" y="59838"/>
                    </a:cubicBezTo>
                    <a:cubicBezTo>
                      <a:pt x="166852" y="266168"/>
                      <a:pt x="221848" y="938146"/>
                      <a:pt x="127129" y="1304526"/>
                    </a:cubicBezTo>
                    <a:cubicBezTo>
                      <a:pt x="8113" y="1764776"/>
                      <a:pt x="-99178" y="2585930"/>
                      <a:pt x="157519" y="2949610"/>
                    </a:cubicBezTo>
                    <a:cubicBezTo>
                      <a:pt x="363849" y="3241942"/>
                      <a:pt x="844539" y="2909655"/>
                      <a:pt x="1212307" y="3004836"/>
                    </a:cubicBezTo>
                    <a:cubicBezTo>
                      <a:pt x="1667544" y="3122695"/>
                      <a:pt x="2068942" y="3309510"/>
                      <a:pt x="2431002" y="305890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03A9ECFA-97F4-F8AC-FBC0-5FA2F75D81F8}"/>
                  </a:ext>
                </a:extLst>
              </p:cNvPr>
              <p:cNvSpPr/>
              <p:nvPr/>
            </p:nvSpPr>
            <p:spPr>
              <a:xfrm>
                <a:off x="4574616" y="2574268"/>
                <a:ext cx="3233910" cy="3186151"/>
              </a:xfrm>
              <a:custGeom>
                <a:avLst/>
                <a:gdLst>
                  <a:gd name="connsiteX0" fmla="*/ 2828318 w 3233910"/>
                  <a:gd name="connsiteY0" fmla="*/ 2109987 h 3186151"/>
                  <a:gd name="connsiteX1" fmla="*/ 3153201 w 3233910"/>
                  <a:gd name="connsiteY1" fmla="*/ 770580 h 3186151"/>
                  <a:gd name="connsiteX2" fmla="*/ 1908512 w 3233910"/>
                  <a:gd name="connsiteY2" fmla="*/ 626573 h 3186151"/>
                  <a:gd name="connsiteX3" fmla="*/ 402652 w 3233910"/>
                  <a:gd name="connsiteY3" fmla="*/ 60883 h 3186151"/>
                  <a:gd name="connsiteX4" fmla="*/ 170175 w 3233910"/>
                  <a:gd name="connsiteY4" fmla="*/ 1327014 h 3186151"/>
                  <a:gd name="connsiteX5" fmla="*/ 141404 w 3233910"/>
                  <a:gd name="connsiteY5" fmla="*/ 3023854 h 3186151"/>
                  <a:gd name="connsiteX6" fmla="*/ 1237458 w 3233910"/>
                  <a:gd name="connsiteY6" fmla="*/ 2967238 h 3186151"/>
                  <a:gd name="connsiteX7" fmla="*/ 2466180 w 3233910"/>
                  <a:gd name="connsiteY7" fmla="*/ 3069285 h 3186151"/>
                  <a:gd name="connsiteX8" fmla="*/ 2828318 w 3233910"/>
                  <a:gd name="connsiteY8" fmla="*/ 2110064 h 3186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3910" h="3186151">
                    <a:moveTo>
                      <a:pt x="2828318" y="2109987"/>
                    </a:moveTo>
                    <a:cubicBezTo>
                      <a:pt x="2950419" y="1638707"/>
                      <a:pt x="3419925" y="1135031"/>
                      <a:pt x="3153201" y="770580"/>
                    </a:cubicBezTo>
                    <a:cubicBezTo>
                      <a:pt x="2948182" y="490434"/>
                      <a:pt x="2270727" y="720366"/>
                      <a:pt x="1908512" y="626573"/>
                    </a:cubicBezTo>
                    <a:cubicBezTo>
                      <a:pt x="1433915" y="503624"/>
                      <a:pt x="768029" y="-210007"/>
                      <a:pt x="402652" y="60883"/>
                    </a:cubicBezTo>
                    <a:cubicBezTo>
                      <a:pt x="126286" y="265747"/>
                      <a:pt x="263197" y="968039"/>
                      <a:pt x="170175" y="1327014"/>
                    </a:cubicBezTo>
                    <a:cubicBezTo>
                      <a:pt x="47611" y="1799914"/>
                      <a:pt x="-127326" y="2658939"/>
                      <a:pt x="141404" y="3023854"/>
                    </a:cubicBezTo>
                    <a:cubicBezTo>
                      <a:pt x="346345" y="3302147"/>
                      <a:pt x="876786" y="2873831"/>
                      <a:pt x="1237458" y="2967238"/>
                    </a:cubicBezTo>
                    <a:cubicBezTo>
                      <a:pt x="1704727" y="3088336"/>
                      <a:pt x="2102963" y="3331072"/>
                      <a:pt x="2466180" y="3069285"/>
                    </a:cubicBezTo>
                    <a:cubicBezTo>
                      <a:pt x="2750877" y="2864112"/>
                      <a:pt x="2733445" y="2476289"/>
                      <a:pt x="2828318" y="21100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7" name="Graphic 5">
              <a:extLst>
                <a:ext uri="{FF2B5EF4-FFF2-40B4-BE49-F238E27FC236}">
                  <a16:creationId xmlns:a16="http://schemas.microsoft.com/office/drawing/2014/main" id="{9887C42B-17F3-4817-6C35-0E699C7C1D23}"/>
                </a:ext>
              </a:extLst>
            </p:cNvPr>
            <p:cNvGrpSpPr/>
            <p:nvPr/>
          </p:nvGrpSpPr>
          <p:grpSpPr>
            <a:xfrm rot="20743245">
              <a:off x="-1641318" y="712755"/>
              <a:ext cx="8683276" cy="5650143"/>
              <a:chOff x="3224705" y="2448010"/>
              <a:chExt cx="5745675" cy="3738674"/>
            </a:xfrm>
            <a:noFill/>
          </p:grpSpPr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8375E6AA-5D6C-299B-8A3F-4BB0771C59B2}"/>
                  </a:ext>
                </a:extLst>
              </p:cNvPr>
              <p:cNvSpPr/>
              <p:nvPr/>
            </p:nvSpPr>
            <p:spPr>
              <a:xfrm>
                <a:off x="3224705" y="2973429"/>
                <a:ext cx="4086746" cy="2988613"/>
              </a:xfrm>
              <a:custGeom>
                <a:avLst/>
                <a:gdLst>
                  <a:gd name="connsiteX0" fmla="*/ 3021857 w 4086746"/>
                  <a:gd name="connsiteY0" fmla="*/ 21082 h 2988613"/>
                  <a:gd name="connsiteX1" fmla="*/ 1949714 w 4086746"/>
                  <a:gd name="connsiteY1" fmla="*/ 140561 h 2988613"/>
                  <a:gd name="connsiteX2" fmla="*/ 17620 w 4086746"/>
                  <a:gd name="connsiteY2" fmla="*/ 326759 h 2988613"/>
                  <a:gd name="connsiteX3" fmla="*/ 1162808 w 4086746"/>
                  <a:gd name="connsiteY3" fmla="*/ 2051134 h 2988613"/>
                  <a:gd name="connsiteX4" fmla="*/ 2164991 w 4086746"/>
                  <a:gd name="connsiteY4" fmla="*/ 2546943 h 2988613"/>
                  <a:gd name="connsiteX5" fmla="*/ 3449172 w 4086746"/>
                  <a:gd name="connsiteY5" fmla="*/ 2922733 h 2988613"/>
                  <a:gd name="connsiteX6" fmla="*/ 3803596 w 4086746"/>
                  <a:gd name="connsiteY6" fmla="*/ 1748620 h 2988613"/>
                  <a:gd name="connsiteX7" fmla="*/ 3997970 w 4086746"/>
                  <a:gd name="connsiteY7" fmla="*/ 855117 h 2988613"/>
                  <a:gd name="connsiteX8" fmla="*/ 3021857 w 4086746"/>
                  <a:gd name="connsiteY8" fmla="*/ 21160 h 2988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6746" h="2988613">
                    <a:moveTo>
                      <a:pt x="3021857" y="21082"/>
                    </a:moveTo>
                    <a:cubicBezTo>
                      <a:pt x="2524275" y="34658"/>
                      <a:pt x="2338926" y="-88523"/>
                      <a:pt x="1949714" y="140561"/>
                    </a:cubicBezTo>
                    <a:cubicBezTo>
                      <a:pt x="1650594" y="316654"/>
                      <a:pt x="147126" y="-24349"/>
                      <a:pt x="17620" y="326759"/>
                    </a:cubicBezTo>
                    <a:cubicBezTo>
                      <a:pt x="-151995" y="786777"/>
                      <a:pt x="953624" y="1647191"/>
                      <a:pt x="1162808" y="2051134"/>
                    </a:cubicBezTo>
                    <a:cubicBezTo>
                      <a:pt x="1489850" y="2682542"/>
                      <a:pt x="1817123" y="2418671"/>
                      <a:pt x="2164991" y="2546943"/>
                    </a:cubicBezTo>
                    <a:cubicBezTo>
                      <a:pt x="2623313" y="2715940"/>
                      <a:pt x="3059267" y="3153822"/>
                      <a:pt x="3449172" y="2922733"/>
                    </a:cubicBezTo>
                    <a:cubicBezTo>
                      <a:pt x="3746441" y="2746562"/>
                      <a:pt x="3674708" y="2098108"/>
                      <a:pt x="3803596" y="1748620"/>
                    </a:cubicBezTo>
                    <a:cubicBezTo>
                      <a:pt x="3970588" y="1295698"/>
                      <a:pt x="4222272" y="1242631"/>
                      <a:pt x="3997970" y="855117"/>
                    </a:cubicBezTo>
                    <a:cubicBezTo>
                      <a:pt x="3822185" y="551446"/>
                      <a:pt x="3400038" y="10824"/>
                      <a:pt x="3021857" y="211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2E2E67B-6241-D1D1-573A-C3C724D62979}"/>
                  </a:ext>
                </a:extLst>
              </p:cNvPr>
              <p:cNvSpPr/>
              <p:nvPr/>
            </p:nvSpPr>
            <p:spPr>
              <a:xfrm>
                <a:off x="3285345" y="2945042"/>
                <a:ext cx="4163768" cy="2979360"/>
              </a:xfrm>
              <a:custGeom>
                <a:avLst/>
                <a:gdLst>
                  <a:gd name="connsiteX0" fmla="*/ 3793170 w 4163768"/>
                  <a:gd name="connsiteY0" fmla="*/ 1782639 h 2979360"/>
                  <a:gd name="connsiteX1" fmla="*/ 4094681 w 4163768"/>
                  <a:gd name="connsiteY1" fmla="*/ 868155 h 2979360"/>
                  <a:gd name="connsiteX2" fmla="*/ 2987366 w 4163768"/>
                  <a:gd name="connsiteY2" fmla="*/ 28 h 2979360"/>
                  <a:gd name="connsiteX3" fmla="*/ 1885912 w 4163768"/>
                  <a:gd name="connsiteY3" fmla="*/ 197641 h 2979360"/>
                  <a:gd name="connsiteX4" fmla="*/ 15678 w 4163768"/>
                  <a:gd name="connsiteY4" fmla="*/ 437446 h 2979360"/>
                  <a:gd name="connsiteX5" fmla="*/ 1132404 w 4163768"/>
                  <a:gd name="connsiteY5" fmla="*/ 2066409 h 2979360"/>
                  <a:gd name="connsiteX6" fmla="*/ 2140990 w 4163768"/>
                  <a:gd name="connsiteY6" fmla="*/ 2635648 h 2979360"/>
                  <a:gd name="connsiteX7" fmla="*/ 3375266 w 4163768"/>
                  <a:gd name="connsiteY7" fmla="*/ 2903143 h 2979360"/>
                  <a:gd name="connsiteX8" fmla="*/ 3793247 w 4163768"/>
                  <a:gd name="connsiteY8" fmla="*/ 1782639 h 2979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63768" h="2979360">
                    <a:moveTo>
                      <a:pt x="3793170" y="1782639"/>
                    </a:moveTo>
                    <a:cubicBezTo>
                      <a:pt x="3948438" y="1338818"/>
                      <a:pt x="4315975" y="1250115"/>
                      <a:pt x="4094681" y="868155"/>
                    </a:cubicBezTo>
                    <a:cubicBezTo>
                      <a:pt x="3912417" y="553917"/>
                      <a:pt x="3371717" y="-4523"/>
                      <a:pt x="2987366" y="28"/>
                    </a:cubicBezTo>
                    <a:cubicBezTo>
                      <a:pt x="2503822" y="5735"/>
                      <a:pt x="2269030" y="-27894"/>
                      <a:pt x="1885912" y="197641"/>
                    </a:cubicBezTo>
                    <a:cubicBezTo>
                      <a:pt x="1575531" y="380291"/>
                      <a:pt x="141019" y="77932"/>
                      <a:pt x="15678" y="437446"/>
                    </a:cubicBezTo>
                    <a:cubicBezTo>
                      <a:pt x="-141132" y="887207"/>
                      <a:pt x="925072" y="1670179"/>
                      <a:pt x="1132404" y="2066409"/>
                    </a:cubicBezTo>
                    <a:cubicBezTo>
                      <a:pt x="1452196" y="2678688"/>
                      <a:pt x="1784560" y="2511310"/>
                      <a:pt x="2140990" y="2635648"/>
                    </a:cubicBezTo>
                    <a:cubicBezTo>
                      <a:pt x="2589439" y="2792072"/>
                      <a:pt x="2991608" y="3130376"/>
                      <a:pt x="3375266" y="2903143"/>
                    </a:cubicBezTo>
                    <a:cubicBezTo>
                      <a:pt x="3683333" y="2720725"/>
                      <a:pt x="3668215" y="2140071"/>
                      <a:pt x="3793247" y="178263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95EF2F98-2A58-FC4A-1DDE-66EC904F15D5}"/>
                  </a:ext>
                </a:extLst>
              </p:cNvPr>
              <p:cNvSpPr/>
              <p:nvPr/>
            </p:nvSpPr>
            <p:spPr>
              <a:xfrm>
                <a:off x="3345777" y="2895587"/>
                <a:ext cx="4247432" cy="2996098"/>
              </a:xfrm>
              <a:custGeom>
                <a:avLst/>
                <a:gdLst>
                  <a:gd name="connsiteX0" fmla="*/ 3783028 w 4247432"/>
                  <a:gd name="connsiteY0" fmla="*/ 1837724 h 2996098"/>
                  <a:gd name="connsiteX1" fmla="*/ 4191599 w 4247432"/>
                  <a:gd name="connsiteY1" fmla="*/ 902338 h 2996098"/>
                  <a:gd name="connsiteX2" fmla="*/ 2953081 w 4247432"/>
                  <a:gd name="connsiteY2" fmla="*/ 41 h 2996098"/>
                  <a:gd name="connsiteX3" fmla="*/ 1822318 w 4247432"/>
                  <a:gd name="connsiteY3" fmla="*/ 275790 h 2996098"/>
                  <a:gd name="connsiteX4" fmla="*/ 13867 w 4247432"/>
                  <a:gd name="connsiteY4" fmla="*/ 569202 h 2996098"/>
                  <a:gd name="connsiteX5" fmla="*/ 1102053 w 4247432"/>
                  <a:gd name="connsiteY5" fmla="*/ 2102675 h 2996098"/>
                  <a:gd name="connsiteX6" fmla="*/ 2117041 w 4247432"/>
                  <a:gd name="connsiteY6" fmla="*/ 2745420 h 2996098"/>
                  <a:gd name="connsiteX7" fmla="*/ 3301335 w 4247432"/>
                  <a:gd name="connsiteY7" fmla="*/ 2904699 h 2996098"/>
                  <a:gd name="connsiteX8" fmla="*/ 3782951 w 4247432"/>
                  <a:gd name="connsiteY8" fmla="*/ 1837724 h 299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47432" h="2996098">
                    <a:moveTo>
                      <a:pt x="3783028" y="1837724"/>
                    </a:moveTo>
                    <a:cubicBezTo>
                      <a:pt x="3926880" y="1403159"/>
                      <a:pt x="4410039" y="1278667"/>
                      <a:pt x="4191599" y="902338"/>
                    </a:cubicBezTo>
                    <a:cubicBezTo>
                      <a:pt x="4002856" y="577532"/>
                      <a:pt x="3343681" y="1506"/>
                      <a:pt x="2953081" y="41"/>
                    </a:cubicBezTo>
                    <a:cubicBezTo>
                      <a:pt x="2483575" y="-1733"/>
                      <a:pt x="2199342" y="53802"/>
                      <a:pt x="1822318" y="275790"/>
                    </a:cubicBezTo>
                    <a:cubicBezTo>
                      <a:pt x="1500752" y="465073"/>
                      <a:pt x="134888" y="201125"/>
                      <a:pt x="13867" y="569202"/>
                    </a:cubicBezTo>
                    <a:cubicBezTo>
                      <a:pt x="-130603" y="1008626"/>
                      <a:pt x="896726" y="1714158"/>
                      <a:pt x="1102053" y="2102675"/>
                    </a:cubicBezTo>
                    <a:cubicBezTo>
                      <a:pt x="1414672" y="2695824"/>
                      <a:pt x="1751896" y="2625171"/>
                      <a:pt x="2117041" y="2745420"/>
                    </a:cubicBezTo>
                    <a:cubicBezTo>
                      <a:pt x="2555309" y="2889658"/>
                      <a:pt x="2924002" y="3128075"/>
                      <a:pt x="3301335" y="2904699"/>
                    </a:cubicBezTo>
                    <a:cubicBezTo>
                      <a:pt x="3620201" y="2716033"/>
                      <a:pt x="3661930" y="2203256"/>
                      <a:pt x="3782951" y="183772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376EE921-8E64-21A2-8A58-BC6F3C94D4FE}"/>
                  </a:ext>
                </a:extLst>
              </p:cNvPr>
              <p:cNvSpPr/>
              <p:nvPr/>
            </p:nvSpPr>
            <p:spPr>
              <a:xfrm>
                <a:off x="3406170" y="2845727"/>
                <a:ext cx="4334890" cy="3021757"/>
              </a:xfrm>
              <a:custGeom>
                <a:avLst/>
                <a:gdLst>
                  <a:gd name="connsiteX0" fmla="*/ 3772848 w 4334890"/>
                  <a:gd name="connsiteY0" fmla="*/ 1893214 h 3021757"/>
                  <a:gd name="connsiteX1" fmla="*/ 4288557 w 4334890"/>
                  <a:gd name="connsiteY1" fmla="*/ 936924 h 3021757"/>
                  <a:gd name="connsiteX2" fmla="*/ 2918837 w 4334890"/>
                  <a:gd name="connsiteY2" fmla="*/ 381 h 3021757"/>
                  <a:gd name="connsiteX3" fmla="*/ 1758762 w 4334890"/>
                  <a:gd name="connsiteY3" fmla="*/ 354188 h 3021757"/>
                  <a:gd name="connsiteX4" fmla="*/ 12172 w 4334890"/>
                  <a:gd name="connsiteY4" fmla="*/ 701207 h 3021757"/>
                  <a:gd name="connsiteX5" fmla="*/ 1071897 w 4334890"/>
                  <a:gd name="connsiteY5" fmla="*/ 2139267 h 3021757"/>
                  <a:gd name="connsiteX6" fmla="*/ 2093286 w 4334890"/>
                  <a:gd name="connsiteY6" fmla="*/ 2855443 h 3021757"/>
                  <a:gd name="connsiteX7" fmla="*/ 3227676 w 4334890"/>
                  <a:gd name="connsiteY7" fmla="*/ 2906427 h 3021757"/>
                  <a:gd name="connsiteX8" fmla="*/ 3772926 w 4334890"/>
                  <a:gd name="connsiteY8" fmla="*/ 1893060 h 3021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34890" h="3021757">
                    <a:moveTo>
                      <a:pt x="3772848" y="1893214"/>
                    </a:moveTo>
                    <a:cubicBezTo>
                      <a:pt x="3905671" y="1468137"/>
                      <a:pt x="4503989" y="1307701"/>
                      <a:pt x="4288557" y="936924"/>
                    </a:cubicBezTo>
                    <a:cubicBezTo>
                      <a:pt x="4093411" y="601629"/>
                      <a:pt x="3315684" y="8094"/>
                      <a:pt x="2918837" y="381"/>
                    </a:cubicBezTo>
                    <a:cubicBezTo>
                      <a:pt x="2463446" y="-8412"/>
                      <a:pt x="2129770" y="135826"/>
                      <a:pt x="1758762" y="354188"/>
                    </a:cubicBezTo>
                    <a:cubicBezTo>
                      <a:pt x="1425935" y="550027"/>
                      <a:pt x="128642" y="324415"/>
                      <a:pt x="12172" y="701207"/>
                    </a:cubicBezTo>
                    <a:cubicBezTo>
                      <a:pt x="-120342" y="1129987"/>
                      <a:pt x="868421" y="1758386"/>
                      <a:pt x="1071897" y="2139267"/>
                    </a:cubicBezTo>
                    <a:cubicBezTo>
                      <a:pt x="1377265" y="2713288"/>
                      <a:pt x="1719270" y="2739667"/>
                      <a:pt x="2093286" y="2855443"/>
                    </a:cubicBezTo>
                    <a:cubicBezTo>
                      <a:pt x="2521218" y="2987957"/>
                      <a:pt x="2856591" y="3126024"/>
                      <a:pt x="3227676" y="2906427"/>
                    </a:cubicBezTo>
                    <a:cubicBezTo>
                      <a:pt x="3557340" y="2711514"/>
                      <a:pt x="3656147" y="2266690"/>
                      <a:pt x="3772926" y="18930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7B6AE440-23D5-322A-E483-A8D550CBB8C4}"/>
                  </a:ext>
                </a:extLst>
              </p:cNvPr>
              <p:cNvSpPr/>
              <p:nvPr/>
            </p:nvSpPr>
            <p:spPr>
              <a:xfrm>
                <a:off x="3466359" y="2795931"/>
                <a:ext cx="4425026" cy="3063471"/>
              </a:xfrm>
              <a:custGeom>
                <a:avLst/>
                <a:gdLst>
                  <a:gd name="connsiteX0" fmla="*/ 3762949 w 4425026"/>
                  <a:gd name="connsiteY0" fmla="*/ 1948641 h 3063471"/>
                  <a:gd name="connsiteX1" fmla="*/ 4385718 w 4425026"/>
                  <a:gd name="connsiteY1" fmla="*/ 971448 h 3063471"/>
                  <a:gd name="connsiteX2" fmla="*/ 2884795 w 4425026"/>
                  <a:gd name="connsiteY2" fmla="*/ 735 h 3063471"/>
                  <a:gd name="connsiteX3" fmla="*/ 1695410 w 4425026"/>
                  <a:gd name="connsiteY3" fmla="*/ 432677 h 3063471"/>
                  <a:gd name="connsiteX4" fmla="*/ 10603 w 4425026"/>
                  <a:gd name="connsiteY4" fmla="*/ 833304 h 3063471"/>
                  <a:gd name="connsiteX5" fmla="*/ 1041789 w 4425026"/>
                  <a:gd name="connsiteY5" fmla="*/ 2175951 h 3063471"/>
                  <a:gd name="connsiteX6" fmla="*/ 2069581 w 4425026"/>
                  <a:gd name="connsiteY6" fmla="*/ 2965634 h 3063471"/>
                  <a:gd name="connsiteX7" fmla="*/ 3154065 w 4425026"/>
                  <a:gd name="connsiteY7" fmla="*/ 2908401 h 3063471"/>
                  <a:gd name="connsiteX8" fmla="*/ 3762949 w 4425026"/>
                  <a:gd name="connsiteY8" fmla="*/ 1948564 h 3063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25026" h="3063471">
                    <a:moveTo>
                      <a:pt x="3762949" y="1948641"/>
                    </a:moveTo>
                    <a:cubicBezTo>
                      <a:pt x="3885128" y="1533127"/>
                      <a:pt x="4598295" y="1336594"/>
                      <a:pt x="4385718" y="971448"/>
                    </a:cubicBezTo>
                    <a:cubicBezTo>
                      <a:pt x="4184094" y="625586"/>
                      <a:pt x="3287967" y="14927"/>
                      <a:pt x="2884795" y="735"/>
                    </a:cubicBezTo>
                    <a:cubicBezTo>
                      <a:pt x="2443596" y="-14769"/>
                      <a:pt x="2060325" y="217863"/>
                      <a:pt x="1695410" y="432677"/>
                    </a:cubicBezTo>
                    <a:cubicBezTo>
                      <a:pt x="1351399" y="635150"/>
                      <a:pt x="122214" y="447718"/>
                      <a:pt x="10603" y="833304"/>
                    </a:cubicBezTo>
                    <a:cubicBezTo>
                      <a:pt x="-110418" y="1251362"/>
                      <a:pt x="840318" y="1802706"/>
                      <a:pt x="1041789" y="2175951"/>
                    </a:cubicBezTo>
                    <a:cubicBezTo>
                      <a:pt x="1339983" y="2730842"/>
                      <a:pt x="1686617" y="2854485"/>
                      <a:pt x="2069581" y="2965634"/>
                    </a:cubicBezTo>
                    <a:cubicBezTo>
                      <a:pt x="2487022" y="3086809"/>
                      <a:pt x="2789228" y="3124141"/>
                      <a:pt x="3154065" y="2908401"/>
                    </a:cubicBezTo>
                    <a:cubicBezTo>
                      <a:pt x="3494528" y="2707240"/>
                      <a:pt x="3650644" y="2330524"/>
                      <a:pt x="3762949" y="19485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C0D0C890-F898-9C06-809E-A8724AE47D39}"/>
                  </a:ext>
                </a:extLst>
              </p:cNvPr>
              <p:cNvSpPr/>
              <p:nvPr/>
            </p:nvSpPr>
            <p:spPr>
              <a:xfrm>
                <a:off x="3526436" y="2746166"/>
                <a:ext cx="4516838" cy="3129085"/>
              </a:xfrm>
              <a:custGeom>
                <a:avLst/>
                <a:gdLst>
                  <a:gd name="connsiteX0" fmla="*/ 3753086 w 4516838"/>
                  <a:gd name="connsiteY0" fmla="*/ 2004037 h 3129085"/>
                  <a:gd name="connsiteX1" fmla="*/ 4482992 w 4516838"/>
                  <a:gd name="connsiteY1" fmla="*/ 1005942 h 3129085"/>
                  <a:gd name="connsiteX2" fmla="*/ 2850866 w 4516838"/>
                  <a:gd name="connsiteY2" fmla="*/ 1059 h 3129085"/>
                  <a:gd name="connsiteX3" fmla="*/ 1632171 w 4516838"/>
                  <a:gd name="connsiteY3" fmla="*/ 511136 h 3129085"/>
                  <a:gd name="connsiteX4" fmla="*/ 9147 w 4516838"/>
                  <a:gd name="connsiteY4" fmla="*/ 965447 h 3129085"/>
                  <a:gd name="connsiteX5" fmla="*/ 1011871 w 4516838"/>
                  <a:gd name="connsiteY5" fmla="*/ 2212681 h 3129085"/>
                  <a:gd name="connsiteX6" fmla="*/ 2046065 w 4516838"/>
                  <a:gd name="connsiteY6" fmla="*/ 3075871 h 3129085"/>
                  <a:gd name="connsiteX7" fmla="*/ 3080644 w 4516838"/>
                  <a:gd name="connsiteY7" fmla="*/ 2910345 h 3129085"/>
                  <a:gd name="connsiteX8" fmla="*/ 3753163 w 4516838"/>
                  <a:gd name="connsiteY8" fmla="*/ 2004114 h 3129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16838" h="3129085">
                    <a:moveTo>
                      <a:pt x="3753086" y="2004037"/>
                    </a:moveTo>
                    <a:cubicBezTo>
                      <a:pt x="3864928" y="1598166"/>
                      <a:pt x="4692561" y="1365534"/>
                      <a:pt x="4482992" y="1005942"/>
                    </a:cubicBezTo>
                    <a:cubicBezTo>
                      <a:pt x="4274888" y="649589"/>
                      <a:pt x="3260286" y="21962"/>
                      <a:pt x="2850866" y="1059"/>
                    </a:cubicBezTo>
                    <a:cubicBezTo>
                      <a:pt x="2423783" y="-20770"/>
                      <a:pt x="1990992" y="299870"/>
                      <a:pt x="1632171" y="511136"/>
                    </a:cubicBezTo>
                    <a:cubicBezTo>
                      <a:pt x="1276976" y="720166"/>
                      <a:pt x="115667" y="570837"/>
                      <a:pt x="9147" y="965447"/>
                    </a:cubicBezTo>
                    <a:cubicBezTo>
                      <a:pt x="-100767" y="1372553"/>
                      <a:pt x="812252" y="1847149"/>
                      <a:pt x="1011871" y="2212681"/>
                    </a:cubicBezTo>
                    <a:cubicBezTo>
                      <a:pt x="1302892" y="2748444"/>
                      <a:pt x="1654000" y="2969583"/>
                      <a:pt x="2046065" y="3075871"/>
                    </a:cubicBezTo>
                    <a:cubicBezTo>
                      <a:pt x="2452939" y="3186094"/>
                      <a:pt x="2721978" y="3122305"/>
                      <a:pt x="3080644" y="2910345"/>
                    </a:cubicBezTo>
                    <a:cubicBezTo>
                      <a:pt x="3431906" y="2702935"/>
                      <a:pt x="3645563" y="2394405"/>
                      <a:pt x="3753163" y="20041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A1E7F5C-9781-6D29-14C8-13E8C75266E6}"/>
                  </a:ext>
                </a:extLst>
              </p:cNvPr>
              <p:cNvSpPr/>
              <p:nvPr/>
            </p:nvSpPr>
            <p:spPr>
              <a:xfrm>
                <a:off x="3586413" y="2696421"/>
                <a:ext cx="4609879" cy="3215724"/>
              </a:xfrm>
              <a:custGeom>
                <a:avLst/>
                <a:gdLst>
                  <a:gd name="connsiteX0" fmla="*/ 3743322 w 4609879"/>
                  <a:gd name="connsiteY0" fmla="*/ 2059413 h 3215724"/>
                  <a:gd name="connsiteX1" fmla="*/ 4580365 w 4609879"/>
                  <a:gd name="connsiteY1" fmla="*/ 1040414 h 3215724"/>
                  <a:gd name="connsiteX2" fmla="*/ 2817037 w 4609879"/>
                  <a:gd name="connsiteY2" fmla="*/ 1361 h 3215724"/>
                  <a:gd name="connsiteX3" fmla="*/ 1568955 w 4609879"/>
                  <a:gd name="connsiteY3" fmla="*/ 589575 h 3215724"/>
                  <a:gd name="connsiteX4" fmla="*/ 7791 w 4609879"/>
                  <a:gd name="connsiteY4" fmla="*/ 1097493 h 3215724"/>
                  <a:gd name="connsiteX5" fmla="*/ 981976 w 4609879"/>
                  <a:gd name="connsiteY5" fmla="*/ 2249313 h 3215724"/>
                  <a:gd name="connsiteX6" fmla="*/ 2022571 w 4609879"/>
                  <a:gd name="connsiteY6" fmla="*/ 3185934 h 3215724"/>
                  <a:gd name="connsiteX7" fmla="*/ 3007169 w 4609879"/>
                  <a:gd name="connsiteY7" fmla="*/ 2912190 h 3215724"/>
                  <a:gd name="connsiteX8" fmla="*/ 3743322 w 4609879"/>
                  <a:gd name="connsiteY8" fmla="*/ 2059567 h 3215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09879" h="3215724">
                    <a:moveTo>
                      <a:pt x="3743322" y="2059413"/>
                    </a:moveTo>
                    <a:cubicBezTo>
                      <a:pt x="3845138" y="1663337"/>
                      <a:pt x="4786926" y="1394376"/>
                      <a:pt x="4580365" y="1040414"/>
                    </a:cubicBezTo>
                    <a:cubicBezTo>
                      <a:pt x="4365783" y="673495"/>
                      <a:pt x="3232782" y="29284"/>
                      <a:pt x="2817037" y="1361"/>
                    </a:cubicBezTo>
                    <a:cubicBezTo>
                      <a:pt x="2401292" y="-26560"/>
                      <a:pt x="1921836" y="381934"/>
                      <a:pt x="1568955" y="589575"/>
                    </a:cubicBezTo>
                    <a:cubicBezTo>
                      <a:pt x="1202498" y="805237"/>
                      <a:pt x="108757" y="693858"/>
                      <a:pt x="7791" y="1097493"/>
                    </a:cubicBezTo>
                    <a:cubicBezTo>
                      <a:pt x="-91324" y="1493568"/>
                      <a:pt x="784362" y="1891418"/>
                      <a:pt x="981976" y="2249313"/>
                    </a:cubicBezTo>
                    <a:cubicBezTo>
                      <a:pt x="1265746" y="2765947"/>
                      <a:pt x="1621328" y="3084968"/>
                      <a:pt x="2022571" y="3185934"/>
                    </a:cubicBezTo>
                    <a:cubicBezTo>
                      <a:pt x="2418724" y="3285589"/>
                      <a:pt x="2654827" y="3120217"/>
                      <a:pt x="3007169" y="2912190"/>
                    </a:cubicBezTo>
                    <a:cubicBezTo>
                      <a:pt x="3369229" y="2698533"/>
                      <a:pt x="3640813" y="2458265"/>
                      <a:pt x="3743322" y="205956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9F214EEF-9C78-D23E-3A7A-29404AEB54E7}"/>
                  </a:ext>
                </a:extLst>
              </p:cNvPr>
              <p:cNvSpPr/>
              <p:nvPr/>
            </p:nvSpPr>
            <p:spPr>
              <a:xfrm>
                <a:off x="3646345" y="2646648"/>
                <a:ext cx="4703818" cy="3313713"/>
              </a:xfrm>
              <a:custGeom>
                <a:avLst/>
                <a:gdLst>
                  <a:gd name="connsiteX0" fmla="*/ 3733681 w 4703818"/>
                  <a:gd name="connsiteY0" fmla="*/ 2114893 h 3313713"/>
                  <a:gd name="connsiteX1" fmla="*/ 4677784 w 4703818"/>
                  <a:gd name="connsiteY1" fmla="*/ 1074915 h 3313713"/>
                  <a:gd name="connsiteX2" fmla="*/ 2783330 w 4703818"/>
                  <a:gd name="connsiteY2" fmla="*/ 1615 h 3313713"/>
                  <a:gd name="connsiteX3" fmla="*/ 1505937 w 4703818"/>
                  <a:gd name="connsiteY3" fmla="*/ 667886 h 3313713"/>
                  <a:gd name="connsiteX4" fmla="*/ 6557 w 4703818"/>
                  <a:gd name="connsiteY4" fmla="*/ 1229411 h 3313713"/>
                  <a:gd name="connsiteX5" fmla="*/ 952280 w 4703818"/>
                  <a:gd name="connsiteY5" fmla="*/ 2285819 h 3313713"/>
                  <a:gd name="connsiteX6" fmla="*/ 1999200 w 4703818"/>
                  <a:gd name="connsiteY6" fmla="*/ 3295947 h 3313713"/>
                  <a:gd name="connsiteX7" fmla="*/ 2933893 w 4703818"/>
                  <a:gd name="connsiteY7" fmla="*/ 2913910 h 3313713"/>
                  <a:gd name="connsiteX8" fmla="*/ 3733681 w 4703818"/>
                  <a:gd name="connsiteY8" fmla="*/ 2114816 h 3313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03818" h="3313713">
                    <a:moveTo>
                      <a:pt x="3733681" y="2114893"/>
                    </a:moveTo>
                    <a:cubicBezTo>
                      <a:pt x="3825777" y="1728690"/>
                      <a:pt x="4881491" y="1423323"/>
                      <a:pt x="4677784" y="1074915"/>
                    </a:cubicBezTo>
                    <a:cubicBezTo>
                      <a:pt x="4456722" y="697428"/>
                      <a:pt x="3205245" y="37019"/>
                      <a:pt x="2783330" y="1615"/>
                    </a:cubicBezTo>
                    <a:cubicBezTo>
                      <a:pt x="2384478" y="-31860"/>
                      <a:pt x="1852725" y="463871"/>
                      <a:pt x="1505937" y="667886"/>
                    </a:cubicBezTo>
                    <a:cubicBezTo>
                      <a:pt x="1128296" y="890105"/>
                      <a:pt x="101738" y="816675"/>
                      <a:pt x="6557" y="1229411"/>
                    </a:cubicBezTo>
                    <a:cubicBezTo>
                      <a:pt x="-82223" y="1614457"/>
                      <a:pt x="756517" y="1935560"/>
                      <a:pt x="952280" y="2285819"/>
                    </a:cubicBezTo>
                    <a:cubicBezTo>
                      <a:pt x="1228877" y="2783324"/>
                      <a:pt x="1588778" y="3200611"/>
                      <a:pt x="1999200" y="3295947"/>
                    </a:cubicBezTo>
                    <a:cubicBezTo>
                      <a:pt x="2384478" y="3385421"/>
                      <a:pt x="2587799" y="3118157"/>
                      <a:pt x="2933893" y="2913910"/>
                    </a:cubicBezTo>
                    <a:cubicBezTo>
                      <a:pt x="3306752" y="2694082"/>
                      <a:pt x="3636494" y="2522076"/>
                      <a:pt x="3733681" y="2114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1A084B31-CA1A-A827-3DCE-672C5783BDE5}"/>
                  </a:ext>
                </a:extLst>
              </p:cNvPr>
              <p:cNvSpPr/>
              <p:nvPr/>
            </p:nvSpPr>
            <p:spPr>
              <a:xfrm>
                <a:off x="3706188" y="2596973"/>
                <a:ext cx="4798420" cy="3416920"/>
              </a:xfrm>
              <a:custGeom>
                <a:avLst/>
                <a:gdLst>
                  <a:gd name="connsiteX0" fmla="*/ 3724051 w 4798420"/>
                  <a:gd name="connsiteY0" fmla="*/ 2170199 h 3416920"/>
                  <a:gd name="connsiteX1" fmla="*/ 4775292 w 4798420"/>
                  <a:gd name="connsiteY1" fmla="*/ 1109318 h 3416920"/>
                  <a:gd name="connsiteX2" fmla="*/ 2749635 w 4798420"/>
                  <a:gd name="connsiteY2" fmla="*/ 1848 h 3416920"/>
                  <a:gd name="connsiteX3" fmla="*/ 1442932 w 4798420"/>
                  <a:gd name="connsiteY3" fmla="*/ 746255 h 3416920"/>
                  <a:gd name="connsiteX4" fmla="*/ 5412 w 4798420"/>
                  <a:gd name="connsiteY4" fmla="*/ 1361387 h 3416920"/>
                  <a:gd name="connsiteX5" fmla="*/ 922596 w 4798420"/>
                  <a:gd name="connsiteY5" fmla="*/ 2322304 h 3416920"/>
                  <a:gd name="connsiteX6" fmla="*/ 1975918 w 4798420"/>
                  <a:gd name="connsiteY6" fmla="*/ 3405863 h 3416920"/>
                  <a:gd name="connsiteX7" fmla="*/ 2860706 w 4798420"/>
                  <a:gd name="connsiteY7" fmla="*/ 2915608 h 3416920"/>
                  <a:gd name="connsiteX8" fmla="*/ 3724129 w 4798420"/>
                  <a:gd name="connsiteY8" fmla="*/ 2170122 h 3416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98420" h="3416920">
                    <a:moveTo>
                      <a:pt x="3724051" y="2170199"/>
                    </a:moveTo>
                    <a:cubicBezTo>
                      <a:pt x="3806815" y="1793946"/>
                      <a:pt x="4975991" y="1452172"/>
                      <a:pt x="4775292" y="1109318"/>
                    </a:cubicBezTo>
                    <a:cubicBezTo>
                      <a:pt x="4547751" y="721341"/>
                      <a:pt x="3177798" y="45042"/>
                      <a:pt x="2749635" y="1848"/>
                    </a:cubicBezTo>
                    <a:cubicBezTo>
                      <a:pt x="2364821" y="-36950"/>
                      <a:pt x="1783627" y="545787"/>
                      <a:pt x="1442932" y="746255"/>
                    </a:cubicBezTo>
                    <a:cubicBezTo>
                      <a:pt x="1054030" y="975107"/>
                      <a:pt x="94192" y="939472"/>
                      <a:pt x="5412" y="1361387"/>
                    </a:cubicBezTo>
                    <a:cubicBezTo>
                      <a:pt x="-73263" y="1735248"/>
                      <a:pt x="728761" y="1979759"/>
                      <a:pt x="922596" y="2322304"/>
                    </a:cubicBezTo>
                    <a:cubicBezTo>
                      <a:pt x="1191943" y="2800681"/>
                      <a:pt x="1556163" y="3316697"/>
                      <a:pt x="1975918" y="3405863"/>
                    </a:cubicBezTo>
                    <a:cubicBezTo>
                      <a:pt x="2350320" y="3485463"/>
                      <a:pt x="2520860" y="3115999"/>
                      <a:pt x="2860706" y="2915608"/>
                    </a:cubicBezTo>
                    <a:cubicBezTo>
                      <a:pt x="3244364" y="2689532"/>
                      <a:pt x="3632649" y="2585944"/>
                      <a:pt x="3724129" y="217012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61AD5ED-EE74-6166-BAE3-58CB9153738F}"/>
                  </a:ext>
                </a:extLst>
              </p:cNvPr>
              <p:cNvSpPr/>
              <p:nvPr/>
            </p:nvSpPr>
            <p:spPr>
              <a:xfrm>
                <a:off x="3765757" y="2547325"/>
                <a:ext cx="4893698" cy="3522930"/>
              </a:xfrm>
              <a:custGeom>
                <a:avLst/>
                <a:gdLst>
                  <a:gd name="connsiteX0" fmla="*/ 3714695 w 4893698"/>
                  <a:gd name="connsiteY0" fmla="*/ 2225478 h 3522930"/>
                  <a:gd name="connsiteX1" fmla="*/ 4872995 w 4893698"/>
                  <a:gd name="connsiteY1" fmla="*/ 1143693 h 3522930"/>
                  <a:gd name="connsiteX2" fmla="*/ 2716137 w 4893698"/>
                  <a:gd name="connsiteY2" fmla="*/ 2054 h 3522930"/>
                  <a:gd name="connsiteX3" fmla="*/ 1380123 w 4893698"/>
                  <a:gd name="connsiteY3" fmla="*/ 824596 h 3522930"/>
                  <a:gd name="connsiteX4" fmla="*/ 4386 w 4893698"/>
                  <a:gd name="connsiteY4" fmla="*/ 1493335 h 3522930"/>
                  <a:gd name="connsiteX5" fmla="*/ 893031 w 4893698"/>
                  <a:gd name="connsiteY5" fmla="*/ 2358840 h 3522930"/>
                  <a:gd name="connsiteX6" fmla="*/ 1952756 w 4893698"/>
                  <a:gd name="connsiteY6" fmla="*/ 3515905 h 3522930"/>
                  <a:gd name="connsiteX7" fmla="*/ 2787562 w 4893698"/>
                  <a:gd name="connsiteY7" fmla="*/ 2917357 h 3522930"/>
                  <a:gd name="connsiteX8" fmla="*/ 3714541 w 4893698"/>
                  <a:gd name="connsiteY8" fmla="*/ 2225478 h 3522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93698" h="3522930">
                    <a:moveTo>
                      <a:pt x="3714695" y="2225478"/>
                    </a:moveTo>
                    <a:cubicBezTo>
                      <a:pt x="3788357" y="1859175"/>
                      <a:pt x="5070764" y="1480917"/>
                      <a:pt x="4872995" y="1143693"/>
                    </a:cubicBezTo>
                    <a:cubicBezTo>
                      <a:pt x="4639053" y="745149"/>
                      <a:pt x="3150470" y="53347"/>
                      <a:pt x="2716137" y="2054"/>
                    </a:cubicBezTo>
                    <a:cubicBezTo>
                      <a:pt x="2345360" y="-41757"/>
                      <a:pt x="1714801" y="627676"/>
                      <a:pt x="1380123" y="824596"/>
                    </a:cubicBezTo>
                    <a:cubicBezTo>
                      <a:pt x="980036" y="1060081"/>
                      <a:pt x="86455" y="1062164"/>
                      <a:pt x="4386" y="1493335"/>
                    </a:cubicBezTo>
                    <a:cubicBezTo>
                      <a:pt x="-64647" y="1856012"/>
                      <a:pt x="701202" y="2023930"/>
                      <a:pt x="893031" y="2358840"/>
                    </a:cubicBezTo>
                    <a:cubicBezTo>
                      <a:pt x="1155205" y="2818087"/>
                      <a:pt x="1523590" y="3433219"/>
                      <a:pt x="1952756" y="3515905"/>
                    </a:cubicBezTo>
                    <a:cubicBezTo>
                      <a:pt x="2316282" y="3585942"/>
                      <a:pt x="2454040" y="3113968"/>
                      <a:pt x="2787562" y="2917357"/>
                    </a:cubicBezTo>
                    <a:cubicBezTo>
                      <a:pt x="3182018" y="2685033"/>
                      <a:pt x="3629232" y="2649938"/>
                      <a:pt x="3714541" y="22254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643632F-A2E0-C539-E23E-B051FBBF1AF4}"/>
                  </a:ext>
                </a:extLst>
              </p:cNvPr>
              <p:cNvSpPr/>
              <p:nvPr/>
            </p:nvSpPr>
            <p:spPr>
              <a:xfrm>
                <a:off x="3825389" y="2497697"/>
                <a:ext cx="4989429" cy="3630406"/>
              </a:xfrm>
              <a:custGeom>
                <a:avLst/>
                <a:gdLst>
                  <a:gd name="connsiteX0" fmla="*/ 3705354 w 4989429"/>
                  <a:gd name="connsiteY0" fmla="*/ 2280737 h 3630406"/>
                  <a:gd name="connsiteX1" fmla="*/ 4970792 w 4989429"/>
                  <a:gd name="connsiteY1" fmla="*/ 1178049 h 3630406"/>
                  <a:gd name="connsiteX2" fmla="*/ 2682730 w 4989429"/>
                  <a:gd name="connsiteY2" fmla="*/ 2241 h 3630406"/>
                  <a:gd name="connsiteX3" fmla="*/ 1317406 w 4989429"/>
                  <a:gd name="connsiteY3" fmla="*/ 902918 h 3630406"/>
                  <a:gd name="connsiteX4" fmla="*/ 3453 w 4989429"/>
                  <a:gd name="connsiteY4" fmla="*/ 1625341 h 3630406"/>
                  <a:gd name="connsiteX5" fmla="*/ 863635 w 4989429"/>
                  <a:gd name="connsiteY5" fmla="*/ 2395433 h 3630406"/>
                  <a:gd name="connsiteX6" fmla="*/ 1929762 w 4989429"/>
                  <a:gd name="connsiteY6" fmla="*/ 3625929 h 3630406"/>
                  <a:gd name="connsiteX7" fmla="*/ 2714663 w 4989429"/>
                  <a:gd name="connsiteY7" fmla="*/ 2919163 h 3630406"/>
                  <a:gd name="connsiteX8" fmla="*/ 3705277 w 4989429"/>
                  <a:gd name="connsiteY8" fmla="*/ 2280814 h 3630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89429" h="3630406">
                    <a:moveTo>
                      <a:pt x="3705354" y="2280737"/>
                    </a:moveTo>
                    <a:cubicBezTo>
                      <a:pt x="3770145" y="1924384"/>
                      <a:pt x="5165629" y="1509720"/>
                      <a:pt x="4970792" y="1178049"/>
                    </a:cubicBezTo>
                    <a:cubicBezTo>
                      <a:pt x="4730370" y="769015"/>
                      <a:pt x="3123080" y="62173"/>
                      <a:pt x="2682730" y="2241"/>
                    </a:cubicBezTo>
                    <a:cubicBezTo>
                      <a:pt x="2325838" y="-46353"/>
                      <a:pt x="1645991" y="709546"/>
                      <a:pt x="1317406" y="902918"/>
                    </a:cubicBezTo>
                    <a:cubicBezTo>
                      <a:pt x="906058" y="1144960"/>
                      <a:pt x="78271" y="1184760"/>
                      <a:pt x="3453" y="1625341"/>
                    </a:cubicBezTo>
                    <a:cubicBezTo>
                      <a:pt x="-56171" y="1976757"/>
                      <a:pt x="673658" y="2068236"/>
                      <a:pt x="863635" y="2395433"/>
                    </a:cubicBezTo>
                    <a:cubicBezTo>
                      <a:pt x="1118636" y="2835628"/>
                      <a:pt x="1491186" y="3550339"/>
                      <a:pt x="1929762" y="3625929"/>
                    </a:cubicBezTo>
                    <a:cubicBezTo>
                      <a:pt x="2282335" y="3686709"/>
                      <a:pt x="2387313" y="3111917"/>
                      <a:pt x="2714663" y="2919163"/>
                    </a:cubicBezTo>
                    <a:cubicBezTo>
                      <a:pt x="3119918" y="2680592"/>
                      <a:pt x="3626525" y="2714067"/>
                      <a:pt x="3705277" y="22808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5AFCA0DE-CA9F-A91C-5411-9A986FD5EEB1}"/>
                  </a:ext>
                </a:extLst>
              </p:cNvPr>
              <p:cNvSpPr/>
              <p:nvPr/>
            </p:nvSpPr>
            <p:spPr>
              <a:xfrm>
                <a:off x="3884910" y="2448010"/>
                <a:ext cx="5085470" cy="3738674"/>
              </a:xfrm>
              <a:custGeom>
                <a:avLst/>
                <a:gdLst>
                  <a:gd name="connsiteX0" fmla="*/ 5068621 w 5085470"/>
                  <a:gd name="connsiteY0" fmla="*/ 1212464 h 3738674"/>
                  <a:gd name="connsiteX1" fmla="*/ 2649357 w 5085470"/>
                  <a:gd name="connsiteY1" fmla="*/ 2408 h 3738674"/>
                  <a:gd name="connsiteX2" fmla="*/ 1254723 w 5085470"/>
                  <a:gd name="connsiteY2" fmla="*/ 981143 h 3738674"/>
                  <a:gd name="connsiteX3" fmla="*/ 2629 w 5085470"/>
                  <a:gd name="connsiteY3" fmla="*/ 1757174 h 3738674"/>
                  <a:gd name="connsiteX4" fmla="*/ 834273 w 5085470"/>
                  <a:gd name="connsiteY4" fmla="*/ 2431853 h 3738674"/>
                  <a:gd name="connsiteX5" fmla="*/ 1906801 w 5085470"/>
                  <a:gd name="connsiteY5" fmla="*/ 3735856 h 3738674"/>
                  <a:gd name="connsiteX6" fmla="*/ 2641798 w 5085470"/>
                  <a:gd name="connsiteY6" fmla="*/ 2920796 h 3738674"/>
                  <a:gd name="connsiteX7" fmla="*/ 3696046 w 5085470"/>
                  <a:gd name="connsiteY7" fmla="*/ 2336054 h 3738674"/>
                  <a:gd name="connsiteX8" fmla="*/ 5068621 w 5085470"/>
                  <a:gd name="connsiteY8" fmla="*/ 1212464 h 373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5470" h="3738674">
                    <a:moveTo>
                      <a:pt x="5068621" y="1212464"/>
                    </a:moveTo>
                    <a:cubicBezTo>
                      <a:pt x="4821720" y="792863"/>
                      <a:pt x="3095646" y="71519"/>
                      <a:pt x="2649357" y="2408"/>
                    </a:cubicBezTo>
                    <a:cubicBezTo>
                      <a:pt x="2306348" y="-50736"/>
                      <a:pt x="1577214" y="791397"/>
                      <a:pt x="1254723" y="981143"/>
                    </a:cubicBezTo>
                    <a:cubicBezTo>
                      <a:pt x="832190" y="1229819"/>
                      <a:pt x="69503" y="1307260"/>
                      <a:pt x="2629" y="1757174"/>
                    </a:cubicBezTo>
                    <a:cubicBezTo>
                      <a:pt x="-47970" y="2097406"/>
                      <a:pt x="646301" y="2112292"/>
                      <a:pt x="834273" y="2431853"/>
                    </a:cubicBezTo>
                    <a:cubicBezTo>
                      <a:pt x="1082023" y="2852919"/>
                      <a:pt x="1458738" y="3667825"/>
                      <a:pt x="1906801" y="3735856"/>
                    </a:cubicBezTo>
                    <a:cubicBezTo>
                      <a:pt x="2248499" y="3787689"/>
                      <a:pt x="2320695" y="3109771"/>
                      <a:pt x="2641798" y="2920796"/>
                    </a:cubicBezTo>
                    <a:cubicBezTo>
                      <a:pt x="3057851" y="2675977"/>
                      <a:pt x="3624313" y="2778024"/>
                      <a:pt x="3696046" y="2336054"/>
                    </a:cubicBezTo>
                    <a:cubicBezTo>
                      <a:pt x="3752276" y="1989652"/>
                      <a:pt x="5260450" y="1538503"/>
                      <a:pt x="5068621" y="12124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aphic 5">
              <a:extLst>
                <a:ext uri="{FF2B5EF4-FFF2-40B4-BE49-F238E27FC236}">
                  <a16:creationId xmlns:a16="http://schemas.microsoft.com/office/drawing/2014/main" id="{869B02A3-CAAB-C5AC-0EE8-31AE62ED8D41}"/>
                </a:ext>
              </a:extLst>
            </p:cNvPr>
            <p:cNvGrpSpPr/>
            <p:nvPr/>
          </p:nvGrpSpPr>
          <p:grpSpPr>
            <a:xfrm rot="753948">
              <a:off x="-682780" y="-299489"/>
              <a:ext cx="5854605" cy="7484643"/>
              <a:chOff x="4061078" y="1549502"/>
              <a:chExt cx="3873961" cy="4952549"/>
            </a:xfrm>
            <a:noFill/>
          </p:grpSpPr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405DFF54-605D-187D-DE8C-05385C98958D}"/>
                  </a:ext>
                </a:extLst>
              </p:cNvPr>
              <p:cNvSpPr/>
              <p:nvPr/>
            </p:nvSpPr>
            <p:spPr>
              <a:xfrm>
                <a:off x="4475868" y="1549502"/>
                <a:ext cx="3007008" cy="4952549"/>
              </a:xfrm>
              <a:custGeom>
                <a:avLst/>
                <a:gdLst>
                  <a:gd name="connsiteX0" fmla="*/ 2976817 w 3007008"/>
                  <a:gd name="connsiteY0" fmla="*/ 2669180 h 4952549"/>
                  <a:gd name="connsiteX1" fmla="*/ 2432801 w 3007008"/>
                  <a:gd name="connsiteY1" fmla="*/ 1308330 h 4952549"/>
                  <a:gd name="connsiteX2" fmla="*/ 1795840 w 3007008"/>
                  <a:gd name="connsiteY2" fmla="*/ 7 h 4952549"/>
                  <a:gd name="connsiteX3" fmla="*/ 437072 w 3007008"/>
                  <a:gd name="connsiteY3" fmla="*/ 1607682 h 4952549"/>
                  <a:gd name="connsiteX4" fmla="*/ 310112 w 3007008"/>
                  <a:gd name="connsiteY4" fmla="*/ 2718545 h 4952549"/>
                  <a:gd name="connsiteX5" fmla="*/ 413007 w 3007008"/>
                  <a:gd name="connsiteY5" fmla="*/ 3875302 h 4952549"/>
                  <a:gd name="connsiteX6" fmla="*/ 1776248 w 3007008"/>
                  <a:gd name="connsiteY6" fmla="*/ 4952536 h 4952549"/>
                  <a:gd name="connsiteX7" fmla="*/ 2522815 w 3007008"/>
                  <a:gd name="connsiteY7" fmla="*/ 3870057 h 4952549"/>
                  <a:gd name="connsiteX8" fmla="*/ 2976817 w 3007008"/>
                  <a:gd name="connsiteY8" fmla="*/ 2669180 h 4952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07008" h="4952549">
                    <a:moveTo>
                      <a:pt x="2976817" y="2669180"/>
                    </a:moveTo>
                    <a:cubicBezTo>
                      <a:pt x="2795478" y="2205613"/>
                      <a:pt x="2780206" y="1596883"/>
                      <a:pt x="2432801" y="1308330"/>
                    </a:cubicBezTo>
                    <a:cubicBezTo>
                      <a:pt x="2165768" y="1086497"/>
                      <a:pt x="2170087" y="2861"/>
                      <a:pt x="1795840" y="7"/>
                    </a:cubicBezTo>
                    <a:cubicBezTo>
                      <a:pt x="1305585" y="-3772"/>
                      <a:pt x="857599" y="1434442"/>
                      <a:pt x="437072" y="1607682"/>
                    </a:cubicBezTo>
                    <a:cubicBezTo>
                      <a:pt x="-439463" y="1968739"/>
                      <a:pt x="265838" y="2328563"/>
                      <a:pt x="310112" y="2718545"/>
                    </a:cubicBezTo>
                    <a:cubicBezTo>
                      <a:pt x="365185" y="3203940"/>
                      <a:pt x="63519" y="3586749"/>
                      <a:pt x="413007" y="3875302"/>
                    </a:cubicBezTo>
                    <a:cubicBezTo>
                      <a:pt x="679500" y="4095361"/>
                      <a:pt x="1403775" y="4949682"/>
                      <a:pt x="1776248" y="4952536"/>
                    </a:cubicBezTo>
                    <a:cubicBezTo>
                      <a:pt x="2258944" y="4956238"/>
                      <a:pt x="2234184" y="4212294"/>
                      <a:pt x="2522815" y="3870057"/>
                    </a:cubicBezTo>
                    <a:cubicBezTo>
                      <a:pt x="2749045" y="3601790"/>
                      <a:pt x="3114576" y="3021444"/>
                      <a:pt x="2976817" y="266918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950944EF-CB3E-0744-EFC9-A29F6FFBE744}"/>
                  </a:ext>
                </a:extLst>
              </p:cNvPr>
              <p:cNvSpPr/>
              <p:nvPr/>
            </p:nvSpPr>
            <p:spPr>
              <a:xfrm>
                <a:off x="4482456" y="1627788"/>
                <a:ext cx="3018571" cy="4778052"/>
              </a:xfrm>
              <a:custGeom>
                <a:avLst/>
                <a:gdLst>
                  <a:gd name="connsiteX0" fmla="*/ 1752691 w 3018571"/>
                  <a:gd name="connsiteY0" fmla="*/ 4776677 h 4778052"/>
                  <a:gd name="connsiteX1" fmla="*/ 2591277 w 3018571"/>
                  <a:gd name="connsiteY1" fmla="*/ 3811826 h 4778052"/>
                  <a:gd name="connsiteX2" fmla="*/ 2984730 w 3018571"/>
                  <a:gd name="connsiteY2" fmla="*/ 2584107 h 4778052"/>
                  <a:gd name="connsiteX3" fmla="*/ 2466168 w 3018571"/>
                  <a:gd name="connsiteY3" fmla="*/ 1202817 h 4778052"/>
                  <a:gd name="connsiteX4" fmla="*/ 1720373 w 3018571"/>
                  <a:gd name="connsiteY4" fmla="*/ 11 h 4778052"/>
                  <a:gd name="connsiteX5" fmla="*/ 440974 w 3018571"/>
                  <a:gd name="connsiteY5" fmla="*/ 1547522 h 4778052"/>
                  <a:gd name="connsiteX6" fmla="*/ 238116 w 3018571"/>
                  <a:gd name="connsiteY6" fmla="*/ 2690858 h 4778052"/>
                  <a:gd name="connsiteX7" fmla="*/ 359985 w 3018571"/>
                  <a:gd name="connsiteY7" fmla="*/ 3853863 h 4778052"/>
                  <a:gd name="connsiteX8" fmla="*/ 1752691 w 3018571"/>
                  <a:gd name="connsiteY8" fmla="*/ 4776754 h 4778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18571" h="4778052">
                    <a:moveTo>
                      <a:pt x="1752691" y="4776677"/>
                    </a:moveTo>
                    <a:cubicBezTo>
                      <a:pt x="2216181" y="4812235"/>
                      <a:pt x="2306966" y="4149435"/>
                      <a:pt x="2591277" y="3811826"/>
                    </a:cubicBezTo>
                    <a:cubicBezTo>
                      <a:pt x="2825220" y="3533917"/>
                      <a:pt x="3119172" y="2944162"/>
                      <a:pt x="2984730" y="2584107"/>
                    </a:cubicBezTo>
                    <a:cubicBezTo>
                      <a:pt x="2815579" y="2131107"/>
                      <a:pt x="2808174" y="1486896"/>
                      <a:pt x="2466168" y="1202817"/>
                    </a:cubicBezTo>
                    <a:cubicBezTo>
                      <a:pt x="2189185" y="972730"/>
                      <a:pt x="2101099" y="-3845"/>
                      <a:pt x="1720373" y="11"/>
                    </a:cubicBezTo>
                    <a:cubicBezTo>
                      <a:pt x="1244079" y="4794"/>
                      <a:pt x="830648" y="1354614"/>
                      <a:pt x="440974" y="1547522"/>
                    </a:cubicBezTo>
                    <a:cubicBezTo>
                      <a:pt x="-382030" y="1955091"/>
                      <a:pt x="190216" y="2298408"/>
                      <a:pt x="238116" y="2690858"/>
                    </a:cubicBezTo>
                    <a:cubicBezTo>
                      <a:pt x="294422" y="3162909"/>
                      <a:pt x="16205" y="3569861"/>
                      <a:pt x="359985" y="3853863"/>
                    </a:cubicBezTo>
                    <a:cubicBezTo>
                      <a:pt x="635965" y="4081944"/>
                      <a:pt x="1362169" y="4746827"/>
                      <a:pt x="1752691" y="47767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59FCA64F-AE31-81A3-19DE-338F3FFE4D81}"/>
                  </a:ext>
                </a:extLst>
              </p:cNvPr>
              <p:cNvSpPr/>
              <p:nvPr/>
            </p:nvSpPr>
            <p:spPr>
              <a:xfrm>
                <a:off x="4484173" y="1705758"/>
                <a:ext cx="3036493" cy="4605873"/>
              </a:xfrm>
              <a:custGeom>
                <a:avLst/>
                <a:gdLst>
                  <a:gd name="connsiteX0" fmla="*/ 1734082 w 3036493"/>
                  <a:gd name="connsiteY0" fmla="*/ 4601058 h 4605873"/>
                  <a:gd name="connsiteX1" fmla="*/ 2664764 w 3036493"/>
                  <a:gd name="connsiteY1" fmla="*/ 3753833 h 4605873"/>
                  <a:gd name="connsiteX2" fmla="*/ 2997591 w 3036493"/>
                  <a:gd name="connsiteY2" fmla="*/ 2499272 h 4605873"/>
                  <a:gd name="connsiteX3" fmla="*/ 2504559 w 3036493"/>
                  <a:gd name="connsiteY3" fmla="*/ 1097465 h 4605873"/>
                  <a:gd name="connsiteX4" fmla="*/ 1649930 w 3036493"/>
                  <a:gd name="connsiteY4" fmla="*/ 100 h 4605873"/>
                  <a:gd name="connsiteX5" fmla="*/ 449901 w 3036493"/>
                  <a:gd name="connsiteY5" fmla="*/ 1487524 h 4605873"/>
                  <a:gd name="connsiteX6" fmla="*/ 171221 w 3036493"/>
                  <a:gd name="connsiteY6" fmla="*/ 2663410 h 4605873"/>
                  <a:gd name="connsiteX7" fmla="*/ 311988 w 3036493"/>
                  <a:gd name="connsiteY7" fmla="*/ 3832586 h 4605873"/>
                  <a:gd name="connsiteX8" fmla="*/ 1734159 w 3036493"/>
                  <a:gd name="connsiteY8" fmla="*/ 4601135 h 46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36493" h="4605873">
                    <a:moveTo>
                      <a:pt x="1734082" y="4601058"/>
                    </a:moveTo>
                    <a:cubicBezTo>
                      <a:pt x="2177440" y="4664460"/>
                      <a:pt x="2384618" y="4086814"/>
                      <a:pt x="2664764" y="3753833"/>
                    </a:cubicBezTo>
                    <a:cubicBezTo>
                      <a:pt x="2906420" y="3466283"/>
                      <a:pt x="3128562" y="2867271"/>
                      <a:pt x="2997591" y="2499272"/>
                    </a:cubicBezTo>
                    <a:cubicBezTo>
                      <a:pt x="2840240" y="2056917"/>
                      <a:pt x="2841089" y="1377070"/>
                      <a:pt x="2504559" y="1097465"/>
                    </a:cubicBezTo>
                    <a:cubicBezTo>
                      <a:pt x="2217549" y="859048"/>
                      <a:pt x="2037290" y="-10699"/>
                      <a:pt x="1649930" y="100"/>
                    </a:cubicBezTo>
                    <a:cubicBezTo>
                      <a:pt x="1187597" y="12981"/>
                      <a:pt x="808491" y="1275410"/>
                      <a:pt x="449901" y="1487524"/>
                    </a:cubicBezTo>
                    <a:cubicBezTo>
                      <a:pt x="-320113" y="1942838"/>
                      <a:pt x="120622" y="2268337"/>
                      <a:pt x="171221" y="2663410"/>
                    </a:cubicBezTo>
                    <a:cubicBezTo>
                      <a:pt x="229996" y="3121963"/>
                      <a:pt x="-26007" y="3553212"/>
                      <a:pt x="311988" y="3832586"/>
                    </a:cubicBezTo>
                    <a:cubicBezTo>
                      <a:pt x="597533" y="4068688"/>
                      <a:pt x="1324122" y="4542514"/>
                      <a:pt x="1734159" y="460113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A572105C-D4BC-6FD8-E981-A27C974AFD8A}"/>
                  </a:ext>
                </a:extLst>
              </p:cNvPr>
              <p:cNvSpPr/>
              <p:nvPr/>
            </p:nvSpPr>
            <p:spPr>
              <a:xfrm>
                <a:off x="4477865" y="1783678"/>
                <a:ext cx="3064583" cy="4435839"/>
              </a:xfrm>
              <a:custGeom>
                <a:avLst/>
                <a:gdLst>
                  <a:gd name="connsiteX0" fmla="*/ 1723421 w 3064583"/>
                  <a:gd name="connsiteY0" fmla="*/ 4425487 h 4435839"/>
                  <a:gd name="connsiteX1" fmla="*/ 2746122 w 3064583"/>
                  <a:gd name="connsiteY1" fmla="*/ 3695890 h 4435839"/>
                  <a:gd name="connsiteX2" fmla="*/ 3018400 w 3064583"/>
                  <a:gd name="connsiteY2" fmla="*/ 2414487 h 4435839"/>
                  <a:gd name="connsiteX3" fmla="*/ 2550822 w 3064583"/>
                  <a:gd name="connsiteY3" fmla="*/ 992240 h 4435839"/>
                  <a:gd name="connsiteX4" fmla="*/ 1587359 w 3064583"/>
                  <a:gd name="connsiteY4" fmla="*/ 315 h 4435839"/>
                  <a:gd name="connsiteX5" fmla="*/ 466700 w 3064583"/>
                  <a:gd name="connsiteY5" fmla="*/ 1427576 h 4435839"/>
                  <a:gd name="connsiteX6" fmla="*/ 112198 w 3064583"/>
                  <a:gd name="connsiteY6" fmla="*/ 2635935 h 4435839"/>
                  <a:gd name="connsiteX7" fmla="*/ 271940 w 3064583"/>
                  <a:gd name="connsiteY7" fmla="*/ 3811281 h 4435839"/>
                  <a:gd name="connsiteX8" fmla="*/ 1723498 w 3064583"/>
                  <a:gd name="connsiteY8" fmla="*/ 4425487 h 4435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64583" h="4435839">
                    <a:moveTo>
                      <a:pt x="1723421" y="4425487"/>
                    </a:moveTo>
                    <a:cubicBezTo>
                      <a:pt x="2146185" y="4513187"/>
                      <a:pt x="2470296" y="4024167"/>
                      <a:pt x="2746122" y="3695890"/>
                    </a:cubicBezTo>
                    <a:cubicBezTo>
                      <a:pt x="2995492" y="3398699"/>
                      <a:pt x="3145592" y="2790508"/>
                      <a:pt x="3018400" y="2414487"/>
                    </a:cubicBezTo>
                    <a:cubicBezTo>
                      <a:pt x="2872465" y="1983084"/>
                      <a:pt x="2881952" y="1267371"/>
                      <a:pt x="2550822" y="992240"/>
                    </a:cubicBezTo>
                    <a:cubicBezTo>
                      <a:pt x="2253785" y="745493"/>
                      <a:pt x="1981275" y="-17734"/>
                      <a:pt x="1587359" y="315"/>
                    </a:cubicBezTo>
                    <a:cubicBezTo>
                      <a:pt x="1138987" y="20832"/>
                      <a:pt x="794205" y="1197181"/>
                      <a:pt x="466700" y="1427576"/>
                    </a:cubicBezTo>
                    <a:cubicBezTo>
                      <a:pt x="-250479" y="1932100"/>
                      <a:pt x="58205" y="2238316"/>
                      <a:pt x="112198" y="2635935"/>
                    </a:cubicBezTo>
                    <a:cubicBezTo>
                      <a:pt x="172593" y="3081144"/>
                      <a:pt x="-60347" y="3536534"/>
                      <a:pt x="271940" y="3811281"/>
                    </a:cubicBezTo>
                    <a:cubicBezTo>
                      <a:pt x="566972" y="4055483"/>
                      <a:pt x="1293253" y="4336245"/>
                      <a:pt x="1723498" y="442548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1C157C89-63C6-D473-4B27-E4DDF547C0F3}"/>
                  </a:ext>
                </a:extLst>
              </p:cNvPr>
              <p:cNvSpPr/>
              <p:nvPr/>
            </p:nvSpPr>
            <p:spPr>
              <a:xfrm>
                <a:off x="4460130" y="1861400"/>
                <a:ext cx="3107969" cy="4268490"/>
              </a:xfrm>
              <a:custGeom>
                <a:avLst/>
                <a:gdLst>
                  <a:gd name="connsiteX0" fmla="*/ 1724263 w 3107969"/>
                  <a:gd name="connsiteY0" fmla="*/ 4250116 h 4268490"/>
                  <a:gd name="connsiteX1" fmla="*/ 2838983 w 3107969"/>
                  <a:gd name="connsiteY1" fmla="*/ 3638145 h 4268490"/>
                  <a:gd name="connsiteX2" fmla="*/ 3050712 w 3107969"/>
                  <a:gd name="connsiteY2" fmla="*/ 2329900 h 4268490"/>
                  <a:gd name="connsiteX3" fmla="*/ 2608666 w 3107969"/>
                  <a:gd name="connsiteY3" fmla="*/ 887212 h 4268490"/>
                  <a:gd name="connsiteX4" fmla="*/ 1536291 w 3107969"/>
                  <a:gd name="connsiteY4" fmla="*/ 728 h 4268490"/>
                  <a:gd name="connsiteX5" fmla="*/ 495001 w 3107969"/>
                  <a:gd name="connsiteY5" fmla="*/ 1367826 h 4268490"/>
                  <a:gd name="connsiteX6" fmla="*/ 64601 w 3107969"/>
                  <a:gd name="connsiteY6" fmla="*/ 2608657 h 4268490"/>
                  <a:gd name="connsiteX7" fmla="*/ 243317 w 3107969"/>
                  <a:gd name="connsiteY7" fmla="*/ 3790251 h 4268490"/>
                  <a:gd name="connsiteX8" fmla="*/ 1724340 w 3107969"/>
                  <a:gd name="connsiteY8" fmla="*/ 4250116 h 4268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07969" h="4268490">
                    <a:moveTo>
                      <a:pt x="1724263" y="4250116"/>
                    </a:moveTo>
                    <a:cubicBezTo>
                      <a:pt x="2126510" y="4359027"/>
                      <a:pt x="2567400" y="3961794"/>
                      <a:pt x="2838983" y="3638145"/>
                    </a:cubicBezTo>
                    <a:cubicBezTo>
                      <a:pt x="3096066" y="3331235"/>
                      <a:pt x="3173893" y="2714020"/>
                      <a:pt x="3050712" y="2329900"/>
                    </a:cubicBezTo>
                    <a:cubicBezTo>
                      <a:pt x="2915808" y="1909528"/>
                      <a:pt x="2934396" y="1157793"/>
                      <a:pt x="2608666" y="887212"/>
                    </a:cubicBezTo>
                    <a:cubicBezTo>
                      <a:pt x="2301601" y="632135"/>
                      <a:pt x="1936918" y="-24880"/>
                      <a:pt x="1536291" y="728"/>
                    </a:cubicBezTo>
                    <a:cubicBezTo>
                      <a:pt x="1101957" y="28496"/>
                      <a:pt x="791576" y="1119844"/>
                      <a:pt x="495001" y="1367826"/>
                    </a:cubicBezTo>
                    <a:cubicBezTo>
                      <a:pt x="-169265" y="1923180"/>
                      <a:pt x="7215" y="2208570"/>
                      <a:pt x="64601" y="2608657"/>
                    </a:cubicBezTo>
                    <a:cubicBezTo>
                      <a:pt x="126539" y="3040445"/>
                      <a:pt x="-83262" y="3520055"/>
                      <a:pt x="243317" y="3790251"/>
                    </a:cubicBezTo>
                    <a:cubicBezTo>
                      <a:pt x="547914" y="4042475"/>
                      <a:pt x="1273500" y="4128092"/>
                      <a:pt x="1724340" y="42501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B1B8BF82-0703-B333-1B93-585D737BDBF4}"/>
                  </a:ext>
                </a:extLst>
              </p:cNvPr>
              <p:cNvSpPr/>
              <p:nvPr/>
            </p:nvSpPr>
            <p:spPr>
              <a:xfrm>
                <a:off x="4426209" y="1938811"/>
                <a:ext cx="3173562" cy="4104897"/>
              </a:xfrm>
              <a:custGeom>
                <a:avLst/>
                <a:gdLst>
                  <a:gd name="connsiteX0" fmla="*/ 1741215 w 3173562"/>
                  <a:gd name="connsiteY0" fmla="*/ 4075055 h 4104897"/>
                  <a:gd name="connsiteX1" fmla="*/ 2947955 w 3173562"/>
                  <a:gd name="connsiteY1" fmla="*/ 3580712 h 4104897"/>
                  <a:gd name="connsiteX2" fmla="*/ 3099057 w 3173562"/>
                  <a:gd name="connsiteY2" fmla="*/ 2245625 h 4104897"/>
                  <a:gd name="connsiteX3" fmla="*/ 2682464 w 3173562"/>
                  <a:gd name="connsiteY3" fmla="*/ 782497 h 4104897"/>
                  <a:gd name="connsiteX4" fmla="*/ 1501255 w 3173562"/>
                  <a:gd name="connsiteY4" fmla="*/ 1452 h 4104897"/>
                  <a:gd name="connsiteX5" fmla="*/ 539335 w 3173562"/>
                  <a:gd name="connsiteY5" fmla="*/ 1308387 h 4104897"/>
                  <a:gd name="connsiteX6" fmla="*/ 33114 w 3173562"/>
                  <a:gd name="connsiteY6" fmla="*/ 2581691 h 4104897"/>
                  <a:gd name="connsiteX7" fmla="*/ 230727 w 3173562"/>
                  <a:gd name="connsiteY7" fmla="*/ 3769455 h 4104897"/>
                  <a:gd name="connsiteX8" fmla="*/ 1741215 w 3173562"/>
                  <a:gd name="connsiteY8" fmla="*/ 4074978 h 4104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73562" h="4104897">
                    <a:moveTo>
                      <a:pt x="1741215" y="4075055"/>
                    </a:moveTo>
                    <a:cubicBezTo>
                      <a:pt x="2123407" y="4202555"/>
                      <a:pt x="2680613" y="3899655"/>
                      <a:pt x="2947955" y="3580712"/>
                    </a:cubicBezTo>
                    <a:cubicBezTo>
                      <a:pt x="3212750" y="3264160"/>
                      <a:pt x="3218073" y="2637921"/>
                      <a:pt x="3099057" y="2245625"/>
                    </a:cubicBezTo>
                    <a:cubicBezTo>
                      <a:pt x="2974874" y="1836359"/>
                      <a:pt x="3002796" y="1048604"/>
                      <a:pt x="2682464" y="782497"/>
                    </a:cubicBezTo>
                    <a:cubicBezTo>
                      <a:pt x="2365449" y="519089"/>
                      <a:pt x="1908516" y="-31946"/>
                      <a:pt x="1501255" y="1452"/>
                    </a:cubicBezTo>
                    <a:cubicBezTo>
                      <a:pt x="1080960" y="36008"/>
                      <a:pt x="805288" y="1043668"/>
                      <a:pt x="539335" y="1308387"/>
                    </a:cubicBezTo>
                    <a:cubicBezTo>
                      <a:pt x="-71324" y="1916191"/>
                      <a:pt x="-27821" y="2179059"/>
                      <a:pt x="33114" y="2581691"/>
                    </a:cubicBezTo>
                    <a:cubicBezTo>
                      <a:pt x="96440" y="3000135"/>
                      <a:pt x="-90144" y="3503888"/>
                      <a:pt x="230727" y="3769455"/>
                    </a:cubicBezTo>
                    <a:cubicBezTo>
                      <a:pt x="544811" y="4029701"/>
                      <a:pt x="1270089" y="3917782"/>
                      <a:pt x="1741215" y="40749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CF9438C0-CD4B-3FF7-6C9B-2A32BE77A15C}"/>
                  </a:ext>
                </a:extLst>
              </p:cNvPr>
              <p:cNvSpPr/>
              <p:nvPr/>
            </p:nvSpPr>
            <p:spPr>
              <a:xfrm>
                <a:off x="4376099" y="2015664"/>
                <a:ext cx="3263713" cy="3947335"/>
              </a:xfrm>
              <a:custGeom>
                <a:avLst/>
                <a:gdLst>
                  <a:gd name="connsiteX0" fmla="*/ 1774433 w 3263713"/>
                  <a:gd name="connsiteY0" fmla="*/ 3900552 h 3947335"/>
                  <a:gd name="connsiteX1" fmla="*/ 3073192 w 3263713"/>
                  <a:gd name="connsiteY1" fmla="*/ 3523836 h 3947335"/>
                  <a:gd name="connsiteX2" fmla="*/ 3163745 w 3263713"/>
                  <a:gd name="connsiteY2" fmla="*/ 2161907 h 3947335"/>
                  <a:gd name="connsiteX3" fmla="*/ 2772683 w 3263713"/>
                  <a:gd name="connsiteY3" fmla="*/ 678262 h 3947335"/>
                  <a:gd name="connsiteX4" fmla="*/ 1482563 w 3263713"/>
                  <a:gd name="connsiteY4" fmla="*/ 2735 h 3947335"/>
                  <a:gd name="connsiteX5" fmla="*/ 600012 w 3263713"/>
                  <a:gd name="connsiteY5" fmla="*/ 1249583 h 3947335"/>
                  <a:gd name="connsiteX6" fmla="*/ 17970 w 3263713"/>
                  <a:gd name="connsiteY6" fmla="*/ 2555437 h 3947335"/>
                  <a:gd name="connsiteX7" fmla="*/ 234558 w 3263713"/>
                  <a:gd name="connsiteY7" fmla="*/ 3749449 h 3947335"/>
                  <a:gd name="connsiteX8" fmla="*/ 1774433 w 3263713"/>
                  <a:gd name="connsiteY8" fmla="*/ 3900629 h 394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3713" h="3947335">
                    <a:moveTo>
                      <a:pt x="1774433" y="3900552"/>
                    </a:moveTo>
                    <a:cubicBezTo>
                      <a:pt x="2137188" y="4044635"/>
                      <a:pt x="2810169" y="3838151"/>
                      <a:pt x="3073192" y="3523836"/>
                    </a:cubicBezTo>
                    <a:cubicBezTo>
                      <a:pt x="3345701" y="3197643"/>
                      <a:pt x="3278210" y="2562533"/>
                      <a:pt x="3163745" y="2161907"/>
                    </a:cubicBezTo>
                    <a:cubicBezTo>
                      <a:pt x="3049975" y="1763902"/>
                      <a:pt x="3087538" y="939895"/>
                      <a:pt x="2772683" y="678262"/>
                    </a:cubicBezTo>
                    <a:cubicBezTo>
                      <a:pt x="2445641" y="406524"/>
                      <a:pt x="1896534" y="-38994"/>
                      <a:pt x="1482563" y="2735"/>
                    </a:cubicBezTo>
                    <a:cubicBezTo>
                      <a:pt x="1068593" y="44463"/>
                      <a:pt x="835884" y="968666"/>
                      <a:pt x="600012" y="1249583"/>
                    </a:cubicBezTo>
                    <a:cubicBezTo>
                      <a:pt x="44118" y="1911380"/>
                      <a:pt x="-46590" y="2150260"/>
                      <a:pt x="17970" y="2555437"/>
                    </a:cubicBezTo>
                    <a:cubicBezTo>
                      <a:pt x="82530" y="2960460"/>
                      <a:pt x="-80606" y="3488355"/>
                      <a:pt x="234558" y="3749449"/>
                    </a:cubicBezTo>
                    <a:cubicBezTo>
                      <a:pt x="558206" y="4017716"/>
                      <a:pt x="1283870" y="3705792"/>
                      <a:pt x="1774433" y="39006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28422882-3725-C3CC-C8B7-18C6AD735CE1}"/>
                  </a:ext>
                </a:extLst>
              </p:cNvPr>
              <p:cNvSpPr/>
              <p:nvPr/>
            </p:nvSpPr>
            <p:spPr>
              <a:xfrm>
                <a:off x="4316854" y="2091550"/>
                <a:ext cx="3371549" cy="3814147"/>
              </a:xfrm>
              <a:custGeom>
                <a:avLst/>
                <a:gdLst>
                  <a:gd name="connsiteX0" fmla="*/ 1816709 w 3371549"/>
                  <a:gd name="connsiteY0" fmla="*/ 3727016 h 3814147"/>
                  <a:gd name="connsiteX1" fmla="*/ 3207564 w 3371549"/>
                  <a:gd name="connsiteY1" fmla="*/ 3467928 h 3814147"/>
                  <a:gd name="connsiteX2" fmla="*/ 3237568 w 3371549"/>
                  <a:gd name="connsiteY2" fmla="*/ 2079156 h 3814147"/>
                  <a:gd name="connsiteX3" fmla="*/ 2871960 w 3371549"/>
                  <a:gd name="connsiteY3" fmla="*/ 575071 h 3814147"/>
                  <a:gd name="connsiteX4" fmla="*/ 1473006 w 3371549"/>
                  <a:gd name="connsiteY4" fmla="*/ 4984 h 3814147"/>
                  <a:gd name="connsiteX5" fmla="*/ 669824 w 3371549"/>
                  <a:gd name="connsiteY5" fmla="*/ 1191668 h 3814147"/>
                  <a:gd name="connsiteX6" fmla="*/ 11883 w 3371549"/>
                  <a:gd name="connsiteY6" fmla="*/ 2529996 h 3814147"/>
                  <a:gd name="connsiteX7" fmla="*/ 247369 w 3371549"/>
                  <a:gd name="connsiteY7" fmla="*/ 3730178 h 3814147"/>
                  <a:gd name="connsiteX8" fmla="*/ 1816709 w 3371549"/>
                  <a:gd name="connsiteY8" fmla="*/ 3727016 h 3814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1549" h="3814147">
                    <a:moveTo>
                      <a:pt x="1816709" y="3727016"/>
                    </a:moveTo>
                    <a:cubicBezTo>
                      <a:pt x="2160874" y="3886063"/>
                      <a:pt x="2948707" y="3777615"/>
                      <a:pt x="3207564" y="3467928"/>
                    </a:cubicBezTo>
                    <a:cubicBezTo>
                      <a:pt x="3487786" y="3132092"/>
                      <a:pt x="3347173" y="2488190"/>
                      <a:pt x="3237568" y="2079156"/>
                    </a:cubicBezTo>
                    <a:cubicBezTo>
                      <a:pt x="3133902" y="1692567"/>
                      <a:pt x="3181416" y="832231"/>
                      <a:pt x="2871960" y="575071"/>
                    </a:cubicBezTo>
                    <a:cubicBezTo>
                      <a:pt x="2534890" y="295002"/>
                      <a:pt x="1893533" y="-45307"/>
                      <a:pt x="1473006" y="4984"/>
                    </a:cubicBezTo>
                    <a:cubicBezTo>
                      <a:pt x="1080710" y="51880"/>
                      <a:pt x="876308" y="895248"/>
                      <a:pt x="669824" y="1191668"/>
                    </a:cubicBezTo>
                    <a:cubicBezTo>
                      <a:pt x="170313" y="1908693"/>
                      <a:pt x="-56379" y="2122427"/>
                      <a:pt x="11883" y="2529996"/>
                    </a:cubicBezTo>
                    <a:cubicBezTo>
                      <a:pt x="80145" y="2937564"/>
                      <a:pt x="-62010" y="3473713"/>
                      <a:pt x="247369" y="3730178"/>
                    </a:cubicBezTo>
                    <a:cubicBezTo>
                      <a:pt x="580505" y="4006544"/>
                      <a:pt x="1307942" y="3491916"/>
                      <a:pt x="1816709" y="37270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CBD4D588-217C-5DC2-EDB7-DD4ED52CAC38}"/>
                  </a:ext>
                </a:extLst>
              </p:cNvPr>
              <p:cNvSpPr/>
              <p:nvPr/>
            </p:nvSpPr>
            <p:spPr>
              <a:xfrm>
                <a:off x="4254170" y="2165535"/>
                <a:ext cx="3489733" cy="3780696"/>
              </a:xfrm>
              <a:custGeom>
                <a:avLst/>
                <a:gdLst>
                  <a:gd name="connsiteX0" fmla="*/ 1862424 w 3489733"/>
                  <a:gd name="connsiteY0" fmla="*/ 3555381 h 3780696"/>
                  <a:gd name="connsiteX1" fmla="*/ 3345298 w 3489733"/>
                  <a:gd name="connsiteY1" fmla="*/ 3413920 h 3780696"/>
                  <a:gd name="connsiteX2" fmla="*/ 3314677 w 3489733"/>
                  <a:gd name="connsiteY2" fmla="*/ 1998383 h 3780696"/>
                  <a:gd name="connsiteX3" fmla="*/ 2974599 w 3489733"/>
                  <a:gd name="connsiteY3" fmla="*/ 473858 h 3780696"/>
                  <a:gd name="connsiteX4" fmla="*/ 1466734 w 3489733"/>
                  <a:gd name="connsiteY4" fmla="*/ 9211 h 3780696"/>
                  <a:gd name="connsiteX5" fmla="*/ 742922 w 3489733"/>
                  <a:gd name="connsiteY5" fmla="*/ 1135733 h 3780696"/>
                  <a:gd name="connsiteX6" fmla="*/ 9159 w 3489733"/>
                  <a:gd name="connsiteY6" fmla="*/ 2506532 h 3780696"/>
                  <a:gd name="connsiteX7" fmla="*/ 263620 w 3489733"/>
                  <a:gd name="connsiteY7" fmla="*/ 3712886 h 3780696"/>
                  <a:gd name="connsiteX8" fmla="*/ 1862424 w 3489733"/>
                  <a:gd name="connsiteY8" fmla="*/ 3555381 h 3780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9733" h="3780696">
                    <a:moveTo>
                      <a:pt x="1862424" y="3555381"/>
                    </a:moveTo>
                    <a:cubicBezTo>
                      <a:pt x="2188927" y="3728158"/>
                      <a:pt x="3090761" y="3718902"/>
                      <a:pt x="3345298" y="3413920"/>
                    </a:cubicBezTo>
                    <a:cubicBezTo>
                      <a:pt x="3633311" y="3068443"/>
                      <a:pt x="3419114" y="2415825"/>
                      <a:pt x="3314677" y="1998383"/>
                    </a:cubicBezTo>
                    <a:cubicBezTo>
                      <a:pt x="3220807" y="1623210"/>
                      <a:pt x="3278656" y="726467"/>
                      <a:pt x="2974599" y="473858"/>
                    </a:cubicBezTo>
                    <a:cubicBezTo>
                      <a:pt x="2627580" y="185459"/>
                      <a:pt x="1893894" y="-50104"/>
                      <a:pt x="1466734" y="9211"/>
                    </a:cubicBezTo>
                    <a:cubicBezTo>
                      <a:pt x="1088321" y="61816"/>
                      <a:pt x="920789" y="824040"/>
                      <a:pt x="742922" y="1135733"/>
                    </a:cubicBezTo>
                    <a:cubicBezTo>
                      <a:pt x="301800" y="1908755"/>
                      <a:pt x="-63037" y="2096496"/>
                      <a:pt x="9159" y="2506532"/>
                    </a:cubicBezTo>
                    <a:cubicBezTo>
                      <a:pt x="75802" y="2884945"/>
                      <a:pt x="-40051" y="3461048"/>
                      <a:pt x="263620" y="3712886"/>
                    </a:cubicBezTo>
                    <a:cubicBezTo>
                      <a:pt x="606320" y="3997273"/>
                      <a:pt x="1337228" y="3277473"/>
                      <a:pt x="1862424" y="355538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258D0328-E310-5F95-CAA4-4674513A648F}"/>
                  </a:ext>
                </a:extLst>
              </p:cNvPr>
              <p:cNvSpPr/>
              <p:nvPr/>
            </p:nvSpPr>
            <p:spPr>
              <a:xfrm>
                <a:off x="4190357" y="2234963"/>
                <a:ext cx="3614123" cy="3758010"/>
              </a:xfrm>
              <a:custGeom>
                <a:avLst/>
                <a:gdLst>
                  <a:gd name="connsiteX0" fmla="*/ 1909345 w 3614123"/>
                  <a:gd name="connsiteY0" fmla="*/ 3388303 h 3758010"/>
                  <a:gd name="connsiteX1" fmla="*/ 3484238 w 3614123"/>
                  <a:gd name="connsiteY1" fmla="*/ 3364469 h 3758010"/>
                  <a:gd name="connsiteX2" fmla="*/ 3393067 w 3614123"/>
                  <a:gd name="connsiteY2" fmla="*/ 1922090 h 3758010"/>
                  <a:gd name="connsiteX3" fmla="*/ 3078443 w 3614123"/>
                  <a:gd name="connsiteY3" fmla="*/ 377125 h 3758010"/>
                  <a:gd name="connsiteX4" fmla="*/ 1461744 w 3614123"/>
                  <a:gd name="connsiteY4" fmla="*/ 17919 h 3758010"/>
                  <a:gd name="connsiteX5" fmla="*/ 817301 w 3614123"/>
                  <a:gd name="connsiteY5" fmla="*/ 1084276 h 3758010"/>
                  <a:gd name="connsiteX6" fmla="*/ 7718 w 3614123"/>
                  <a:gd name="connsiteY6" fmla="*/ 2487549 h 3758010"/>
                  <a:gd name="connsiteX7" fmla="*/ 281153 w 3614123"/>
                  <a:gd name="connsiteY7" fmla="*/ 3700150 h 3758010"/>
                  <a:gd name="connsiteX8" fmla="*/ 1909345 w 3614123"/>
                  <a:gd name="connsiteY8" fmla="*/ 3388303 h 3758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14123" h="3758010">
                    <a:moveTo>
                      <a:pt x="1909345" y="3388303"/>
                    </a:moveTo>
                    <a:cubicBezTo>
                      <a:pt x="2219418" y="3574116"/>
                      <a:pt x="3233943" y="3664824"/>
                      <a:pt x="3484238" y="3364469"/>
                    </a:cubicBezTo>
                    <a:cubicBezTo>
                      <a:pt x="3779964" y="3009351"/>
                      <a:pt x="3491874" y="2348094"/>
                      <a:pt x="3393067" y="1922090"/>
                    </a:cubicBezTo>
                    <a:cubicBezTo>
                      <a:pt x="3308684" y="1558333"/>
                      <a:pt x="3377101" y="625260"/>
                      <a:pt x="3078443" y="377125"/>
                    </a:cubicBezTo>
                    <a:cubicBezTo>
                      <a:pt x="2721397" y="80473"/>
                      <a:pt x="1895307" y="-50884"/>
                      <a:pt x="1461744" y="17919"/>
                    </a:cubicBezTo>
                    <a:cubicBezTo>
                      <a:pt x="1097138" y="75845"/>
                      <a:pt x="967324" y="757388"/>
                      <a:pt x="817301" y="1084276"/>
                    </a:cubicBezTo>
                    <a:cubicBezTo>
                      <a:pt x="436652" y="1913683"/>
                      <a:pt x="-68566" y="2075121"/>
                      <a:pt x="7718" y="2487549"/>
                    </a:cubicBezTo>
                    <a:cubicBezTo>
                      <a:pt x="75286" y="2852695"/>
                      <a:pt x="-16810" y="3452863"/>
                      <a:pt x="281153" y="3700150"/>
                    </a:cubicBezTo>
                    <a:cubicBezTo>
                      <a:pt x="633340" y="3992560"/>
                      <a:pt x="1370034" y="3065041"/>
                      <a:pt x="1909345" y="3388303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2264E1B8-3B35-43AF-D3EC-E5646D6664D7}"/>
                  </a:ext>
                </a:extLst>
              </p:cNvPr>
              <p:cNvSpPr/>
              <p:nvPr/>
            </p:nvSpPr>
            <p:spPr>
              <a:xfrm>
                <a:off x="4125770" y="2293347"/>
                <a:ext cx="3742715" cy="3749606"/>
              </a:xfrm>
              <a:custGeom>
                <a:avLst/>
                <a:gdLst>
                  <a:gd name="connsiteX0" fmla="*/ 1956963 w 3742715"/>
                  <a:gd name="connsiteY0" fmla="*/ 3232269 h 3749606"/>
                  <a:gd name="connsiteX1" fmla="*/ 3623876 w 3742715"/>
                  <a:gd name="connsiteY1" fmla="*/ 3326063 h 3749606"/>
                  <a:gd name="connsiteX2" fmla="*/ 3472155 w 3742715"/>
                  <a:gd name="connsiteY2" fmla="*/ 1856842 h 3749606"/>
                  <a:gd name="connsiteX3" fmla="*/ 3183063 w 3742715"/>
                  <a:gd name="connsiteY3" fmla="*/ 291359 h 3749606"/>
                  <a:gd name="connsiteX4" fmla="*/ 1457529 w 3742715"/>
                  <a:gd name="connsiteY4" fmla="*/ 37593 h 3749606"/>
                  <a:gd name="connsiteX5" fmla="*/ 892456 w 3742715"/>
                  <a:gd name="connsiteY5" fmla="*/ 1043864 h 3749606"/>
                  <a:gd name="connsiteX6" fmla="*/ 6974 w 3742715"/>
                  <a:gd name="connsiteY6" fmla="*/ 2479687 h 3749606"/>
                  <a:gd name="connsiteX7" fmla="*/ 299306 w 3742715"/>
                  <a:gd name="connsiteY7" fmla="*/ 3698459 h 3749606"/>
                  <a:gd name="connsiteX8" fmla="*/ 1956963 w 3742715"/>
                  <a:gd name="connsiteY8" fmla="*/ 3232269 h 3749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42715" h="3749606">
                    <a:moveTo>
                      <a:pt x="1956963" y="3232269"/>
                    </a:moveTo>
                    <a:cubicBezTo>
                      <a:pt x="2251687" y="3430655"/>
                      <a:pt x="3377822" y="3621712"/>
                      <a:pt x="3623876" y="3326063"/>
                    </a:cubicBezTo>
                    <a:cubicBezTo>
                      <a:pt x="3927315" y="2961226"/>
                      <a:pt x="3564869" y="2291484"/>
                      <a:pt x="3472155" y="1856842"/>
                    </a:cubicBezTo>
                    <a:cubicBezTo>
                      <a:pt x="3397028" y="1504577"/>
                      <a:pt x="3476244" y="535021"/>
                      <a:pt x="3183063" y="291359"/>
                    </a:cubicBezTo>
                    <a:cubicBezTo>
                      <a:pt x="2815989" y="-13623"/>
                      <a:pt x="1897339" y="-41237"/>
                      <a:pt x="1457529" y="37593"/>
                    </a:cubicBezTo>
                    <a:cubicBezTo>
                      <a:pt x="1106653" y="100533"/>
                      <a:pt x="1015405" y="701550"/>
                      <a:pt x="892456" y="1043864"/>
                    </a:cubicBezTo>
                    <a:cubicBezTo>
                      <a:pt x="574361" y="1929346"/>
                      <a:pt x="-74247" y="2064945"/>
                      <a:pt x="6974" y="2479687"/>
                    </a:cubicBezTo>
                    <a:cubicBezTo>
                      <a:pt x="74696" y="2831643"/>
                      <a:pt x="7128" y="3455800"/>
                      <a:pt x="299306" y="3698459"/>
                    </a:cubicBezTo>
                    <a:cubicBezTo>
                      <a:pt x="661058" y="3998967"/>
                      <a:pt x="1405928" y="2861262"/>
                      <a:pt x="1956963" y="323226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41D55A60-DD56-CCF4-915C-D6DAAE692673}"/>
                  </a:ext>
                </a:extLst>
              </p:cNvPr>
              <p:cNvSpPr/>
              <p:nvPr/>
            </p:nvSpPr>
            <p:spPr>
              <a:xfrm>
                <a:off x="4061078" y="2330966"/>
                <a:ext cx="3873961" cy="3763840"/>
              </a:xfrm>
              <a:custGeom>
                <a:avLst/>
                <a:gdLst>
                  <a:gd name="connsiteX0" fmla="*/ 3763695 w 3873961"/>
                  <a:gd name="connsiteY0" fmla="*/ 3308421 h 3763840"/>
                  <a:gd name="connsiteX1" fmla="*/ 3551425 w 3873961"/>
                  <a:gd name="connsiteY1" fmla="*/ 1812358 h 3763840"/>
                  <a:gd name="connsiteX2" fmla="*/ 3287786 w 3873961"/>
                  <a:gd name="connsiteY2" fmla="*/ 226435 h 3763840"/>
                  <a:gd name="connsiteX3" fmla="*/ 1453342 w 3873961"/>
                  <a:gd name="connsiteY3" fmla="*/ 78186 h 3763840"/>
                  <a:gd name="connsiteX4" fmla="*/ 967638 w 3873961"/>
                  <a:gd name="connsiteY4" fmla="*/ 1024294 h 3763840"/>
                  <a:gd name="connsiteX5" fmla="*/ 6334 w 3873961"/>
                  <a:gd name="connsiteY5" fmla="*/ 2492590 h 3763840"/>
                  <a:gd name="connsiteX6" fmla="*/ 317642 w 3873961"/>
                  <a:gd name="connsiteY6" fmla="*/ 3717532 h 3763840"/>
                  <a:gd name="connsiteX7" fmla="*/ 2004763 w 3873961"/>
                  <a:gd name="connsiteY7" fmla="*/ 3096923 h 3763840"/>
                  <a:gd name="connsiteX8" fmla="*/ 3763772 w 3873961"/>
                  <a:gd name="connsiteY8" fmla="*/ 3308421 h 3763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73961" h="3763840">
                    <a:moveTo>
                      <a:pt x="3763695" y="3308421"/>
                    </a:moveTo>
                    <a:cubicBezTo>
                      <a:pt x="4074847" y="2933942"/>
                      <a:pt x="3637583" y="2255716"/>
                      <a:pt x="3551425" y="1812358"/>
                    </a:cubicBezTo>
                    <a:cubicBezTo>
                      <a:pt x="3485169" y="1471586"/>
                      <a:pt x="3575568" y="465623"/>
                      <a:pt x="3287786" y="226435"/>
                    </a:cubicBezTo>
                    <a:cubicBezTo>
                      <a:pt x="2910685" y="-86878"/>
                      <a:pt x="1899323" y="-11288"/>
                      <a:pt x="1453342" y="78186"/>
                    </a:cubicBezTo>
                    <a:cubicBezTo>
                      <a:pt x="1116041" y="145831"/>
                      <a:pt x="1064131" y="666245"/>
                      <a:pt x="967638" y="1024294"/>
                    </a:cubicBezTo>
                    <a:cubicBezTo>
                      <a:pt x="714026" y="1965311"/>
                      <a:pt x="-78589" y="2075380"/>
                      <a:pt x="6334" y="2492590"/>
                    </a:cubicBezTo>
                    <a:cubicBezTo>
                      <a:pt x="75291" y="2831202"/>
                      <a:pt x="31094" y="3479501"/>
                      <a:pt x="317642" y="3717532"/>
                    </a:cubicBezTo>
                    <a:cubicBezTo>
                      <a:pt x="688958" y="4026062"/>
                      <a:pt x="1444780" y="2676242"/>
                      <a:pt x="2004763" y="3096923"/>
                    </a:cubicBezTo>
                    <a:cubicBezTo>
                      <a:pt x="2285294" y="3307727"/>
                      <a:pt x="3521961" y="3599365"/>
                      <a:pt x="3763772" y="330842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</p:grpSp>
      <p:sp>
        <p:nvSpPr>
          <p:cNvPr id="77" name="Title 2">
            <a:extLst>
              <a:ext uri="{FF2B5EF4-FFF2-40B4-BE49-F238E27FC236}">
                <a16:creationId xmlns:a16="http://schemas.microsoft.com/office/drawing/2014/main" id="{6A2F34F7-7350-D881-66A6-36FC2FD4B395}"/>
              </a:ext>
            </a:extLst>
          </p:cNvPr>
          <p:cNvSpPr txBox="1">
            <a:spLocks/>
          </p:cNvSpPr>
          <p:nvPr/>
        </p:nvSpPr>
        <p:spPr>
          <a:xfrm>
            <a:off x="603040" y="232286"/>
            <a:ext cx="11018520" cy="861774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900" dirty="0">
                <a:solidFill>
                  <a:srgbClr val="8661C5"/>
                </a:solidFill>
              </a:rPr>
              <a:t>Multi-Agent Agentic RAG System</a:t>
            </a:r>
            <a:br>
              <a:rPr lang="en-US" dirty="0"/>
            </a:br>
            <a:r>
              <a:rPr lang="en-US" sz="2000" dirty="0">
                <a:latin typeface="+mn-lt"/>
              </a:rPr>
              <a:t>R+D Intelligent Assista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D7A306D-83AC-7D91-CD83-E51A34FF5A7F}"/>
              </a:ext>
            </a:extLst>
          </p:cNvPr>
          <p:cNvSpPr txBox="1"/>
          <p:nvPr/>
        </p:nvSpPr>
        <p:spPr>
          <a:xfrm>
            <a:off x="8822609" y="4019451"/>
            <a:ext cx="15001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zure OpenAI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kern="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 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rvice</a:t>
            </a:r>
          </a:p>
        </p:txBody>
      </p:sp>
    </p:spTree>
    <p:extLst>
      <p:ext uri="{BB962C8B-B14F-4D97-AF65-F5344CB8AC3E}">
        <p14:creationId xmlns:p14="http://schemas.microsoft.com/office/powerpoint/2010/main" val="3205287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08" grpId="0" animBg="1"/>
      <p:bldP spid="1033" grpId="0" animBg="1"/>
      <p:bldP spid="39" grpId="0" animBg="1"/>
      <p:bldP spid="4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48158B-D558-627E-A055-9BC05309CC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C01EDE3A-59E8-EC47-3A8B-E4A734064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6981742">
            <a:off x="-5413434" y="-4430150"/>
            <a:ext cx="8334992" cy="7408967"/>
            <a:chOff x="-1641318" y="-299489"/>
            <a:chExt cx="8683276" cy="7718554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5511A93-38BF-82B2-91BB-7323AAB80C85}"/>
                </a:ext>
              </a:extLst>
            </p:cNvPr>
            <p:cNvGrpSpPr/>
            <p:nvPr/>
          </p:nvGrpSpPr>
          <p:grpSpPr>
            <a:xfrm rot="13963223">
              <a:off x="-1235110" y="-252874"/>
              <a:ext cx="7671937" cy="7671942"/>
              <a:chOff x="-13073550" y="260470"/>
              <a:chExt cx="10868115" cy="10868116"/>
            </a:xfrm>
            <a:solidFill>
              <a:schemeClr val="bg1">
                <a:lumMod val="85000"/>
              </a:schemeClr>
            </a:solidFill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8E7A338D-2FE7-A102-9131-A7BA89993D28}"/>
                  </a:ext>
                </a:extLst>
              </p:cNvPr>
              <p:cNvGrpSpPr/>
              <p:nvPr/>
            </p:nvGrpSpPr>
            <p:grpSpPr>
              <a:xfrm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25" name="Graphic 124">
                  <a:extLst>
                    <a:ext uri="{FF2B5EF4-FFF2-40B4-BE49-F238E27FC236}">
                      <a16:creationId xmlns:a16="http://schemas.microsoft.com/office/drawing/2014/main" id="{ACB539CD-A303-691F-E6A1-733E25DF736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26" name="Graphic 125">
                  <a:extLst>
                    <a:ext uri="{FF2B5EF4-FFF2-40B4-BE49-F238E27FC236}">
                      <a16:creationId xmlns:a16="http://schemas.microsoft.com/office/drawing/2014/main" id="{6CCE3CD5-7007-A3B1-1B8E-C10FAD2B27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344A3E3B-BA07-DC2F-71DF-3FAF9BED87A3}"/>
                  </a:ext>
                </a:extLst>
              </p:cNvPr>
              <p:cNvGrpSpPr/>
              <p:nvPr/>
            </p:nvGrpSpPr>
            <p:grpSpPr>
              <a:xfrm rot="18000000"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23" name="Graphic 122">
                  <a:extLst>
                    <a:ext uri="{FF2B5EF4-FFF2-40B4-BE49-F238E27FC236}">
                      <a16:creationId xmlns:a16="http://schemas.microsoft.com/office/drawing/2014/main" id="{6C3F205F-1E45-F472-3AAE-F7E41933F4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24" name="Graphic 123">
                  <a:extLst>
                    <a:ext uri="{FF2B5EF4-FFF2-40B4-BE49-F238E27FC236}">
                      <a16:creationId xmlns:a16="http://schemas.microsoft.com/office/drawing/2014/main" id="{CBA272D9-5401-2BA6-4C9B-E94285E82E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533DB9C7-7DBE-3D9C-D109-42F040634572}"/>
                  </a:ext>
                </a:extLst>
              </p:cNvPr>
              <p:cNvGrpSpPr/>
              <p:nvPr/>
            </p:nvGrpSpPr>
            <p:grpSpPr>
              <a:xfrm rot="3600000">
                <a:off x="-13073550" y="3398291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21" name="Graphic 120">
                  <a:extLst>
                    <a:ext uri="{FF2B5EF4-FFF2-40B4-BE49-F238E27FC236}">
                      <a16:creationId xmlns:a16="http://schemas.microsoft.com/office/drawing/2014/main" id="{28261B1D-7A92-4D85-5008-6DF3CE07E4A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22" name="Graphic 121">
                  <a:extLst>
                    <a:ext uri="{FF2B5EF4-FFF2-40B4-BE49-F238E27FC236}">
                      <a16:creationId xmlns:a16="http://schemas.microsoft.com/office/drawing/2014/main" id="{F041D26E-D3A3-79C4-FACC-849A0D9FEAF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26" name="Graphic 5">
              <a:extLst>
                <a:ext uri="{FF2B5EF4-FFF2-40B4-BE49-F238E27FC236}">
                  <a16:creationId xmlns:a16="http://schemas.microsoft.com/office/drawing/2014/main" id="{43C84336-576D-9D96-C248-7C90A75B3C14}"/>
                </a:ext>
              </a:extLst>
            </p:cNvPr>
            <p:cNvGrpSpPr/>
            <p:nvPr/>
          </p:nvGrpSpPr>
          <p:grpSpPr>
            <a:xfrm rot="15746055">
              <a:off x="-177888" y="1123433"/>
              <a:ext cx="5330696" cy="5499097"/>
              <a:chOff x="4071312" y="2489702"/>
              <a:chExt cx="3527293" cy="3638722"/>
            </a:xfrm>
            <a:noFill/>
          </p:grpSpPr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D91DA3BB-33D5-6279-C941-892F971AE36A}"/>
                  </a:ext>
                </a:extLst>
              </p:cNvPr>
              <p:cNvSpPr/>
              <p:nvPr/>
            </p:nvSpPr>
            <p:spPr>
              <a:xfrm>
                <a:off x="4071312" y="2489702"/>
                <a:ext cx="3259151" cy="3638722"/>
              </a:xfrm>
              <a:custGeom>
                <a:avLst/>
                <a:gdLst>
                  <a:gd name="connsiteX0" fmla="*/ 3079707 w 3259151"/>
                  <a:gd name="connsiteY0" fmla="*/ 3021953 h 3638722"/>
                  <a:gd name="connsiteX1" fmla="*/ 3132080 w 3259151"/>
                  <a:gd name="connsiteY1" fmla="*/ 1787369 h 3638722"/>
                  <a:gd name="connsiteX2" fmla="*/ 3107243 w 3259151"/>
                  <a:gd name="connsiteY2" fmla="*/ 829383 h 3638722"/>
                  <a:gd name="connsiteX3" fmla="*/ 1658848 w 3259151"/>
                  <a:gd name="connsiteY3" fmla="*/ 4990 h 3638722"/>
                  <a:gd name="connsiteX4" fmla="*/ 849418 w 3259151"/>
                  <a:gd name="connsiteY4" fmla="*/ 1005939 h 3638722"/>
                  <a:gd name="connsiteX5" fmla="*/ 4585 w 3259151"/>
                  <a:gd name="connsiteY5" fmla="*/ 2043526 h 3638722"/>
                  <a:gd name="connsiteX6" fmla="*/ 820725 w 3259151"/>
                  <a:gd name="connsiteY6" fmla="*/ 2918441 h 3638722"/>
                  <a:gd name="connsiteX7" fmla="*/ 2033249 w 3259151"/>
                  <a:gd name="connsiteY7" fmla="*/ 3633846 h 3638722"/>
                  <a:gd name="connsiteX8" fmla="*/ 3079785 w 3259151"/>
                  <a:gd name="connsiteY8" fmla="*/ 3022030 h 3638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59151" h="3638722">
                    <a:moveTo>
                      <a:pt x="3079707" y="3021953"/>
                    </a:moveTo>
                    <a:cubicBezTo>
                      <a:pt x="3412226" y="2666372"/>
                      <a:pt x="3192167" y="2234970"/>
                      <a:pt x="3132080" y="1787369"/>
                    </a:cubicBezTo>
                    <a:cubicBezTo>
                      <a:pt x="3085955" y="1443358"/>
                      <a:pt x="3380525" y="1084923"/>
                      <a:pt x="3107243" y="829383"/>
                    </a:cubicBezTo>
                    <a:cubicBezTo>
                      <a:pt x="2749194" y="494473"/>
                      <a:pt x="2109225" y="-58259"/>
                      <a:pt x="1658848" y="4990"/>
                    </a:cubicBezTo>
                    <a:cubicBezTo>
                      <a:pt x="1318153" y="52812"/>
                      <a:pt x="1102645" y="735127"/>
                      <a:pt x="849418" y="1005939"/>
                    </a:cubicBezTo>
                    <a:cubicBezTo>
                      <a:pt x="515743" y="1362755"/>
                      <a:pt x="-56967" y="1594538"/>
                      <a:pt x="4585" y="2043526"/>
                    </a:cubicBezTo>
                    <a:cubicBezTo>
                      <a:pt x="51559" y="2385918"/>
                      <a:pt x="548678" y="2663981"/>
                      <a:pt x="820725" y="2918441"/>
                    </a:cubicBezTo>
                    <a:cubicBezTo>
                      <a:pt x="1173298" y="3248183"/>
                      <a:pt x="1589043" y="3690075"/>
                      <a:pt x="2033249" y="3633846"/>
                    </a:cubicBezTo>
                    <a:cubicBezTo>
                      <a:pt x="2381349" y="3589726"/>
                      <a:pt x="2821390" y="3298397"/>
                      <a:pt x="3079785" y="302203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B20BAED2-B71F-8492-BFF9-2445EA1B64A3}"/>
                  </a:ext>
                </a:extLst>
              </p:cNvPr>
              <p:cNvSpPr/>
              <p:nvPr/>
            </p:nvSpPr>
            <p:spPr>
              <a:xfrm>
                <a:off x="4109618" y="2534620"/>
                <a:ext cx="3220782" cy="3579817"/>
              </a:xfrm>
              <a:custGeom>
                <a:avLst/>
                <a:gdLst>
                  <a:gd name="connsiteX0" fmla="*/ 791058 w 3220782"/>
                  <a:gd name="connsiteY0" fmla="*/ 2907154 h 3579817"/>
                  <a:gd name="connsiteX1" fmla="*/ 2002194 w 3220782"/>
                  <a:gd name="connsiteY1" fmla="*/ 3574659 h 3579817"/>
                  <a:gd name="connsiteX2" fmla="*/ 3028289 w 3220782"/>
                  <a:gd name="connsiteY2" fmla="*/ 2934613 h 3579817"/>
                  <a:gd name="connsiteX3" fmla="*/ 3129333 w 3220782"/>
                  <a:gd name="connsiteY3" fmla="*/ 1743455 h 3579817"/>
                  <a:gd name="connsiteX4" fmla="*/ 3052277 w 3220782"/>
                  <a:gd name="connsiteY4" fmla="*/ 731167 h 3579817"/>
                  <a:gd name="connsiteX5" fmla="*/ 1620928 w 3220782"/>
                  <a:gd name="connsiteY5" fmla="*/ 5581 h 3579817"/>
                  <a:gd name="connsiteX6" fmla="*/ 765913 w 3220782"/>
                  <a:gd name="connsiteY6" fmla="*/ 939888 h 3579817"/>
                  <a:gd name="connsiteX7" fmla="*/ 5000 w 3220782"/>
                  <a:gd name="connsiteY7" fmla="*/ 1991745 h 3579817"/>
                  <a:gd name="connsiteX8" fmla="*/ 791058 w 3220782"/>
                  <a:gd name="connsiteY8" fmla="*/ 2907231 h 3579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782" h="3579817">
                    <a:moveTo>
                      <a:pt x="791058" y="2907154"/>
                    </a:moveTo>
                    <a:cubicBezTo>
                      <a:pt x="1139775" y="3222549"/>
                      <a:pt x="1564312" y="3630426"/>
                      <a:pt x="2002194" y="3574659"/>
                    </a:cubicBezTo>
                    <a:cubicBezTo>
                      <a:pt x="2362558" y="3528688"/>
                      <a:pt x="2770743" y="3219772"/>
                      <a:pt x="3028289" y="2934613"/>
                    </a:cubicBezTo>
                    <a:cubicBezTo>
                      <a:pt x="3345767" y="2583197"/>
                      <a:pt x="3188417" y="2184113"/>
                      <a:pt x="3129333" y="1743455"/>
                    </a:cubicBezTo>
                    <a:cubicBezTo>
                      <a:pt x="3081433" y="1386485"/>
                      <a:pt x="3334968" y="986244"/>
                      <a:pt x="3052277" y="731167"/>
                    </a:cubicBezTo>
                    <a:cubicBezTo>
                      <a:pt x="2698624" y="412069"/>
                      <a:pt x="2063823" y="-56434"/>
                      <a:pt x="1620928" y="5581"/>
                    </a:cubicBezTo>
                    <a:cubicBezTo>
                      <a:pt x="1267198" y="54946"/>
                      <a:pt x="1018908" y="659665"/>
                      <a:pt x="765913" y="939888"/>
                    </a:cubicBezTo>
                    <a:cubicBezTo>
                      <a:pt x="447664" y="1292461"/>
                      <a:pt x="-55549" y="1549929"/>
                      <a:pt x="5000" y="1991745"/>
                    </a:cubicBezTo>
                    <a:cubicBezTo>
                      <a:pt x="53516" y="2346477"/>
                      <a:pt x="510218" y="2653234"/>
                      <a:pt x="791058" y="290723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7578A8B3-2CE7-7B9E-01D4-42D5E855CCE6}"/>
                  </a:ext>
                </a:extLst>
              </p:cNvPr>
              <p:cNvSpPr/>
              <p:nvPr/>
            </p:nvSpPr>
            <p:spPr>
              <a:xfrm>
                <a:off x="4147825" y="2579175"/>
                <a:ext cx="3187979" cy="3521387"/>
              </a:xfrm>
              <a:custGeom>
                <a:avLst/>
                <a:gdLst>
                  <a:gd name="connsiteX0" fmla="*/ 761567 w 3187979"/>
                  <a:gd name="connsiteY0" fmla="*/ 2896229 h 3521387"/>
                  <a:gd name="connsiteX1" fmla="*/ 1971315 w 3187979"/>
                  <a:gd name="connsiteY1" fmla="*/ 3515912 h 3521387"/>
                  <a:gd name="connsiteX2" fmla="*/ 2977047 w 3187979"/>
                  <a:gd name="connsiteY2" fmla="*/ 2847635 h 3521387"/>
                  <a:gd name="connsiteX3" fmla="*/ 3126683 w 3187979"/>
                  <a:gd name="connsiteY3" fmla="*/ 1699825 h 3521387"/>
                  <a:gd name="connsiteX4" fmla="*/ 2997409 w 3187979"/>
                  <a:gd name="connsiteY4" fmla="*/ 633236 h 3521387"/>
                  <a:gd name="connsiteX5" fmla="*/ 1583183 w 3187979"/>
                  <a:gd name="connsiteY5" fmla="*/ 6380 h 3521387"/>
                  <a:gd name="connsiteX6" fmla="*/ 682583 w 3187979"/>
                  <a:gd name="connsiteY6" fmla="*/ 874121 h 3521387"/>
                  <a:gd name="connsiteX7" fmla="*/ 5513 w 3187979"/>
                  <a:gd name="connsiteY7" fmla="*/ 1940171 h 3521387"/>
                  <a:gd name="connsiteX8" fmla="*/ 761567 w 3187979"/>
                  <a:gd name="connsiteY8" fmla="*/ 2896229 h 3521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87979" h="3521387">
                    <a:moveTo>
                      <a:pt x="761567" y="2896229"/>
                    </a:moveTo>
                    <a:cubicBezTo>
                      <a:pt x="1106195" y="3197508"/>
                      <a:pt x="1539681" y="3571139"/>
                      <a:pt x="1971315" y="3515912"/>
                    </a:cubicBezTo>
                    <a:cubicBezTo>
                      <a:pt x="2343865" y="3468090"/>
                      <a:pt x="2720426" y="3141742"/>
                      <a:pt x="2977047" y="2847635"/>
                    </a:cubicBezTo>
                    <a:cubicBezTo>
                      <a:pt x="3279715" y="2500770"/>
                      <a:pt x="3184842" y="2133542"/>
                      <a:pt x="3126683" y="1699825"/>
                    </a:cubicBezTo>
                    <a:cubicBezTo>
                      <a:pt x="3077087" y="1329975"/>
                      <a:pt x="3289665" y="887620"/>
                      <a:pt x="2997409" y="633236"/>
                    </a:cubicBezTo>
                    <a:cubicBezTo>
                      <a:pt x="2648539" y="329565"/>
                      <a:pt x="2018520" y="-54246"/>
                      <a:pt x="1583183" y="6380"/>
                    </a:cubicBezTo>
                    <a:cubicBezTo>
                      <a:pt x="1216418" y="57287"/>
                      <a:pt x="935115" y="584257"/>
                      <a:pt x="682583" y="874121"/>
                    </a:cubicBezTo>
                    <a:cubicBezTo>
                      <a:pt x="379529" y="1222066"/>
                      <a:pt x="-53879" y="1505683"/>
                      <a:pt x="5513" y="1940171"/>
                    </a:cubicBezTo>
                    <a:cubicBezTo>
                      <a:pt x="55572" y="2307322"/>
                      <a:pt x="471703" y="2642848"/>
                      <a:pt x="761567" y="28962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72F1EFAC-E0B2-D276-3875-297591D5469C}"/>
                  </a:ext>
                </a:extLst>
              </p:cNvPr>
              <p:cNvSpPr/>
              <p:nvPr/>
            </p:nvSpPr>
            <p:spPr>
              <a:xfrm>
                <a:off x="4185926" y="2623532"/>
                <a:ext cx="3162650" cy="3463280"/>
              </a:xfrm>
              <a:custGeom>
                <a:avLst/>
                <a:gdLst>
                  <a:gd name="connsiteX0" fmla="*/ 732182 w 3162650"/>
                  <a:gd name="connsiteY0" fmla="*/ 2885579 h 3463280"/>
                  <a:gd name="connsiteX1" fmla="*/ 1940541 w 3162650"/>
                  <a:gd name="connsiteY1" fmla="*/ 3457440 h 3463280"/>
                  <a:gd name="connsiteX2" fmla="*/ 2925910 w 3162650"/>
                  <a:gd name="connsiteY2" fmla="*/ 2760933 h 3463280"/>
                  <a:gd name="connsiteX3" fmla="*/ 3124217 w 3162650"/>
                  <a:gd name="connsiteY3" fmla="*/ 1656549 h 3463280"/>
                  <a:gd name="connsiteX4" fmla="*/ 2942725 w 3162650"/>
                  <a:gd name="connsiteY4" fmla="*/ 535658 h 3463280"/>
                  <a:gd name="connsiteX5" fmla="*/ 1545622 w 3162650"/>
                  <a:gd name="connsiteY5" fmla="*/ 7609 h 3463280"/>
                  <a:gd name="connsiteX6" fmla="*/ 599436 w 3162650"/>
                  <a:gd name="connsiteY6" fmla="*/ 808708 h 3463280"/>
                  <a:gd name="connsiteX7" fmla="*/ 6210 w 3162650"/>
                  <a:gd name="connsiteY7" fmla="*/ 1888949 h 3463280"/>
                  <a:gd name="connsiteX8" fmla="*/ 732182 w 3162650"/>
                  <a:gd name="connsiteY8" fmla="*/ 2885579 h 3463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62650" h="3463280">
                    <a:moveTo>
                      <a:pt x="732182" y="2885579"/>
                    </a:moveTo>
                    <a:cubicBezTo>
                      <a:pt x="1072413" y="3173052"/>
                      <a:pt x="1515232" y="3512050"/>
                      <a:pt x="1940541" y="3457440"/>
                    </a:cubicBezTo>
                    <a:cubicBezTo>
                      <a:pt x="2325355" y="3407689"/>
                      <a:pt x="2670370" y="3064218"/>
                      <a:pt x="2925910" y="2760933"/>
                    </a:cubicBezTo>
                    <a:cubicBezTo>
                      <a:pt x="3214077" y="2418850"/>
                      <a:pt x="3181450" y="2083246"/>
                      <a:pt x="3124217" y="1656549"/>
                    </a:cubicBezTo>
                    <a:cubicBezTo>
                      <a:pt x="3072847" y="1273817"/>
                      <a:pt x="3244776" y="789270"/>
                      <a:pt x="2942725" y="535658"/>
                    </a:cubicBezTo>
                    <a:cubicBezTo>
                      <a:pt x="2599022" y="247105"/>
                      <a:pt x="1973399" y="-51783"/>
                      <a:pt x="1545622" y="7609"/>
                    </a:cubicBezTo>
                    <a:cubicBezTo>
                      <a:pt x="1165821" y="60059"/>
                      <a:pt x="851352" y="508970"/>
                      <a:pt x="599436" y="808708"/>
                    </a:cubicBezTo>
                    <a:cubicBezTo>
                      <a:pt x="311192" y="1151639"/>
                      <a:pt x="-52025" y="1461712"/>
                      <a:pt x="6210" y="1888949"/>
                    </a:cubicBezTo>
                    <a:cubicBezTo>
                      <a:pt x="57888" y="2268441"/>
                      <a:pt x="433139" y="2632970"/>
                      <a:pt x="732182" y="28855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7645449E-DA0C-0E4C-E365-A684384281A7}"/>
                  </a:ext>
                </a:extLst>
              </p:cNvPr>
              <p:cNvSpPr/>
              <p:nvPr/>
            </p:nvSpPr>
            <p:spPr>
              <a:xfrm>
                <a:off x="4223622" y="2666959"/>
                <a:ext cx="3145783" cy="3406134"/>
              </a:xfrm>
              <a:custGeom>
                <a:avLst/>
                <a:gdLst>
                  <a:gd name="connsiteX0" fmla="*/ 703202 w 3145783"/>
                  <a:gd name="connsiteY0" fmla="*/ 2875858 h 3406134"/>
                  <a:gd name="connsiteX1" fmla="*/ 1910173 w 3145783"/>
                  <a:gd name="connsiteY1" fmla="*/ 3399820 h 3406134"/>
                  <a:gd name="connsiteX2" fmla="*/ 2875101 w 3145783"/>
                  <a:gd name="connsiteY2" fmla="*/ 2675082 h 3406134"/>
                  <a:gd name="connsiteX3" fmla="*/ 3122003 w 3145783"/>
                  <a:gd name="connsiteY3" fmla="*/ 1614047 h 3406134"/>
                  <a:gd name="connsiteX4" fmla="*/ 2888291 w 3145783"/>
                  <a:gd name="connsiteY4" fmla="*/ 438855 h 3406134"/>
                  <a:gd name="connsiteX5" fmla="*/ 1508312 w 3145783"/>
                  <a:gd name="connsiteY5" fmla="*/ 9612 h 3406134"/>
                  <a:gd name="connsiteX6" fmla="*/ 516541 w 3145783"/>
                  <a:gd name="connsiteY6" fmla="*/ 744146 h 3406134"/>
                  <a:gd name="connsiteX7" fmla="*/ 7234 w 3145783"/>
                  <a:gd name="connsiteY7" fmla="*/ 1838580 h 3406134"/>
                  <a:gd name="connsiteX8" fmla="*/ 703125 w 3145783"/>
                  <a:gd name="connsiteY8" fmla="*/ 2875858 h 340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45783" h="3406134">
                    <a:moveTo>
                      <a:pt x="703202" y="2875858"/>
                    </a:moveTo>
                    <a:cubicBezTo>
                      <a:pt x="1038729" y="3149756"/>
                      <a:pt x="1491188" y="3453967"/>
                      <a:pt x="1910173" y="3399820"/>
                    </a:cubicBezTo>
                    <a:cubicBezTo>
                      <a:pt x="2307174" y="3348218"/>
                      <a:pt x="2620872" y="2987778"/>
                      <a:pt x="2875101" y="2675082"/>
                    </a:cubicBezTo>
                    <a:cubicBezTo>
                      <a:pt x="3149077" y="2338167"/>
                      <a:pt x="3178310" y="2033802"/>
                      <a:pt x="3122003" y="1614047"/>
                    </a:cubicBezTo>
                    <a:cubicBezTo>
                      <a:pt x="3068936" y="1218434"/>
                      <a:pt x="3200369" y="691464"/>
                      <a:pt x="2888291" y="438855"/>
                    </a:cubicBezTo>
                    <a:cubicBezTo>
                      <a:pt x="2549988" y="165034"/>
                      <a:pt x="1928530" y="-48546"/>
                      <a:pt x="1508312" y="9612"/>
                    </a:cubicBezTo>
                    <a:cubicBezTo>
                      <a:pt x="1115476" y="63605"/>
                      <a:pt x="767685" y="434304"/>
                      <a:pt x="516541" y="744146"/>
                    </a:cubicBezTo>
                    <a:cubicBezTo>
                      <a:pt x="242797" y="1081832"/>
                      <a:pt x="-49998" y="1418593"/>
                      <a:pt x="7234" y="1838580"/>
                    </a:cubicBezTo>
                    <a:cubicBezTo>
                      <a:pt x="60456" y="2230413"/>
                      <a:pt x="394749" y="2624098"/>
                      <a:pt x="703125" y="287585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999BA304-054F-0E93-5883-F15F4A671BE8}"/>
                  </a:ext>
                </a:extLst>
              </p:cNvPr>
              <p:cNvSpPr/>
              <p:nvPr/>
            </p:nvSpPr>
            <p:spPr>
              <a:xfrm>
                <a:off x="4260986" y="2709255"/>
                <a:ext cx="3135893" cy="3350272"/>
              </a:xfrm>
              <a:custGeom>
                <a:avLst/>
                <a:gdLst>
                  <a:gd name="connsiteX0" fmla="*/ 674554 w 3135893"/>
                  <a:gd name="connsiteY0" fmla="*/ 2867269 h 3350272"/>
                  <a:gd name="connsiteX1" fmla="*/ 1880214 w 3135893"/>
                  <a:gd name="connsiteY1" fmla="*/ 3343408 h 3350272"/>
                  <a:gd name="connsiteX2" fmla="*/ 2824779 w 3135893"/>
                  <a:gd name="connsiteY2" fmla="*/ 2590440 h 3350272"/>
                  <a:gd name="connsiteX3" fmla="*/ 3120352 w 3135893"/>
                  <a:gd name="connsiteY3" fmla="*/ 1572830 h 3350272"/>
                  <a:gd name="connsiteX4" fmla="*/ 2834498 w 3135893"/>
                  <a:gd name="connsiteY4" fmla="*/ 343337 h 3350272"/>
                  <a:gd name="connsiteX5" fmla="*/ 1471565 w 3135893"/>
                  <a:gd name="connsiteY5" fmla="*/ 12824 h 3350272"/>
                  <a:gd name="connsiteX6" fmla="*/ 434209 w 3135893"/>
                  <a:gd name="connsiteY6" fmla="*/ 680715 h 3350272"/>
                  <a:gd name="connsiteX7" fmla="*/ 8746 w 3135893"/>
                  <a:gd name="connsiteY7" fmla="*/ 1789341 h 3350272"/>
                  <a:gd name="connsiteX8" fmla="*/ 674631 w 3135893"/>
                  <a:gd name="connsiteY8" fmla="*/ 2867192 h 3350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893" h="3350272">
                    <a:moveTo>
                      <a:pt x="674554" y="2867269"/>
                    </a:moveTo>
                    <a:cubicBezTo>
                      <a:pt x="1005144" y="3127900"/>
                      <a:pt x="1467477" y="3396938"/>
                      <a:pt x="1880214" y="3343408"/>
                    </a:cubicBezTo>
                    <a:cubicBezTo>
                      <a:pt x="2289402" y="3289956"/>
                      <a:pt x="2572016" y="2912777"/>
                      <a:pt x="2824779" y="2590440"/>
                    </a:cubicBezTo>
                    <a:cubicBezTo>
                      <a:pt x="3084794" y="2258847"/>
                      <a:pt x="3175656" y="1985567"/>
                      <a:pt x="3120352" y="1572830"/>
                    </a:cubicBezTo>
                    <a:cubicBezTo>
                      <a:pt x="3065587" y="1164336"/>
                      <a:pt x="3156758" y="594635"/>
                      <a:pt x="2834498" y="343337"/>
                    </a:cubicBezTo>
                    <a:cubicBezTo>
                      <a:pt x="2512238" y="92039"/>
                      <a:pt x="1884302" y="-44023"/>
                      <a:pt x="1471565" y="12824"/>
                    </a:cubicBezTo>
                    <a:cubicBezTo>
                      <a:pt x="1065694" y="68359"/>
                      <a:pt x="684273" y="360692"/>
                      <a:pt x="434209" y="680715"/>
                    </a:cubicBezTo>
                    <a:cubicBezTo>
                      <a:pt x="174658" y="1012848"/>
                      <a:pt x="-47330" y="1376605"/>
                      <a:pt x="8746" y="1789341"/>
                    </a:cubicBezTo>
                    <a:cubicBezTo>
                      <a:pt x="63510" y="2193593"/>
                      <a:pt x="356691" y="2616588"/>
                      <a:pt x="674631" y="286719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CB73CC62-F4F4-F383-B746-084F975C6F10}"/>
                  </a:ext>
                </a:extLst>
              </p:cNvPr>
              <p:cNvSpPr/>
              <p:nvPr/>
            </p:nvSpPr>
            <p:spPr>
              <a:xfrm>
                <a:off x="4297185" y="2745782"/>
                <a:ext cx="3130741" cy="3300265"/>
              </a:xfrm>
              <a:custGeom>
                <a:avLst/>
                <a:gdLst>
                  <a:gd name="connsiteX0" fmla="*/ 647071 w 3130741"/>
                  <a:gd name="connsiteY0" fmla="*/ 2864372 h 3300265"/>
                  <a:gd name="connsiteX1" fmla="*/ 1851342 w 3130741"/>
                  <a:gd name="connsiteY1" fmla="*/ 3292689 h 3300265"/>
                  <a:gd name="connsiteX2" fmla="*/ 2775545 w 3130741"/>
                  <a:gd name="connsiteY2" fmla="*/ 2511491 h 3300265"/>
                  <a:gd name="connsiteX3" fmla="*/ 3119711 w 3130741"/>
                  <a:gd name="connsiteY3" fmla="*/ 1537229 h 3300265"/>
                  <a:gd name="connsiteX4" fmla="*/ 2781639 w 3130741"/>
                  <a:gd name="connsiteY4" fmla="*/ 253435 h 3300265"/>
                  <a:gd name="connsiteX5" fmla="*/ 1435829 w 3130741"/>
                  <a:gd name="connsiteY5" fmla="*/ 21729 h 3300265"/>
                  <a:gd name="connsiteX6" fmla="*/ 352887 w 3130741"/>
                  <a:gd name="connsiteY6" fmla="*/ 622977 h 3300265"/>
                  <a:gd name="connsiteX7" fmla="*/ 11267 w 3130741"/>
                  <a:gd name="connsiteY7" fmla="*/ 1745873 h 3300265"/>
                  <a:gd name="connsiteX8" fmla="*/ 647071 w 3130741"/>
                  <a:gd name="connsiteY8" fmla="*/ 2864295 h 3300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0741" h="3300265">
                    <a:moveTo>
                      <a:pt x="647071" y="2864372"/>
                    </a:moveTo>
                    <a:cubicBezTo>
                      <a:pt x="972571" y="3111968"/>
                      <a:pt x="1444853" y="3345679"/>
                      <a:pt x="1851342" y="3292689"/>
                    </a:cubicBezTo>
                    <a:cubicBezTo>
                      <a:pt x="2272795" y="3237385"/>
                      <a:pt x="2524556" y="2843624"/>
                      <a:pt x="2775545" y="2511491"/>
                    </a:cubicBezTo>
                    <a:cubicBezTo>
                      <a:pt x="3021907" y="2185529"/>
                      <a:pt x="3174166" y="1943024"/>
                      <a:pt x="3119711" y="1537229"/>
                    </a:cubicBezTo>
                    <a:cubicBezTo>
                      <a:pt x="3063172" y="1115777"/>
                      <a:pt x="3114388" y="503190"/>
                      <a:pt x="2781639" y="253435"/>
                    </a:cubicBezTo>
                    <a:cubicBezTo>
                      <a:pt x="2455059" y="8308"/>
                      <a:pt x="1841007" y="-33884"/>
                      <a:pt x="1435829" y="21729"/>
                    </a:cubicBezTo>
                    <a:cubicBezTo>
                      <a:pt x="1016845" y="78884"/>
                      <a:pt x="601640" y="292464"/>
                      <a:pt x="352887" y="622977"/>
                    </a:cubicBezTo>
                    <a:cubicBezTo>
                      <a:pt x="107297" y="949325"/>
                      <a:pt x="-43651" y="1340387"/>
                      <a:pt x="11267" y="1745873"/>
                    </a:cubicBezTo>
                    <a:cubicBezTo>
                      <a:pt x="67574" y="2162466"/>
                      <a:pt x="319412" y="2615080"/>
                      <a:pt x="647071" y="286429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7B6BCB73-A503-CAFC-F043-D183689F3A07}"/>
                  </a:ext>
                </a:extLst>
              </p:cNvPr>
              <p:cNvSpPr/>
              <p:nvPr/>
            </p:nvSpPr>
            <p:spPr>
              <a:xfrm>
                <a:off x="4331073" y="2769810"/>
                <a:ext cx="3129679" cy="3263042"/>
              </a:xfrm>
              <a:custGeom>
                <a:avLst/>
                <a:gdLst>
                  <a:gd name="connsiteX0" fmla="*/ 621899 w 3129679"/>
                  <a:gd name="connsiteY0" fmla="*/ 2874051 h 3263042"/>
                  <a:gd name="connsiteX1" fmla="*/ 1824782 w 3129679"/>
                  <a:gd name="connsiteY1" fmla="*/ 3254546 h 3263042"/>
                  <a:gd name="connsiteX2" fmla="*/ 2728544 w 3129679"/>
                  <a:gd name="connsiteY2" fmla="*/ 2445116 h 3263042"/>
                  <a:gd name="connsiteX3" fmla="*/ 3121380 w 3129679"/>
                  <a:gd name="connsiteY3" fmla="*/ 1514281 h 3263042"/>
                  <a:gd name="connsiteX4" fmla="*/ 2731090 w 3129679"/>
                  <a:gd name="connsiteY4" fmla="*/ 176262 h 3263042"/>
                  <a:gd name="connsiteX5" fmla="*/ 1402404 w 3129679"/>
                  <a:gd name="connsiteY5" fmla="*/ 43363 h 3263042"/>
                  <a:gd name="connsiteX6" fmla="*/ 273877 w 3129679"/>
                  <a:gd name="connsiteY6" fmla="*/ 578045 h 3263042"/>
                  <a:gd name="connsiteX7" fmla="*/ 16177 w 3129679"/>
                  <a:gd name="connsiteY7" fmla="*/ 1715134 h 3263042"/>
                  <a:gd name="connsiteX8" fmla="*/ 621899 w 3129679"/>
                  <a:gd name="connsiteY8" fmla="*/ 2874205 h 3263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29679" h="3263042">
                    <a:moveTo>
                      <a:pt x="621899" y="2874051"/>
                    </a:moveTo>
                    <a:cubicBezTo>
                      <a:pt x="941999" y="3108842"/>
                      <a:pt x="1424618" y="3306996"/>
                      <a:pt x="1824782" y="3254546"/>
                    </a:cubicBezTo>
                    <a:cubicBezTo>
                      <a:pt x="2258421" y="3197313"/>
                      <a:pt x="2479637" y="2787277"/>
                      <a:pt x="2728544" y="2445116"/>
                    </a:cubicBezTo>
                    <a:cubicBezTo>
                      <a:pt x="2961485" y="2124939"/>
                      <a:pt x="3174833" y="1913056"/>
                      <a:pt x="3121380" y="1514281"/>
                    </a:cubicBezTo>
                    <a:cubicBezTo>
                      <a:pt x="3063145" y="1079947"/>
                      <a:pt x="3074561" y="424089"/>
                      <a:pt x="2731090" y="176262"/>
                    </a:cubicBezTo>
                    <a:cubicBezTo>
                      <a:pt x="2410681" y="-54982"/>
                      <a:pt x="1800022" y="-10939"/>
                      <a:pt x="1402404" y="43363"/>
                    </a:cubicBezTo>
                    <a:cubicBezTo>
                      <a:pt x="970384" y="102060"/>
                      <a:pt x="521009" y="236734"/>
                      <a:pt x="273877" y="578045"/>
                    </a:cubicBezTo>
                    <a:cubicBezTo>
                      <a:pt x="41862" y="898377"/>
                      <a:pt x="-37739" y="1316898"/>
                      <a:pt x="16177" y="1715134"/>
                    </a:cubicBezTo>
                    <a:cubicBezTo>
                      <a:pt x="74026" y="2144068"/>
                      <a:pt x="284289" y="2626532"/>
                      <a:pt x="621899" y="287420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0EA158EB-A2F9-57FF-EDB7-8BA9D6C8CA18}"/>
                  </a:ext>
                </a:extLst>
              </p:cNvPr>
              <p:cNvSpPr/>
              <p:nvPr/>
            </p:nvSpPr>
            <p:spPr>
              <a:xfrm>
                <a:off x="4358871" y="2771233"/>
                <a:ext cx="3135688" cy="3248662"/>
              </a:xfrm>
              <a:custGeom>
                <a:avLst/>
                <a:gdLst>
                  <a:gd name="connsiteX0" fmla="*/ 602817 w 3135688"/>
                  <a:gd name="connsiteY0" fmla="*/ 2906335 h 3248662"/>
                  <a:gd name="connsiteX1" fmla="*/ 1804311 w 3135688"/>
                  <a:gd name="connsiteY1" fmla="*/ 3238930 h 3248662"/>
                  <a:gd name="connsiteX2" fmla="*/ 2687711 w 3135688"/>
                  <a:gd name="connsiteY2" fmla="*/ 2401271 h 3248662"/>
                  <a:gd name="connsiteX3" fmla="*/ 3129140 w 3135688"/>
                  <a:gd name="connsiteY3" fmla="*/ 1513860 h 3248662"/>
                  <a:gd name="connsiteX4" fmla="*/ 2686631 w 3135688"/>
                  <a:gd name="connsiteY4" fmla="*/ 121540 h 3248662"/>
                  <a:gd name="connsiteX5" fmla="*/ 1375068 w 3135688"/>
                  <a:gd name="connsiteY5" fmla="*/ 87448 h 3248662"/>
                  <a:gd name="connsiteX6" fmla="*/ 200956 w 3135688"/>
                  <a:gd name="connsiteY6" fmla="*/ 555488 h 3248662"/>
                  <a:gd name="connsiteX7" fmla="*/ 27099 w 3135688"/>
                  <a:gd name="connsiteY7" fmla="*/ 1706769 h 3248662"/>
                  <a:gd name="connsiteX8" fmla="*/ 602817 w 3135688"/>
                  <a:gd name="connsiteY8" fmla="*/ 2906412 h 3248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688" h="3248662">
                    <a:moveTo>
                      <a:pt x="602817" y="2906335"/>
                    </a:moveTo>
                    <a:cubicBezTo>
                      <a:pt x="917441" y="3128631"/>
                      <a:pt x="1410472" y="3290840"/>
                      <a:pt x="1804311" y="3238930"/>
                    </a:cubicBezTo>
                    <a:cubicBezTo>
                      <a:pt x="2250214" y="3179847"/>
                      <a:pt x="2441195" y="2753612"/>
                      <a:pt x="2687711" y="2401271"/>
                    </a:cubicBezTo>
                    <a:cubicBezTo>
                      <a:pt x="2907538" y="2087032"/>
                      <a:pt x="3181668" y="1905617"/>
                      <a:pt x="3129140" y="1513860"/>
                    </a:cubicBezTo>
                    <a:cubicBezTo>
                      <a:pt x="3069209" y="1066646"/>
                      <a:pt x="3040978" y="367208"/>
                      <a:pt x="2686631" y="121540"/>
                    </a:cubicBezTo>
                    <a:cubicBezTo>
                      <a:pt x="2372624" y="-96128"/>
                      <a:pt x="1765128" y="34381"/>
                      <a:pt x="1375068" y="87448"/>
                    </a:cubicBezTo>
                    <a:cubicBezTo>
                      <a:pt x="930013" y="147688"/>
                      <a:pt x="446083" y="203301"/>
                      <a:pt x="200956" y="555488"/>
                    </a:cubicBezTo>
                    <a:cubicBezTo>
                      <a:pt x="-17715" y="869649"/>
                      <a:pt x="-25660" y="1315784"/>
                      <a:pt x="27099" y="1706769"/>
                    </a:cubicBezTo>
                    <a:cubicBezTo>
                      <a:pt x="86568" y="2148122"/>
                      <a:pt x="255026" y="2660667"/>
                      <a:pt x="602817" y="290641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85DA206D-20EA-D1E5-DF2B-D88460613145}"/>
                  </a:ext>
                </a:extLst>
              </p:cNvPr>
              <p:cNvSpPr/>
              <p:nvPr/>
            </p:nvSpPr>
            <p:spPr>
              <a:xfrm>
                <a:off x="4372952" y="2753381"/>
                <a:ext cx="3156027" cy="3254119"/>
              </a:xfrm>
              <a:custGeom>
                <a:avLst/>
                <a:gdLst>
                  <a:gd name="connsiteX0" fmla="*/ 597452 w 3156027"/>
                  <a:gd name="connsiteY0" fmla="*/ 2957894 h 3254119"/>
                  <a:gd name="connsiteX1" fmla="*/ 1797558 w 3156027"/>
                  <a:gd name="connsiteY1" fmla="*/ 3242667 h 3254119"/>
                  <a:gd name="connsiteX2" fmla="*/ 2660594 w 3156027"/>
                  <a:gd name="connsiteY2" fmla="*/ 2376700 h 3254119"/>
                  <a:gd name="connsiteX3" fmla="*/ 3150695 w 3156027"/>
                  <a:gd name="connsiteY3" fmla="*/ 1532638 h 3254119"/>
                  <a:gd name="connsiteX4" fmla="*/ 2655966 w 3156027"/>
                  <a:gd name="connsiteY4" fmla="*/ 86017 h 3254119"/>
                  <a:gd name="connsiteX5" fmla="*/ 1361450 w 3156027"/>
                  <a:gd name="connsiteY5" fmla="*/ 150654 h 3254119"/>
                  <a:gd name="connsiteX6" fmla="*/ 141752 w 3156027"/>
                  <a:gd name="connsiteY6" fmla="*/ 552129 h 3254119"/>
                  <a:gd name="connsiteX7" fmla="*/ 51738 w 3156027"/>
                  <a:gd name="connsiteY7" fmla="*/ 1717602 h 3254119"/>
                  <a:gd name="connsiteX8" fmla="*/ 597374 w 3156027"/>
                  <a:gd name="connsiteY8" fmla="*/ 2957816 h 3254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56027" h="3254119">
                    <a:moveTo>
                      <a:pt x="597452" y="2957894"/>
                    </a:moveTo>
                    <a:cubicBezTo>
                      <a:pt x="906445" y="3167925"/>
                      <a:pt x="1410044" y="3294037"/>
                      <a:pt x="1797558" y="3242667"/>
                    </a:cubicBezTo>
                    <a:cubicBezTo>
                      <a:pt x="2255648" y="3181732"/>
                      <a:pt x="2416778" y="2739608"/>
                      <a:pt x="2660594" y="2376700"/>
                    </a:cubicBezTo>
                    <a:cubicBezTo>
                      <a:pt x="2867541" y="2068555"/>
                      <a:pt x="3202297" y="1917452"/>
                      <a:pt x="3150695" y="1532638"/>
                    </a:cubicBezTo>
                    <a:cubicBezTo>
                      <a:pt x="3088989" y="1072542"/>
                      <a:pt x="3021574" y="329061"/>
                      <a:pt x="2655966" y="86017"/>
                    </a:cubicBezTo>
                    <a:cubicBezTo>
                      <a:pt x="2348516" y="-118385"/>
                      <a:pt x="1744028" y="98898"/>
                      <a:pt x="1361450" y="150654"/>
                    </a:cubicBezTo>
                    <a:cubicBezTo>
                      <a:pt x="903359" y="212437"/>
                      <a:pt x="384566" y="188680"/>
                      <a:pt x="141752" y="552129"/>
                    </a:cubicBezTo>
                    <a:cubicBezTo>
                      <a:pt x="-63883" y="859965"/>
                      <a:pt x="60" y="1333867"/>
                      <a:pt x="51738" y="1717602"/>
                    </a:cubicBezTo>
                    <a:cubicBezTo>
                      <a:pt x="112750" y="2171296"/>
                      <a:pt x="239248" y="2714386"/>
                      <a:pt x="597374" y="2957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30ABAF54-B40E-20D8-19BD-AC94CD2EFDF5}"/>
                  </a:ext>
                </a:extLst>
              </p:cNvPr>
              <p:cNvSpPr/>
              <p:nvPr/>
            </p:nvSpPr>
            <p:spPr>
              <a:xfrm>
                <a:off x="4369454" y="2723578"/>
                <a:ext cx="3194199" cy="3272228"/>
              </a:xfrm>
              <a:custGeom>
                <a:avLst/>
                <a:gdLst>
                  <a:gd name="connsiteX0" fmla="*/ 609666 w 3194199"/>
                  <a:gd name="connsiteY0" fmla="*/ 3021327 h 3272228"/>
                  <a:gd name="connsiteX1" fmla="*/ 1808461 w 3194199"/>
                  <a:gd name="connsiteY1" fmla="*/ 3258278 h 3272228"/>
                  <a:gd name="connsiteX2" fmla="*/ 2651057 w 3194199"/>
                  <a:gd name="connsiteY2" fmla="*/ 2364080 h 3272228"/>
                  <a:gd name="connsiteX3" fmla="*/ 3189751 w 3194199"/>
                  <a:gd name="connsiteY3" fmla="*/ 1563444 h 3272228"/>
                  <a:gd name="connsiteX4" fmla="*/ 2642804 w 3194199"/>
                  <a:gd name="connsiteY4" fmla="*/ 62522 h 3272228"/>
                  <a:gd name="connsiteX5" fmla="*/ 1365411 w 3194199"/>
                  <a:gd name="connsiteY5" fmla="*/ 225965 h 3272228"/>
                  <a:gd name="connsiteX6" fmla="*/ 100128 w 3194199"/>
                  <a:gd name="connsiteY6" fmla="*/ 560798 h 3272228"/>
                  <a:gd name="connsiteX7" fmla="*/ 94034 w 3194199"/>
                  <a:gd name="connsiteY7" fmla="*/ 1740540 h 3272228"/>
                  <a:gd name="connsiteX8" fmla="*/ 609589 w 3194199"/>
                  <a:gd name="connsiteY8" fmla="*/ 3021327 h 3272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94199" h="3272228">
                    <a:moveTo>
                      <a:pt x="609666" y="3021327"/>
                    </a:moveTo>
                    <a:cubicBezTo>
                      <a:pt x="912874" y="3219326"/>
                      <a:pt x="1427194" y="3309031"/>
                      <a:pt x="1808461" y="3258278"/>
                    </a:cubicBezTo>
                    <a:cubicBezTo>
                      <a:pt x="2278815" y="3195492"/>
                      <a:pt x="2410481" y="2737710"/>
                      <a:pt x="2651057" y="2364080"/>
                    </a:cubicBezTo>
                    <a:cubicBezTo>
                      <a:pt x="2845431" y="2062183"/>
                      <a:pt x="3240427" y="1941240"/>
                      <a:pt x="3189751" y="1563444"/>
                    </a:cubicBezTo>
                    <a:cubicBezTo>
                      <a:pt x="3126348" y="1090390"/>
                      <a:pt x="3019828" y="302481"/>
                      <a:pt x="2642804" y="62522"/>
                    </a:cubicBezTo>
                    <a:cubicBezTo>
                      <a:pt x="2342064" y="-128844"/>
                      <a:pt x="1740430" y="175444"/>
                      <a:pt x="1365411" y="225965"/>
                    </a:cubicBezTo>
                    <a:cubicBezTo>
                      <a:pt x="894285" y="289291"/>
                      <a:pt x="340087" y="185934"/>
                      <a:pt x="100128" y="560798"/>
                    </a:cubicBezTo>
                    <a:cubicBezTo>
                      <a:pt x="-92781" y="862155"/>
                      <a:pt x="43435" y="1364056"/>
                      <a:pt x="94034" y="1740540"/>
                    </a:cubicBezTo>
                    <a:cubicBezTo>
                      <a:pt x="156589" y="2206653"/>
                      <a:pt x="240972" y="2780596"/>
                      <a:pt x="609589" y="302132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09AE25B5-F114-89A9-07CF-86DF1AD8819D}"/>
                  </a:ext>
                </a:extLst>
              </p:cNvPr>
              <p:cNvSpPr/>
              <p:nvPr/>
            </p:nvSpPr>
            <p:spPr>
              <a:xfrm>
                <a:off x="4352455" y="2686397"/>
                <a:ext cx="3246150" cy="3299210"/>
              </a:xfrm>
              <a:custGeom>
                <a:avLst/>
                <a:gdLst>
                  <a:gd name="connsiteX0" fmla="*/ 1832787 w 3246150"/>
                  <a:gd name="connsiteY0" fmla="*/ 3281344 h 3299210"/>
                  <a:gd name="connsiteX1" fmla="*/ 2655021 w 3246150"/>
                  <a:gd name="connsiteY1" fmla="*/ 2358915 h 3299210"/>
                  <a:gd name="connsiteX2" fmla="*/ 3242385 w 3246150"/>
                  <a:gd name="connsiteY2" fmla="*/ 1601628 h 3299210"/>
                  <a:gd name="connsiteX3" fmla="*/ 2643296 w 3246150"/>
                  <a:gd name="connsiteY3" fmla="*/ 46404 h 3299210"/>
                  <a:gd name="connsiteX4" fmla="*/ 1383027 w 3246150"/>
                  <a:gd name="connsiteY4" fmla="*/ 308655 h 3299210"/>
                  <a:gd name="connsiteX5" fmla="*/ 72158 w 3246150"/>
                  <a:gd name="connsiteY5" fmla="*/ 576844 h 3299210"/>
                  <a:gd name="connsiteX6" fmla="*/ 149908 w 3246150"/>
                  <a:gd name="connsiteY6" fmla="*/ 1770779 h 3299210"/>
                  <a:gd name="connsiteX7" fmla="*/ 635458 w 3246150"/>
                  <a:gd name="connsiteY7" fmla="*/ 3092214 h 3299210"/>
                  <a:gd name="connsiteX8" fmla="*/ 1832864 w 3246150"/>
                  <a:gd name="connsiteY8" fmla="*/ 3281266 h 3299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6150" h="3299210">
                    <a:moveTo>
                      <a:pt x="1832787" y="3281344"/>
                    </a:moveTo>
                    <a:cubicBezTo>
                      <a:pt x="2315329" y="3216707"/>
                      <a:pt x="2418069" y="2743421"/>
                      <a:pt x="2655021" y="2358915"/>
                    </a:cubicBezTo>
                    <a:cubicBezTo>
                      <a:pt x="2837131" y="2063420"/>
                      <a:pt x="3292059" y="1972558"/>
                      <a:pt x="3242385" y="1601628"/>
                    </a:cubicBezTo>
                    <a:cubicBezTo>
                      <a:pt x="3177285" y="1115693"/>
                      <a:pt x="3031967" y="282661"/>
                      <a:pt x="2643296" y="46404"/>
                    </a:cubicBezTo>
                    <a:cubicBezTo>
                      <a:pt x="2349344" y="-132312"/>
                      <a:pt x="1750487" y="259367"/>
                      <a:pt x="1383027" y="308655"/>
                    </a:cubicBezTo>
                    <a:cubicBezTo>
                      <a:pt x="898866" y="373523"/>
                      <a:pt x="308801" y="190333"/>
                      <a:pt x="72158" y="576844"/>
                    </a:cubicBezTo>
                    <a:cubicBezTo>
                      <a:pt x="-108255" y="871568"/>
                      <a:pt x="100466" y="1401546"/>
                      <a:pt x="149908" y="1770779"/>
                    </a:cubicBezTo>
                    <a:cubicBezTo>
                      <a:pt x="214005" y="2249233"/>
                      <a:pt x="255965" y="2854492"/>
                      <a:pt x="635458" y="3092214"/>
                    </a:cubicBezTo>
                    <a:cubicBezTo>
                      <a:pt x="932804" y="3278490"/>
                      <a:pt x="1457845" y="3331557"/>
                      <a:pt x="1832864" y="328126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37" name="Graphic 5">
              <a:extLst>
                <a:ext uri="{FF2B5EF4-FFF2-40B4-BE49-F238E27FC236}">
                  <a16:creationId xmlns:a16="http://schemas.microsoft.com/office/drawing/2014/main" id="{B8B3BA17-BE51-5C65-102D-EB10D7D8B1A7}"/>
                </a:ext>
              </a:extLst>
            </p:cNvPr>
            <p:cNvGrpSpPr/>
            <p:nvPr/>
          </p:nvGrpSpPr>
          <p:grpSpPr>
            <a:xfrm rot="180525">
              <a:off x="-597053" y="441139"/>
              <a:ext cx="6472770" cy="6313556"/>
              <a:chOff x="4270587" y="2574268"/>
              <a:chExt cx="3544376" cy="3457192"/>
            </a:xfrm>
            <a:noFill/>
          </p:grpSpPr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71D6CF5-4E38-B291-6FEB-6F86B4220156}"/>
                  </a:ext>
                </a:extLst>
              </p:cNvPr>
              <p:cNvSpPr/>
              <p:nvPr/>
            </p:nvSpPr>
            <p:spPr>
              <a:xfrm>
                <a:off x="4270587" y="2606803"/>
                <a:ext cx="3544376" cy="3424657"/>
              </a:xfrm>
              <a:custGeom>
                <a:avLst/>
                <a:gdLst>
                  <a:gd name="connsiteX0" fmla="*/ 3338832 w 3544376"/>
                  <a:gd name="connsiteY0" fmla="*/ 932573 h 3424657"/>
                  <a:gd name="connsiteX1" fmla="*/ 2419102 w 3544376"/>
                  <a:gd name="connsiteY1" fmla="*/ 117205 h 3424657"/>
                  <a:gd name="connsiteX2" fmla="*/ 1318575 w 3544376"/>
                  <a:gd name="connsiteY2" fmla="*/ 80027 h 3424657"/>
                  <a:gd name="connsiteX3" fmla="*/ 8709 w 3544376"/>
                  <a:gd name="connsiteY3" fmla="*/ 1110518 h 3424657"/>
                  <a:gd name="connsiteX4" fmla="*/ 630398 w 3544376"/>
                  <a:gd name="connsiteY4" fmla="*/ 2237733 h 3424657"/>
                  <a:gd name="connsiteX5" fmla="*/ 1272758 w 3544376"/>
                  <a:gd name="connsiteY5" fmla="*/ 3411536 h 3424657"/>
                  <a:gd name="connsiteX6" fmla="*/ 2390872 w 3544376"/>
                  <a:gd name="connsiteY6" fmla="*/ 2985687 h 3424657"/>
                  <a:gd name="connsiteX7" fmla="*/ 3510760 w 3544376"/>
                  <a:gd name="connsiteY7" fmla="*/ 2132601 h 3424657"/>
                  <a:gd name="connsiteX8" fmla="*/ 3338908 w 3544376"/>
                  <a:gd name="connsiteY8" fmla="*/ 932650 h 342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44376" h="3424657">
                    <a:moveTo>
                      <a:pt x="3338832" y="932573"/>
                    </a:moveTo>
                    <a:cubicBezTo>
                      <a:pt x="3134970" y="490449"/>
                      <a:pt x="2856290" y="230435"/>
                      <a:pt x="2419102" y="117205"/>
                    </a:cubicBezTo>
                    <a:cubicBezTo>
                      <a:pt x="2083036" y="30199"/>
                      <a:pt x="1658344" y="-76630"/>
                      <a:pt x="1318575" y="80027"/>
                    </a:cubicBezTo>
                    <a:cubicBezTo>
                      <a:pt x="873365" y="285354"/>
                      <a:pt x="120088" y="669551"/>
                      <a:pt x="8709" y="1110518"/>
                    </a:cubicBezTo>
                    <a:cubicBezTo>
                      <a:pt x="-75520" y="1444039"/>
                      <a:pt x="475130" y="1900972"/>
                      <a:pt x="630398" y="2237733"/>
                    </a:cubicBezTo>
                    <a:cubicBezTo>
                      <a:pt x="834953" y="2681323"/>
                      <a:pt x="833642" y="3299231"/>
                      <a:pt x="1272758" y="3411536"/>
                    </a:cubicBezTo>
                    <a:cubicBezTo>
                      <a:pt x="1607591" y="3497153"/>
                      <a:pt x="2052568" y="3141650"/>
                      <a:pt x="2390872" y="2985687"/>
                    </a:cubicBezTo>
                    <a:cubicBezTo>
                      <a:pt x="2829217" y="2783523"/>
                      <a:pt x="3395293" y="2565161"/>
                      <a:pt x="3510760" y="2132601"/>
                    </a:cubicBezTo>
                    <a:cubicBezTo>
                      <a:pt x="3601236" y="1793527"/>
                      <a:pt x="3497339" y="1276198"/>
                      <a:pt x="3338908" y="93265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BB8E44E3-AF99-42B5-2B72-2ED69459B363}"/>
                  </a:ext>
                </a:extLst>
              </p:cNvPr>
              <p:cNvSpPr/>
              <p:nvPr/>
            </p:nvSpPr>
            <p:spPr>
              <a:xfrm>
                <a:off x="4311149" y="2610445"/>
                <a:ext cx="3481515" cy="3380560"/>
              </a:xfrm>
              <a:custGeom>
                <a:avLst/>
                <a:gdLst>
                  <a:gd name="connsiteX0" fmla="*/ 2384788 w 3481515"/>
                  <a:gd name="connsiteY0" fmla="*/ 2986674 h 3380560"/>
                  <a:gd name="connsiteX1" fmla="*/ 3435796 w 3481515"/>
                  <a:gd name="connsiteY1" fmla="*/ 2123946 h 3380560"/>
                  <a:gd name="connsiteX2" fmla="*/ 3309068 w 3481515"/>
                  <a:gd name="connsiteY2" fmla="*/ 911268 h 3380560"/>
                  <a:gd name="connsiteX3" fmla="*/ 2359797 w 3481515"/>
                  <a:gd name="connsiteY3" fmla="*/ 156988 h 3380560"/>
                  <a:gd name="connsiteX4" fmla="*/ 1222399 w 3481515"/>
                  <a:gd name="connsiteY4" fmla="*/ 71757 h 3380560"/>
                  <a:gd name="connsiteX5" fmla="*/ 10492 w 3481515"/>
                  <a:gd name="connsiteY5" fmla="*/ 1123691 h 3380560"/>
                  <a:gd name="connsiteX6" fmla="*/ 573097 w 3481515"/>
                  <a:gd name="connsiteY6" fmla="*/ 2302662 h 3380560"/>
                  <a:gd name="connsiteX7" fmla="*/ 1256646 w 3481515"/>
                  <a:gd name="connsiteY7" fmla="*/ 3364546 h 3380560"/>
                  <a:gd name="connsiteX8" fmla="*/ 2384788 w 3481515"/>
                  <a:gd name="connsiteY8" fmla="*/ 2986674 h 3380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1515" h="3380560">
                    <a:moveTo>
                      <a:pt x="2384788" y="2986674"/>
                    </a:moveTo>
                    <a:cubicBezTo>
                      <a:pt x="2808400" y="2782658"/>
                      <a:pt x="3322257" y="2550489"/>
                      <a:pt x="3435796" y="2123946"/>
                    </a:cubicBezTo>
                    <a:cubicBezTo>
                      <a:pt x="3529127" y="1772916"/>
                      <a:pt x="3475983" y="1257439"/>
                      <a:pt x="3309068" y="911268"/>
                    </a:cubicBezTo>
                    <a:cubicBezTo>
                      <a:pt x="3103355" y="484725"/>
                      <a:pt x="2790197" y="268368"/>
                      <a:pt x="2359797" y="156988"/>
                    </a:cubicBezTo>
                    <a:cubicBezTo>
                      <a:pt x="2011157" y="66743"/>
                      <a:pt x="1565254" y="-93770"/>
                      <a:pt x="1222399" y="71757"/>
                    </a:cubicBezTo>
                    <a:cubicBezTo>
                      <a:pt x="793465" y="278935"/>
                      <a:pt x="120175" y="690129"/>
                      <a:pt x="10492" y="1123691"/>
                    </a:cubicBezTo>
                    <a:cubicBezTo>
                      <a:pt x="-77208" y="1469862"/>
                      <a:pt x="408959" y="1962662"/>
                      <a:pt x="573097" y="2302662"/>
                    </a:cubicBezTo>
                    <a:cubicBezTo>
                      <a:pt x="779581" y="2730362"/>
                      <a:pt x="824704" y="3254015"/>
                      <a:pt x="1256646" y="3364546"/>
                    </a:cubicBezTo>
                    <a:cubicBezTo>
                      <a:pt x="1603512" y="3453403"/>
                      <a:pt x="2043630" y="3150966"/>
                      <a:pt x="2384788" y="298667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C1557D00-AF71-F6A9-2082-4E01FDB5531C}"/>
                  </a:ext>
                </a:extLst>
              </p:cNvPr>
              <p:cNvSpPr/>
              <p:nvPr/>
            </p:nvSpPr>
            <p:spPr>
              <a:xfrm>
                <a:off x="4351228" y="2611075"/>
                <a:ext cx="3424905" cy="3340311"/>
              </a:xfrm>
              <a:custGeom>
                <a:avLst/>
                <a:gdLst>
                  <a:gd name="connsiteX0" fmla="*/ 2379187 w 3424905"/>
                  <a:gd name="connsiteY0" fmla="*/ 2990672 h 3340311"/>
                  <a:gd name="connsiteX1" fmla="*/ 3361317 w 3424905"/>
                  <a:gd name="connsiteY1" fmla="*/ 2118303 h 3340311"/>
                  <a:gd name="connsiteX2" fmla="*/ 3279788 w 3424905"/>
                  <a:gd name="connsiteY2" fmla="*/ 892974 h 3340311"/>
                  <a:gd name="connsiteX3" fmla="*/ 2300975 w 3424905"/>
                  <a:gd name="connsiteY3" fmla="*/ 199707 h 3340311"/>
                  <a:gd name="connsiteX4" fmla="*/ 1126708 w 3424905"/>
                  <a:gd name="connsiteY4" fmla="*/ 66422 h 3340311"/>
                  <a:gd name="connsiteX5" fmla="*/ 12759 w 3424905"/>
                  <a:gd name="connsiteY5" fmla="*/ 1139722 h 3340311"/>
                  <a:gd name="connsiteX6" fmla="*/ 516204 w 3424905"/>
                  <a:gd name="connsiteY6" fmla="*/ 2370449 h 3340311"/>
                  <a:gd name="connsiteX7" fmla="*/ 1241019 w 3424905"/>
                  <a:gd name="connsiteY7" fmla="*/ 3320491 h 3340311"/>
                  <a:gd name="connsiteX8" fmla="*/ 2379265 w 3424905"/>
                  <a:gd name="connsiteY8" fmla="*/ 2990594 h 3340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24905" h="3340311">
                    <a:moveTo>
                      <a:pt x="2379187" y="2990672"/>
                    </a:moveTo>
                    <a:cubicBezTo>
                      <a:pt x="2788222" y="2785113"/>
                      <a:pt x="3249628" y="2538829"/>
                      <a:pt x="3361317" y="2118303"/>
                    </a:cubicBezTo>
                    <a:cubicBezTo>
                      <a:pt x="3457501" y="1755239"/>
                      <a:pt x="3455341" y="1241614"/>
                      <a:pt x="3279788" y="892974"/>
                    </a:cubicBezTo>
                    <a:cubicBezTo>
                      <a:pt x="3072686" y="481781"/>
                      <a:pt x="2724587" y="309389"/>
                      <a:pt x="2300975" y="199707"/>
                    </a:cubicBezTo>
                    <a:cubicBezTo>
                      <a:pt x="1939763" y="106145"/>
                      <a:pt x="1472571" y="-108206"/>
                      <a:pt x="1126708" y="66422"/>
                    </a:cubicBezTo>
                    <a:cubicBezTo>
                      <a:pt x="713895" y="274988"/>
                      <a:pt x="120745" y="713641"/>
                      <a:pt x="12759" y="1139722"/>
                    </a:cubicBezTo>
                    <a:cubicBezTo>
                      <a:pt x="-78411" y="1498619"/>
                      <a:pt x="342964" y="2027286"/>
                      <a:pt x="516204" y="2370449"/>
                    </a:cubicBezTo>
                    <a:cubicBezTo>
                      <a:pt x="724076" y="2782414"/>
                      <a:pt x="816250" y="3211657"/>
                      <a:pt x="1241019" y="3320491"/>
                    </a:cubicBezTo>
                    <a:cubicBezTo>
                      <a:pt x="1599917" y="3412587"/>
                      <a:pt x="2035176" y="3163449"/>
                      <a:pt x="2379265" y="299059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F7D97B6D-8370-C387-BC23-403F7B98C02B}"/>
                  </a:ext>
                </a:extLst>
              </p:cNvPr>
              <p:cNvSpPr/>
              <p:nvPr/>
            </p:nvSpPr>
            <p:spPr>
              <a:xfrm>
                <a:off x="4390546" y="2609845"/>
                <a:ext cx="3375801" cy="3303429"/>
              </a:xfrm>
              <a:custGeom>
                <a:avLst/>
                <a:gdLst>
                  <a:gd name="connsiteX0" fmla="*/ 2374347 w 3375801"/>
                  <a:gd name="connsiteY0" fmla="*/ 2996529 h 3303429"/>
                  <a:gd name="connsiteX1" fmla="*/ 3287597 w 3375801"/>
                  <a:gd name="connsiteY1" fmla="*/ 2114518 h 3303429"/>
                  <a:gd name="connsiteX2" fmla="*/ 3251191 w 3375801"/>
                  <a:gd name="connsiteY2" fmla="*/ 876541 h 3303429"/>
                  <a:gd name="connsiteX3" fmla="*/ 2242836 w 3375801"/>
                  <a:gd name="connsiteY3" fmla="*/ 244285 h 3303429"/>
                  <a:gd name="connsiteX4" fmla="*/ 1031700 w 3375801"/>
                  <a:gd name="connsiteY4" fmla="*/ 62946 h 3303429"/>
                  <a:gd name="connsiteX5" fmla="*/ 15710 w 3375801"/>
                  <a:gd name="connsiteY5" fmla="*/ 1157689 h 3303429"/>
                  <a:gd name="connsiteX6" fmla="*/ 459993 w 3375801"/>
                  <a:gd name="connsiteY6" fmla="*/ 2440249 h 3303429"/>
                  <a:gd name="connsiteX7" fmla="*/ 1226074 w 3375801"/>
                  <a:gd name="connsiteY7" fmla="*/ 3278449 h 3303429"/>
                  <a:gd name="connsiteX8" fmla="*/ 2374347 w 3375801"/>
                  <a:gd name="connsiteY8" fmla="*/ 2996529 h 330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5801" h="3303429">
                    <a:moveTo>
                      <a:pt x="2374347" y="2996529"/>
                    </a:moveTo>
                    <a:cubicBezTo>
                      <a:pt x="2768881" y="2789891"/>
                      <a:pt x="3177760" y="2529029"/>
                      <a:pt x="3287597" y="2114518"/>
                    </a:cubicBezTo>
                    <a:cubicBezTo>
                      <a:pt x="3386712" y="1739423"/>
                      <a:pt x="3435692" y="1227571"/>
                      <a:pt x="3251191" y="876541"/>
                    </a:cubicBezTo>
                    <a:cubicBezTo>
                      <a:pt x="3043087" y="480619"/>
                      <a:pt x="2659584" y="352193"/>
                      <a:pt x="2242836" y="244285"/>
                    </a:cubicBezTo>
                    <a:cubicBezTo>
                      <a:pt x="1869052" y="147483"/>
                      <a:pt x="1380494" y="-121092"/>
                      <a:pt x="1031700" y="62946"/>
                    </a:cubicBezTo>
                    <a:cubicBezTo>
                      <a:pt x="634776" y="272438"/>
                      <a:pt x="121999" y="739090"/>
                      <a:pt x="15710" y="1157689"/>
                    </a:cubicBezTo>
                    <a:cubicBezTo>
                      <a:pt x="-78932" y="1529236"/>
                      <a:pt x="277421" y="2093847"/>
                      <a:pt x="459993" y="2440249"/>
                    </a:cubicBezTo>
                    <a:cubicBezTo>
                      <a:pt x="668869" y="2836556"/>
                      <a:pt x="808402" y="3171312"/>
                      <a:pt x="1226074" y="3278449"/>
                    </a:cubicBezTo>
                    <a:cubicBezTo>
                      <a:pt x="1597005" y="3373785"/>
                      <a:pt x="2027559" y="3178176"/>
                      <a:pt x="2374347" y="29965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F63505A-E28D-88C2-EE4C-17557B47D6BF}"/>
                  </a:ext>
                </a:extLst>
              </p:cNvPr>
              <p:cNvSpPr/>
              <p:nvPr/>
            </p:nvSpPr>
            <p:spPr>
              <a:xfrm>
                <a:off x="4428860" y="2607348"/>
                <a:ext cx="3333638" cy="3269772"/>
              </a:xfrm>
              <a:custGeom>
                <a:avLst/>
                <a:gdLst>
                  <a:gd name="connsiteX0" fmla="*/ 2370512 w 3333638"/>
                  <a:gd name="connsiteY0" fmla="*/ 3003654 h 3269772"/>
                  <a:gd name="connsiteX1" fmla="*/ 3214806 w 3333638"/>
                  <a:gd name="connsiteY1" fmla="*/ 2112002 h 3269772"/>
                  <a:gd name="connsiteX2" fmla="*/ 3223522 w 3333638"/>
                  <a:gd name="connsiteY2" fmla="*/ 861297 h 3269772"/>
                  <a:gd name="connsiteX3" fmla="*/ 2185625 w 3333638"/>
                  <a:gd name="connsiteY3" fmla="*/ 290053 h 3269772"/>
                  <a:gd name="connsiteX4" fmla="*/ 937697 w 3333638"/>
                  <a:gd name="connsiteY4" fmla="*/ 60738 h 3269772"/>
                  <a:gd name="connsiteX5" fmla="*/ 19665 w 3333638"/>
                  <a:gd name="connsiteY5" fmla="*/ 1176924 h 3269772"/>
                  <a:gd name="connsiteX6" fmla="*/ 404865 w 3333638"/>
                  <a:gd name="connsiteY6" fmla="*/ 2511240 h 3269772"/>
                  <a:gd name="connsiteX7" fmla="*/ 1212212 w 3333638"/>
                  <a:gd name="connsiteY7" fmla="*/ 3237597 h 3269772"/>
                  <a:gd name="connsiteX8" fmla="*/ 2370512 w 3333638"/>
                  <a:gd name="connsiteY8" fmla="*/ 3003654 h 3269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638" h="3269772">
                    <a:moveTo>
                      <a:pt x="2370512" y="3003654"/>
                    </a:moveTo>
                    <a:cubicBezTo>
                      <a:pt x="2750699" y="2796245"/>
                      <a:pt x="3106897" y="2520419"/>
                      <a:pt x="3214806" y="2112002"/>
                    </a:cubicBezTo>
                    <a:cubicBezTo>
                      <a:pt x="3316775" y="1724873"/>
                      <a:pt x="3417279" y="1214719"/>
                      <a:pt x="3223522" y="861297"/>
                    </a:cubicBezTo>
                    <a:cubicBezTo>
                      <a:pt x="3014800" y="480494"/>
                      <a:pt x="2595585" y="396265"/>
                      <a:pt x="2185625" y="290053"/>
                    </a:cubicBezTo>
                    <a:cubicBezTo>
                      <a:pt x="1799191" y="189935"/>
                      <a:pt x="1289268" y="-133019"/>
                      <a:pt x="937697" y="60738"/>
                    </a:cubicBezTo>
                    <a:cubicBezTo>
                      <a:pt x="556508" y="270770"/>
                      <a:pt x="124334" y="765730"/>
                      <a:pt x="19665" y="1176924"/>
                    </a:cubicBezTo>
                    <a:cubicBezTo>
                      <a:pt x="-78448" y="1561121"/>
                      <a:pt x="212651" y="2161829"/>
                      <a:pt x="404865" y="2511240"/>
                    </a:cubicBezTo>
                    <a:cubicBezTo>
                      <a:pt x="614357" y="2892120"/>
                      <a:pt x="801635" y="3132157"/>
                      <a:pt x="1212212" y="3237597"/>
                    </a:cubicBezTo>
                    <a:cubicBezTo>
                      <a:pt x="1595175" y="3336095"/>
                      <a:pt x="2021102" y="3194326"/>
                      <a:pt x="2370512" y="30036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60E7077A-ECAD-9C40-70DC-617CDEED1E67}"/>
                  </a:ext>
                </a:extLst>
              </p:cNvPr>
              <p:cNvSpPr/>
              <p:nvPr/>
            </p:nvSpPr>
            <p:spPr>
              <a:xfrm>
                <a:off x="4465597" y="2604029"/>
                <a:ext cx="3297610" cy="3240257"/>
              </a:xfrm>
              <a:custGeom>
                <a:avLst/>
                <a:gdLst>
                  <a:gd name="connsiteX0" fmla="*/ 2368253 w 3297610"/>
                  <a:gd name="connsiteY0" fmla="*/ 3011601 h 3240257"/>
                  <a:gd name="connsiteX1" fmla="*/ 3143667 w 3297610"/>
                  <a:gd name="connsiteY1" fmla="*/ 2110307 h 3240257"/>
                  <a:gd name="connsiteX2" fmla="*/ 3197583 w 3297610"/>
                  <a:gd name="connsiteY2" fmla="*/ 846953 h 3240257"/>
                  <a:gd name="connsiteX3" fmla="*/ 2130145 w 3297610"/>
                  <a:gd name="connsiteY3" fmla="*/ 336721 h 3240257"/>
                  <a:gd name="connsiteX4" fmla="*/ 845347 w 3297610"/>
                  <a:gd name="connsiteY4" fmla="*/ 59352 h 3240257"/>
                  <a:gd name="connsiteX5" fmla="*/ 25197 w 3297610"/>
                  <a:gd name="connsiteY5" fmla="*/ 1196981 h 3240257"/>
                  <a:gd name="connsiteX6" fmla="*/ 351236 w 3297610"/>
                  <a:gd name="connsiteY6" fmla="*/ 2583130 h 3240257"/>
                  <a:gd name="connsiteX7" fmla="*/ 1199772 w 3297610"/>
                  <a:gd name="connsiteY7" fmla="*/ 3197645 h 3240257"/>
                  <a:gd name="connsiteX8" fmla="*/ 2368176 w 3297610"/>
                  <a:gd name="connsiteY8" fmla="*/ 3011756 h 3240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7610" h="3240257">
                    <a:moveTo>
                      <a:pt x="2368253" y="3011601"/>
                    </a:moveTo>
                    <a:cubicBezTo>
                      <a:pt x="2734325" y="2803729"/>
                      <a:pt x="3037610" y="2512708"/>
                      <a:pt x="3143667" y="2110307"/>
                    </a:cubicBezTo>
                    <a:cubicBezTo>
                      <a:pt x="3248491" y="1711146"/>
                      <a:pt x="3400750" y="1202611"/>
                      <a:pt x="3197583" y="846953"/>
                    </a:cubicBezTo>
                    <a:cubicBezTo>
                      <a:pt x="2988554" y="481113"/>
                      <a:pt x="2533317" y="441159"/>
                      <a:pt x="2130145" y="336721"/>
                    </a:cubicBezTo>
                    <a:cubicBezTo>
                      <a:pt x="1731138" y="233364"/>
                      <a:pt x="1199617" y="-144355"/>
                      <a:pt x="845347" y="59352"/>
                    </a:cubicBezTo>
                    <a:cubicBezTo>
                      <a:pt x="479739" y="269539"/>
                      <a:pt x="128246" y="793269"/>
                      <a:pt x="25197" y="1196981"/>
                    </a:cubicBezTo>
                    <a:cubicBezTo>
                      <a:pt x="-76464" y="1593828"/>
                      <a:pt x="149149" y="2230788"/>
                      <a:pt x="351236" y="2583130"/>
                    </a:cubicBezTo>
                    <a:cubicBezTo>
                      <a:pt x="560960" y="2948739"/>
                      <a:pt x="796368" y="3093902"/>
                      <a:pt x="1199772" y="3197645"/>
                    </a:cubicBezTo>
                    <a:cubicBezTo>
                      <a:pt x="1594768" y="3299383"/>
                      <a:pt x="2016143" y="3211683"/>
                      <a:pt x="2368176" y="301175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FA9512A7-E3D2-B743-111B-F9E7979DD883}"/>
                  </a:ext>
                </a:extLst>
              </p:cNvPr>
              <p:cNvSpPr/>
              <p:nvPr/>
            </p:nvSpPr>
            <p:spPr>
              <a:xfrm>
                <a:off x="4499869" y="2600116"/>
                <a:ext cx="3267148" cy="3216006"/>
              </a:xfrm>
              <a:custGeom>
                <a:avLst/>
                <a:gdLst>
                  <a:gd name="connsiteX0" fmla="*/ 2368459 w 3267148"/>
                  <a:gd name="connsiteY0" fmla="*/ 3020220 h 3216006"/>
                  <a:gd name="connsiteX1" fmla="*/ 3074994 w 3267148"/>
                  <a:gd name="connsiteY1" fmla="*/ 2109207 h 3216006"/>
                  <a:gd name="connsiteX2" fmla="*/ 3174032 w 3267148"/>
                  <a:gd name="connsiteY2" fmla="*/ 833203 h 3216006"/>
                  <a:gd name="connsiteX3" fmla="*/ 2077052 w 3267148"/>
                  <a:gd name="connsiteY3" fmla="*/ 384060 h 3216006"/>
                  <a:gd name="connsiteX4" fmla="*/ 755385 w 3267148"/>
                  <a:gd name="connsiteY4" fmla="*/ 58637 h 3216006"/>
                  <a:gd name="connsiteX5" fmla="*/ 33193 w 3267148"/>
                  <a:gd name="connsiteY5" fmla="*/ 1217631 h 3216006"/>
                  <a:gd name="connsiteX6" fmla="*/ 300072 w 3267148"/>
                  <a:gd name="connsiteY6" fmla="*/ 2655537 h 3216006"/>
                  <a:gd name="connsiteX7" fmla="*/ 1189873 w 3267148"/>
                  <a:gd name="connsiteY7" fmla="*/ 3158209 h 3216006"/>
                  <a:gd name="connsiteX8" fmla="*/ 2368305 w 3267148"/>
                  <a:gd name="connsiteY8" fmla="*/ 3020297 h 3216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7148" h="3216006">
                    <a:moveTo>
                      <a:pt x="2368459" y="3020220"/>
                    </a:moveTo>
                    <a:cubicBezTo>
                      <a:pt x="2720493" y="2812193"/>
                      <a:pt x="2970787" y="2505668"/>
                      <a:pt x="3074994" y="2109207"/>
                    </a:cubicBezTo>
                    <a:cubicBezTo>
                      <a:pt x="3182748" y="1698013"/>
                      <a:pt x="3386995" y="1190866"/>
                      <a:pt x="3174032" y="833203"/>
                    </a:cubicBezTo>
                    <a:cubicBezTo>
                      <a:pt x="2965002" y="482095"/>
                      <a:pt x="2473360" y="486646"/>
                      <a:pt x="2077052" y="384060"/>
                    </a:cubicBezTo>
                    <a:cubicBezTo>
                      <a:pt x="1665473" y="277462"/>
                      <a:pt x="1112201" y="-155406"/>
                      <a:pt x="755385" y="58637"/>
                    </a:cubicBezTo>
                    <a:cubicBezTo>
                      <a:pt x="405203" y="268669"/>
                      <a:pt x="134545" y="821401"/>
                      <a:pt x="33193" y="1217631"/>
                    </a:cubicBezTo>
                    <a:cubicBezTo>
                      <a:pt x="-71939" y="1627205"/>
                      <a:pt x="87803" y="2300495"/>
                      <a:pt x="300072" y="2655537"/>
                    </a:cubicBezTo>
                    <a:cubicBezTo>
                      <a:pt x="509718" y="3006104"/>
                      <a:pt x="793566" y="3056163"/>
                      <a:pt x="1189873" y="3158209"/>
                    </a:cubicBezTo>
                    <a:cubicBezTo>
                      <a:pt x="1596979" y="3263187"/>
                      <a:pt x="2013881" y="3229711"/>
                      <a:pt x="2368305" y="302029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7C96ACED-3C88-C410-D039-568AD2A562D5}"/>
                  </a:ext>
                </a:extLst>
              </p:cNvPr>
              <p:cNvSpPr/>
              <p:nvPr/>
            </p:nvSpPr>
            <p:spPr>
              <a:xfrm>
                <a:off x="4530202" y="2595585"/>
                <a:ext cx="3242767" cy="3198539"/>
              </a:xfrm>
              <a:custGeom>
                <a:avLst/>
                <a:gdLst>
                  <a:gd name="connsiteX0" fmla="*/ 2372604 w 3242767"/>
                  <a:gd name="connsiteY0" fmla="*/ 3029379 h 3198539"/>
                  <a:gd name="connsiteX1" fmla="*/ 3010259 w 3242767"/>
                  <a:gd name="connsiteY1" fmla="*/ 2108724 h 3198539"/>
                  <a:gd name="connsiteX2" fmla="*/ 3154497 w 3242767"/>
                  <a:gd name="connsiteY2" fmla="*/ 819993 h 3198539"/>
                  <a:gd name="connsiteX3" fmla="*/ 2027976 w 3242767"/>
                  <a:gd name="connsiteY3" fmla="*/ 431862 h 3198539"/>
                  <a:gd name="connsiteX4" fmla="*/ 669516 w 3242767"/>
                  <a:gd name="connsiteY4" fmla="*/ 58386 h 3198539"/>
                  <a:gd name="connsiteX5" fmla="*/ 45282 w 3242767"/>
                  <a:gd name="connsiteY5" fmla="*/ 1238823 h 3198539"/>
                  <a:gd name="connsiteX6" fmla="*/ 253078 w 3242767"/>
                  <a:gd name="connsiteY6" fmla="*/ 2728484 h 3198539"/>
                  <a:gd name="connsiteX7" fmla="*/ 1184145 w 3242767"/>
                  <a:gd name="connsiteY7" fmla="*/ 3119315 h 3198539"/>
                  <a:gd name="connsiteX8" fmla="*/ 2372681 w 3242767"/>
                  <a:gd name="connsiteY8" fmla="*/ 3029379 h 319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2767" h="3198539">
                    <a:moveTo>
                      <a:pt x="2372604" y="3029379"/>
                    </a:moveTo>
                    <a:cubicBezTo>
                      <a:pt x="2710831" y="2821429"/>
                      <a:pt x="2907904" y="2499092"/>
                      <a:pt x="3010259" y="2108724"/>
                    </a:cubicBezTo>
                    <a:cubicBezTo>
                      <a:pt x="3120867" y="1685498"/>
                      <a:pt x="3377488" y="1179585"/>
                      <a:pt x="3154497" y="819993"/>
                    </a:cubicBezTo>
                    <a:cubicBezTo>
                      <a:pt x="2945776" y="483464"/>
                      <a:pt x="2417495" y="532752"/>
                      <a:pt x="2027976" y="431862"/>
                    </a:cubicBezTo>
                    <a:cubicBezTo>
                      <a:pt x="1603746" y="321948"/>
                      <a:pt x="1028569" y="-166224"/>
                      <a:pt x="669516" y="58386"/>
                    </a:cubicBezTo>
                    <a:cubicBezTo>
                      <a:pt x="334530" y="267878"/>
                      <a:pt x="144938" y="850075"/>
                      <a:pt x="45282" y="1238823"/>
                    </a:cubicBezTo>
                    <a:cubicBezTo>
                      <a:pt x="-63320" y="1661047"/>
                      <a:pt x="30241" y="2370898"/>
                      <a:pt x="253078" y="2728484"/>
                    </a:cubicBezTo>
                    <a:cubicBezTo>
                      <a:pt x="462261" y="3064165"/>
                      <a:pt x="795011" y="3018966"/>
                      <a:pt x="1184145" y="3119315"/>
                    </a:cubicBezTo>
                    <a:cubicBezTo>
                      <a:pt x="1603283" y="3227532"/>
                      <a:pt x="2015943" y="3248666"/>
                      <a:pt x="2372681" y="30293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0C2B18-0D6A-F09F-4825-F16AFCCD9194}"/>
                  </a:ext>
                </a:extLst>
              </p:cNvPr>
              <p:cNvSpPr/>
              <p:nvPr/>
            </p:nvSpPr>
            <p:spPr>
              <a:xfrm>
                <a:off x="4553971" y="2590726"/>
                <a:ext cx="3226504" cy="3187950"/>
              </a:xfrm>
              <a:custGeom>
                <a:avLst/>
                <a:gdLst>
                  <a:gd name="connsiteX0" fmla="*/ 2383391 w 3226504"/>
                  <a:gd name="connsiteY0" fmla="*/ 3038865 h 3187950"/>
                  <a:gd name="connsiteX1" fmla="*/ 2952166 w 3226504"/>
                  <a:gd name="connsiteY1" fmla="*/ 2108570 h 3187950"/>
                  <a:gd name="connsiteX2" fmla="*/ 3141527 w 3226504"/>
                  <a:gd name="connsiteY2" fmla="*/ 807189 h 3187950"/>
                  <a:gd name="connsiteX3" fmla="*/ 1985463 w 3226504"/>
                  <a:gd name="connsiteY3" fmla="*/ 480070 h 3187950"/>
                  <a:gd name="connsiteX4" fmla="*/ 590135 w 3226504"/>
                  <a:gd name="connsiteY4" fmla="*/ 58540 h 3187950"/>
                  <a:gd name="connsiteX5" fmla="*/ 63859 w 3226504"/>
                  <a:gd name="connsiteY5" fmla="*/ 1260420 h 3187950"/>
                  <a:gd name="connsiteX6" fmla="*/ 212494 w 3226504"/>
                  <a:gd name="connsiteY6" fmla="*/ 2801914 h 3187950"/>
                  <a:gd name="connsiteX7" fmla="*/ 1184827 w 3226504"/>
                  <a:gd name="connsiteY7" fmla="*/ 3080825 h 3187950"/>
                  <a:gd name="connsiteX8" fmla="*/ 2383391 w 3226504"/>
                  <a:gd name="connsiteY8" fmla="*/ 3038865 h 3187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6504" h="3187950">
                    <a:moveTo>
                      <a:pt x="2383391" y="3038865"/>
                    </a:moveTo>
                    <a:cubicBezTo>
                      <a:pt x="2707964" y="2831302"/>
                      <a:pt x="2851740" y="2492921"/>
                      <a:pt x="2952166" y="2108570"/>
                    </a:cubicBezTo>
                    <a:cubicBezTo>
                      <a:pt x="3065629" y="1673310"/>
                      <a:pt x="3374930" y="1168401"/>
                      <a:pt x="3141527" y="807189"/>
                    </a:cubicBezTo>
                    <a:cubicBezTo>
                      <a:pt x="2933423" y="485083"/>
                      <a:pt x="2368118" y="579185"/>
                      <a:pt x="1985463" y="480070"/>
                    </a:cubicBezTo>
                    <a:cubicBezTo>
                      <a:pt x="1548662" y="366916"/>
                      <a:pt x="951347" y="-177023"/>
                      <a:pt x="590135" y="58540"/>
                    </a:cubicBezTo>
                    <a:cubicBezTo>
                      <a:pt x="270112" y="267261"/>
                      <a:pt x="161818" y="879077"/>
                      <a:pt x="63859" y="1260420"/>
                    </a:cubicBezTo>
                    <a:cubicBezTo>
                      <a:pt x="-48214" y="1695293"/>
                      <a:pt x="-21218" y="2442014"/>
                      <a:pt x="212494" y="2801914"/>
                    </a:cubicBezTo>
                    <a:cubicBezTo>
                      <a:pt x="420983" y="3122940"/>
                      <a:pt x="802790" y="2982250"/>
                      <a:pt x="1184827" y="3080825"/>
                    </a:cubicBezTo>
                    <a:cubicBezTo>
                      <a:pt x="1615998" y="3192205"/>
                      <a:pt x="2024647" y="3268258"/>
                      <a:pt x="2383391" y="303886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11D6D085-E514-2313-D08B-1910D218D771}"/>
                  </a:ext>
                </a:extLst>
              </p:cNvPr>
              <p:cNvSpPr/>
              <p:nvPr/>
            </p:nvSpPr>
            <p:spPr>
              <a:xfrm>
                <a:off x="4568996" y="2585529"/>
                <a:ext cx="3220062" cy="3183237"/>
              </a:xfrm>
              <a:custGeom>
                <a:avLst/>
                <a:gdLst>
                  <a:gd name="connsiteX0" fmla="*/ 2402845 w 3220062"/>
                  <a:gd name="connsiteY0" fmla="*/ 3048690 h 3183237"/>
                  <a:gd name="connsiteX1" fmla="*/ 2902741 w 3220062"/>
                  <a:gd name="connsiteY1" fmla="*/ 2108752 h 3183237"/>
                  <a:gd name="connsiteX2" fmla="*/ 3137301 w 3220062"/>
                  <a:gd name="connsiteY2" fmla="*/ 794722 h 3183237"/>
                  <a:gd name="connsiteX3" fmla="*/ 1951696 w 3220062"/>
                  <a:gd name="connsiteY3" fmla="*/ 528615 h 3183237"/>
                  <a:gd name="connsiteX4" fmla="*/ 519498 w 3220062"/>
                  <a:gd name="connsiteY4" fmla="*/ 59031 h 3183237"/>
                  <a:gd name="connsiteX5" fmla="*/ 91104 w 3220062"/>
                  <a:gd name="connsiteY5" fmla="*/ 1282277 h 3183237"/>
                  <a:gd name="connsiteX6" fmla="*/ 180577 w 3220062"/>
                  <a:gd name="connsiteY6" fmla="*/ 2875527 h 3183237"/>
                  <a:gd name="connsiteX7" fmla="*/ 1194100 w 3220062"/>
                  <a:gd name="connsiteY7" fmla="*/ 3042597 h 3183237"/>
                  <a:gd name="connsiteX8" fmla="*/ 2402690 w 3220062"/>
                  <a:gd name="connsiteY8" fmla="*/ 3048690 h 3183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062" h="3183237">
                    <a:moveTo>
                      <a:pt x="2402845" y="3048690"/>
                    </a:moveTo>
                    <a:cubicBezTo>
                      <a:pt x="2713920" y="2841743"/>
                      <a:pt x="2804166" y="2487088"/>
                      <a:pt x="2902741" y="2108752"/>
                    </a:cubicBezTo>
                    <a:cubicBezTo>
                      <a:pt x="3019057" y="1661538"/>
                      <a:pt x="3381426" y="1157322"/>
                      <a:pt x="3137301" y="794722"/>
                    </a:cubicBezTo>
                    <a:cubicBezTo>
                      <a:pt x="2930046" y="486809"/>
                      <a:pt x="2327563" y="626033"/>
                      <a:pt x="1951696" y="528615"/>
                    </a:cubicBezTo>
                    <a:cubicBezTo>
                      <a:pt x="1502322" y="412221"/>
                      <a:pt x="882484" y="-187870"/>
                      <a:pt x="519498" y="59031"/>
                    </a:cubicBezTo>
                    <a:cubicBezTo>
                      <a:pt x="214284" y="266672"/>
                      <a:pt x="187442" y="908415"/>
                      <a:pt x="91104" y="1282277"/>
                    </a:cubicBezTo>
                    <a:cubicBezTo>
                      <a:pt x="-24441" y="1729877"/>
                      <a:pt x="-64396" y="2513621"/>
                      <a:pt x="180577" y="2875527"/>
                    </a:cubicBezTo>
                    <a:cubicBezTo>
                      <a:pt x="388064" y="3182052"/>
                      <a:pt x="819235" y="2945718"/>
                      <a:pt x="1194100" y="3042597"/>
                    </a:cubicBezTo>
                    <a:cubicBezTo>
                      <a:pt x="1637304" y="3157215"/>
                      <a:pt x="2042173" y="3288495"/>
                      <a:pt x="2402690" y="304869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523D0940-3E89-6C25-C455-C89D6490C488}"/>
                  </a:ext>
                </a:extLst>
              </p:cNvPr>
              <p:cNvSpPr/>
              <p:nvPr/>
            </p:nvSpPr>
            <p:spPr>
              <a:xfrm>
                <a:off x="4575239" y="2579941"/>
                <a:ext cx="3223194" cy="3183120"/>
              </a:xfrm>
              <a:custGeom>
                <a:avLst/>
                <a:gdLst>
                  <a:gd name="connsiteX0" fmla="*/ 2431079 w 3223194"/>
                  <a:gd name="connsiteY0" fmla="*/ 3058906 h 3183120"/>
                  <a:gd name="connsiteX1" fmla="*/ 2862096 w 3223194"/>
                  <a:gd name="connsiteY1" fmla="*/ 2109327 h 3183120"/>
                  <a:gd name="connsiteX2" fmla="*/ 3141779 w 3223194"/>
                  <a:gd name="connsiteY2" fmla="*/ 782570 h 3183120"/>
                  <a:gd name="connsiteX3" fmla="*/ 1926632 w 3223194"/>
                  <a:gd name="connsiteY3" fmla="*/ 577475 h 3183120"/>
                  <a:gd name="connsiteX4" fmla="*/ 457565 w 3223194"/>
                  <a:gd name="connsiteY4" fmla="*/ 59838 h 3183120"/>
                  <a:gd name="connsiteX5" fmla="*/ 127129 w 3223194"/>
                  <a:gd name="connsiteY5" fmla="*/ 1304526 h 3183120"/>
                  <a:gd name="connsiteX6" fmla="*/ 157519 w 3223194"/>
                  <a:gd name="connsiteY6" fmla="*/ 2949610 h 3183120"/>
                  <a:gd name="connsiteX7" fmla="*/ 1212307 w 3223194"/>
                  <a:gd name="connsiteY7" fmla="*/ 3004836 h 3183120"/>
                  <a:gd name="connsiteX8" fmla="*/ 2431002 w 3223194"/>
                  <a:gd name="connsiteY8" fmla="*/ 3058906 h 318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3194" h="3183120">
                    <a:moveTo>
                      <a:pt x="2431079" y="3058906"/>
                    </a:moveTo>
                    <a:cubicBezTo>
                      <a:pt x="2728888" y="2852731"/>
                      <a:pt x="2765372" y="2481646"/>
                      <a:pt x="2862096" y="2109327"/>
                    </a:cubicBezTo>
                    <a:cubicBezTo>
                      <a:pt x="2981343" y="1650080"/>
                      <a:pt x="3397011" y="1146327"/>
                      <a:pt x="3141779" y="782570"/>
                    </a:cubicBezTo>
                    <a:cubicBezTo>
                      <a:pt x="2935526" y="488695"/>
                      <a:pt x="2295712" y="673119"/>
                      <a:pt x="1926632" y="577475"/>
                    </a:cubicBezTo>
                    <a:cubicBezTo>
                      <a:pt x="1464608" y="457765"/>
                      <a:pt x="822016" y="-198865"/>
                      <a:pt x="457565" y="59838"/>
                    </a:cubicBezTo>
                    <a:cubicBezTo>
                      <a:pt x="166852" y="266168"/>
                      <a:pt x="221848" y="938146"/>
                      <a:pt x="127129" y="1304526"/>
                    </a:cubicBezTo>
                    <a:cubicBezTo>
                      <a:pt x="8113" y="1764776"/>
                      <a:pt x="-99178" y="2585930"/>
                      <a:pt x="157519" y="2949610"/>
                    </a:cubicBezTo>
                    <a:cubicBezTo>
                      <a:pt x="363849" y="3241942"/>
                      <a:pt x="844539" y="2909655"/>
                      <a:pt x="1212307" y="3004836"/>
                    </a:cubicBezTo>
                    <a:cubicBezTo>
                      <a:pt x="1667544" y="3122695"/>
                      <a:pt x="2068942" y="3309510"/>
                      <a:pt x="2431002" y="305890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0E7B1A2C-AA09-2DF2-2787-7989AB7571CF}"/>
                  </a:ext>
                </a:extLst>
              </p:cNvPr>
              <p:cNvSpPr/>
              <p:nvPr/>
            </p:nvSpPr>
            <p:spPr>
              <a:xfrm>
                <a:off x="4574616" y="2574268"/>
                <a:ext cx="3233910" cy="3186151"/>
              </a:xfrm>
              <a:custGeom>
                <a:avLst/>
                <a:gdLst>
                  <a:gd name="connsiteX0" fmla="*/ 2828318 w 3233910"/>
                  <a:gd name="connsiteY0" fmla="*/ 2109987 h 3186151"/>
                  <a:gd name="connsiteX1" fmla="*/ 3153201 w 3233910"/>
                  <a:gd name="connsiteY1" fmla="*/ 770580 h 3186151"/>
                  <a:gd name="connsiteX2" fmla="*/ 1908512 w 3233910"/>
                  <a:gd name="connsiteY2" fmla="*/ 626573 h 3186151"/>
                  <a:gd name="connsiteX3" fmla="*/ 402652 w 3233910"/>
                  <a:gd name="connsiteY3" fmla="*/ 60883 h 3186151"/>
                  <a:gd name="connsiteX4" fmla="*/ 170175 w 3233910"/>
                  <a:gd name="connsiteY4" fmla="*/ 1327014 h 3186151"/>
                  <a:gd name="connsiteX5" fmla="*/ 141404 w 3233910"/>
                  <a:gd name="connsiteY5" fmla="*/ 3023854 h 3186151"/>
                  <a:gd name="connsiteX6" fmla="*/ 1237458 w 3233910"/>
                  <a:gd name="connsiteY6" fmla="*/ 2967238 h 3186151"/>
                  <a:gd name="connsiteX7" fmla="*/ 2466180 w 3233910"/>
                  <a:gd name="connsiteY7" fmla="*/ 3069285 h 3186151"/>
                  <a:gd name="connsiteX8" fmla="*/ 2828318 w 3233910"/>
                  <a:gd name="connsiteY8" fmla="*/ 2110064 h 3186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3910" h="3186151">
                    <a:moveTo>
                      <a:pt x="2828318" y="2109987"/>
                    </a:moveTo>
                    <a:cubicBezTo>
                      <a:pt x="2950419" y="1638707"/>
                      <a:pt x="3419925" y="1135031"/>
                      <a:pt x="3153201" y="770580"/>
                    </a:cubicBezTo>
                    <a:cubicBezTo>
                      <a:pt x="2948182" y="490434"/>
                      <a:pt x="2270727" y="720366"/>
                      <a:pt x="1908512" y="626573"/>
                    </a:cubicBezTo>
                    <a:cubicBezTo>
                      <a:pt x="1433915" y="503624"/>
                      <a:pt x="768029" y="-210007"/>
                      <a:pt x="402652" y="60883"/>
                    </a:cubicBezTo>
                    <a:cubicBezTo>
                      <a:pt x="126286" y="265747"/>
                      <a:pt x="263197" y="968039"/>
                      <a:pt x="170175" y="1327014"/>
                    </a:cubicBezTo>
                    <a:cubicBezTo>
                      <a:pt x="47611" y="1799914"/>
                      <a:pt x="-127326" y="2658939"/>
                      <a:pt x="141404" y="3023854"/>
                    </a:cubicBezTo>
                    <a:cubicBezTo>
                      <a:pt x="346345" y="3302147"/>
                      <a:pt x="876786" y="2873831"/>
                      <a:pt x="1237458" y="2967238"/>
                    </a:cubicBezTo>
                    <a:cubicBezTo>
                      <a:pt x="1704727" y="3088336"/>
                      <a:pt x="2102963" y="3331072"/>
                      <a:pt x="2466180" y="3069285"/>
                    </a:cubicBezTo>
                    <a:cubicBezTo>
                      <a:pt x="2750877" y="2864112"/>
                      <a:pt x="2733445" y="2476289"/>
                      <a:pt x="2828318" y="21100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38" name="Graphic 5">
              <a:extLst>
                <a:ext uri="{FF2B5EF4-FFF2-40B4-BE49-F238E27FC236}">
                  <a16:creationId xmlns:a16="http://schemas.microsoft.com/office/drawing/2014/main" id="{49CE53C9-4A6A-8FF7-0606-6EA1EB74B601}"/>
                </a:ext>
              </a:extLst>
            </p:cNvPr>
            <p:cNvGrpSpPr/>
            <p:nvPr/>
          </p:nvGrpSpPr>
          <p:grpSpPr>
            <a:xfrm rot="20743245">
              <a:off x="-1641318" y="712755"/>
              <a:ext cx="8683276" cy="5650143"/>
              <a:chOff x="3224705" y="2448010"/>
              <a:chExt cx="5745675" cy="3738674"/>
            </a:xfrm>
            <a:noFill/>
          </p:grpSpPr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0DF62038-1ED8-4F25-DC6F-197E7C6A0B76}"/>
                  </a:ext>
                </a:extLst>
              </p:cNvPr>
              <p:cNvSpPr/>
              <p:nvPr/>
            </p:nvSpPr>
            <p:spPr>
              <a:xfrm>
                <a:off x="3224705" y="2973429"/>
                <a:ext cx="4086746" cy="2988613"/>
              </a:xfrm>
              <a:custGeom>
                <a:avLst/>
                <a:gdLst>
                  <a:gd name="connsiteX0" fmla="*/ 3021857 w 4086746"/>
                  <a:gd name="connsiteY0" fmla="*/ 21082 h 2988613"/>
                  <a:gd name="connsiteX1" fmla="*/ 1949714 w 4086746"/>
                  <a:gd name="connsiteY1" fmla="*/ 140561 h 2988613"/>
                  <a:gd name="connsiteX2" fmla="*/ 17620 w 4086746"/>
                  <a:gd name="connsiteY2" fmla="*/ 326759 h 2988613"/>
                  <a:gd name="connsiteX3" fmla="*/ 1162808 w 4086746"/>
                  <a:gd name="connsiteY3" fmla="*/ 2051134 h 2988613"/>
                  <a:gd name="connsiteX4" fmla="*/ 2164991 w 4086746"/>
                  <a:gd name="connsiteY4" fmla="*/ 2546943 h 2988613"/>
                  <a:gd name="connsiteX5" fmla="*/ 3449172 w 4086746"/>
                  <a:gd name="connsiteY5" fmla="*/ 2922733 h 2988613"/>
                  <a:gd name="connsiteX6" fmla="*/ 3803596 w 4086746"/>
                  <a:gd name="connsiteY6" fmla="*/ 1748620 h 2988613"/>
                  <a:gd name="connsiteX7" fmla="*/ 3997970 w 4086746"/>
                  <a:gd name="connsiteY7" fmla="*/ 855117 h 2988613"/>
                  <a:gd name="connsiteX8" fmla="*/ 3021857 w 4086746"/>
                  <a:gd name="connsiteY8" fmla="*/ 21160 h 2988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6746" h="2988613">
                    <a:moveTo>
                      <a:pt x="3021857" y="21082"/>
                    </a:moveTo>
                    <a:cubicBezTo>
                      <a:pt x="2524275" y="34658"/>
                      <a:pt x="2338926" y="-88523"/>
                      <a:pt x="1949714" y="140561"/>
                    </a:cubicBezTo>
                    <a:cubicBezTo>
                      <a:pt x="1650594" y="316654"/>
                      <a:pt x="147126" y="-24349"/>
                      <a:pt x="17620" y="326759"/>
                    </a:cubicBezTo>
                    <a:cubicBezTo>
                      <a:pt x="-151995" y="786777"/>
                      <a:pt x="953624" y="1647191"/>
                      <a:pt x="1162808" y="2051134"/>
                    </a:cubicBezTo>
                    <a:cubicBezTo>
                      <a:pt x="1489850" y="2682542"/>
                      <a:pt x="1817123" y="2418671"/>
                      <a:pt x="2164991" y="2546943"/>
                    </a:cubicBezTo>
                    <a:cubicBezTo>
                      <a:pt x="2623313" y="2715940"/>
                      <a:pt x="3059267" y="3153822"/>
                      <a:pt x="3449172" y="2922733"/>
                    </a:cubicBezTo>
                    <a:cubicBezTo>
                      <a:pt x="3746441" y="2746562"/>
                      <a:pt x="3674708" y="2098108"/>
                      <a:pt x="3803596" y="1748620"/>
                    </a:cubicBezTo>
                    <a:cubicBezTo>
                      <a:pt x="3970588" y="1295698"/>
                      <a:pt x="4222272" y="1242631"/>
                      <a:pt x="3997970" y="855117"/>
                    </a:cubicBezTo>
                    <a:cubicBezTo>
                      <a:pt x="3822185" y="551446"/>
                      <a:pt x="3400038" y="10824"/>
                      <a:pt x="3021857" y="211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A8D3D0AF-B732-FDB1-3903-A9FF38737284}"/>
                  </a:ext>
                </a:extLst>
              </p:cNvPr>
              <p:cNvSpPr/>
              <p:nvPr/>
            </p:nvSpPr>
            <p:spPr>
              <a:xfrm>
                <a:off x="3285345" y="2945042"/>
                <a:ext cx="4163768" cy="2979360"/>
              </a:xfrm>
              <a:custGeom>
                <a:avLst/>
                <a:gdLst>
                  <a:gd name="connsiteX0" fmla="*/ 3793170 w 4163768"/>
                  <a:gd name="connsiteY0" fmla="*/ 1782639 h 2979360"/>
                  <a:gd name="connsiteX1" fmla="*/ 4094681 w 4163768"/>
                  <a:gd name="connsiteY1" fmla="*/ 868155 h 2979360"/>
                  <a:gd name="connsiteX2" fmla="*/ 2987366 w 4163768"/>
                  <a:gd name="connsiteY2" fmla="*/ 28 h 2979360"/>
                  <a:gd name="connsiteX3" fmla="*/ 1885912 w 4163768"/>
                  <a:gd name="connsiteY3" fmla="*/ 197641 h 2979360"/>
                  <a:gd name="connsiteX4" fmla="*/ 15678 w 4163768"/>
                  <a:gd name="connsiteY4" fmla="*/ 437446 h 2979360"/>
                  <a:gd name="connsiteX5" fmla="*/ 1132404 w 4163768"/>
                  <a:gd name="connsiteY5" fmla="*/ 2066409 h 2979360"/>
                  <a:gd name="connsiteX6" fmla="*/ 2140990 w 4163768"/>
                  <a:gd name="connsiteY6" fmla="*/ 2635648 h 2979360"/>
                  <a:gd name="connsiteX7" fmla="*/ 3375266 w 4163768"/>
                  <a:gd name="connsiteY7" fmla="*/ 2903143 h 2979360"/>
                  <a:gd name="connsiteX8" fmla="*/ 3793247 w 4163768"/>
                  <a:gd name="connsiteY8" fmla="*/ 1782639 h 2979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63768" h="2979360">
                    <a:moveTo>
                      <a:pt x="3793170" y="1782639"/>
                    </a:moveTo>
                    <a:cubicBezTo>
                      <a:pt x="3948438" y="1338818"/>
                      <a:pt x="4315975" y="1250115"/>
                      <a:pt x="4094681" y="868155"/>
                    </a:cubicBezTo>
                    <a:cubicBezTo>
                      <a:pt x="3912417" y="553917"/>
                      <a:pt x="3371717" y="-4523"/>
                      <a:pt x="2987366" y="28"/>
                    </a:cubicBezTo>
                    <a:cubicBezTo>
                      <a:pt x="2503822" y="5735"/>
                      <a:pt x="2269030" y="-27894"/>
                      <a:pt x="1885912" y="197641"/>
                    </a:cubicBezTo>
                    <a:cubicBezTo>
                      <a:pt x="1575531" y="380291"/>
                      <a:pt x="141019" y="77932"/>
                      <a:pt x="15678" y="437446"/>
                    </a:cubicBezTo>
                    <a:cubicBezTo>
                      <a:pt x="-141132" y="887207"/>
                      <a:pt x="925072" y="1670179"/>
                      <a:pt x="1132404" y="2066409"/>
                    </a:cubicBezTo>
                    <a:cubicBezTo>
                      <a:pt x="1452196" y="2678688"/>
                      <a:pt x="1784560" y="2511310"/>
                      <a:pt x="2140990" y="2635648"/>
                    </a:cubicBezTo>
                    <a:cubicBezTo>
                      <a:pt x="2589439" y="2792072"/>
                      <a:pt x="2991608" y="3130376"/>
                      <a:pt x="3375266" y="2903143"/>
                    </a:cubicBezTo>
                    <a:cubicBezTo>
                      <a:pt x="3683333" y="2720725"/>
                      <a:pt x="3668215" y="2140071"/>
                      <a:pt x="3793247" y="178263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7F4E4264-1E89-FBF5-708C-86B2F33A41D1}"/>
                  </a:ext>
                </a:extLst>
              </p:cNvPr>
              <p:cNvSpPr/>
              <p:nvPr/>
            </p:nvSpPr>
            <p:spPr>
              <a:xfrm>
                <a:off x="3345777" y="2895587"/>
                <a:ext cx="4247432" cy="2996098"/>
              </a:xfrm>
              <a:custGeom>
                <a:avLst/>
                <a:gdLst>
                  <a:gd name="connsiteX0" fmla="*/ 3783028 w 4247432"/>
                  <a:gd name="connsiteY0" fmla="*/ 1837724 h 2996098"/>
                  <a:gd name="connsiteX1" fmla="*/ 4191599 w 4247432"/>
                  <a:gd name="connsiteY1" fmla="*/ 902338 h 2996098"/>
                  <a:gd name="connsiteX2" fmla="*/ 2953081 w 4247432"/>
                  <a:gd name="connsiteY2" fmla="*/ 41 h 2996098"/>
                  <a:gd name="connsiteX3" fmla="*/ 1822318 w 4247432"/>
                  <a:gd name="connsiteY3" fmla="*/ 275790 h 2996098"/>
                  <a:gd name="connsiteX4" fmla="*/ 13867 w 4247432"/>
                  <a:gd name="connsiteY4" fmla="*/ 569202 h 2996098"/>
                  <a:gd name="connsiteX5" fmla="*/ 1102053 w 4247432"/>
                  <a:gd name="connsiteY5" fmla="*/ 2102675 h 2996098"/>
                  <a:gd name="connsiteX6" fmla="*/ 2117041 w 4247432"/>
                  <a:gd name="connsiteY6" fmla="*/ 2745420 h 2996098"/>
                  <a:gd name="connsiteX7" fmla="*/ 3301335 w 4247432"/>
                  <a:gd name="connsiteY7" fmla="*/ 2904699 h 2996098"/>
                  <a:gd name="connsiteX8" fmla="*/ 3782951 w 4247432"/>
                  <a:gd name="connsiteY8" fmla="*/ 1837724 h 299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47432" h="2996098">
                    <a:moveTo>
                      <a:pt x="3783028" y="1837724"/>
                    </a:moveTo>
                    <a:cubicBezTo>
                      <a:pt x="3926880" y="1403159"/>
                      <a:pt x="4410039" y="1278667"/>
                      <a:pt x="4191599" y="902338"/>
                    </a:cubicBezTo>
                    <a:cubicBezTo>
                      <a:pt x="4002856" y="577532"/>
                      <a:pt x="3343681" y="1506"/>
                      <a:pt x="2953081" y="41"/>
                    </a:cubicBezTo>
                    <a:cubicBezTo>
                      <a:pt x="2483575" y="-1733"/>
                      <a:pt x="2199342" y="53802"/>
                      <a:pt x="1822318" y="275790"/>
                    </a:cubicBezTo>
                    <a:cubicBezTo>
                      <a:pt x="1500752" y="465073"/>
                      <a:pt x="134888" y="201125"/>
                      <a:pt x="13867" y="569202"/>
                    </a:cubicBezTo>
                    <a:cubicBezTo>
                      <a:pt x="-130603" y="1008626"/>
                      <a:pt x="896726" y="1714158"/>
                      <a:pt x="1102053" y="2102675"/>
                    </a:cubicBezTo>
                    <a:cubicBezTo>
                      <a:pt x="1414672" y="2695824"/>
                      <a:pt x="1751896" y="2625171"/>
                      <a:pt x="2117041" y="2745420"/>
                    </a:cubicBezTo>
                    <a:cubicBezTo>
                      <a:pt x="2555309" y="2889658"/>
                      <a:pt x="2924002" y="3128075"/>
                      <a:pt x="3301335" y="2904699"/>
                    </a:cubicBezTo>
                    <a:cubicBezTo>
                      <a:pt x="3620201" y="2716033"/>
                      <a:pt x="3661930" y="2203256"/>
                      <a:pt x="3782951" y="183772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8EE56F44-9F01-5742-DE17-649EBBFF036C}"/>
                  </a:ext>
                </a:extLst>
              </p:cNvPr>
              <p:cNvSpPr/>
              <p:nvPr/>
            </p:nvSpPr>
            <p:spPr>
              <a:xfrm>
                <a:off x="3406170" y="2845727"/>
                <a:ext cx="4334890" cy="3021757"/>
              </a:xfrm>
              <a:custGeom>
                <a:avLst/>
                <a:gdLst>
                  <a:gd name="connsiteX0" fmla="*/ 3772848 w 4334890"/>
                  <a:gd name="connsiteY0" fmla="*/ 1893214 h 3021757"/>
                  <a:gd name="connsiteX1" fmla="*/ 4288557 w 4334890"/>
                  <a:gd name="connsiteY1" fmla="*/ 936924 h 3021757"/>
                  <a:gd name="connsiteX2" fmla="*/ 2918837 w 4334890"/>
                  <a:gd name="connsiteY2" fmla="*/ 381 h 3021757"/>
                  <a:gd name="connsiteX3" fmla="*/ 1758762 w 4334890"/>
                  <a:gd name="connsiteY3" fmla="*/ 354188 h 3021757"/>
                  <a:gd name="connsiteX4" fmla="*/ 12172 w 4334890"/>
                  <a:gd name="connsiteY4" fmla="*/ 701207 h 3021757"/>
                  <a:gd name="connsiteX5" fmla="*/ 1071897 w 4334890"/>
                  <a:gd name="connsiteY5" fmla="*/ 2139267 h 3021757"/>
                  <a:gd name="connsiteX6" fmla="*/ 2093286 w 4334890"/>
                  <a:gd name="connsiteY6" fmla="*/ 2855443 h 3021757"/>
                  <a:gd name="connsiteX7" fmla="*/ 3227676 w 4334890"/>
                  <a:gd name="connsiteY7" fmla="*/ 2906427 h 3021757"/>
                  <a:gd name="connsiteX8" fmla="*/ 3772926 w 4334890"/>
                  <a:gd name="connsiteY8" fmla="*/ 1893060 h 3021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34890" h="3021757">
                    <a:moveTo>
                      <a:pt x="3772848" y="1893214"/>
                    </a:moveTo>
                    <a:cubicBezTo>
                      <a:pt x="3905671" y="1468137"/>
                      <a:pt x="4503989" y="1307701"/>
                      <a:pt x="4288557" y="936924"/>
                    </a:cubicBezTo>
                    <a:cubicBezTo>
                      <a:pt x="4093411" y="601629"/>
                      <a:pt x="3315684" y="8094"/>
                      <a:pt x="2918837" y="381"/>
                    </a:cubicBezTo>
                    <a:cubicBezTo>
                      <a:pt x="2463446" y="-8412"/>
                      <a:pt x="2129770" y="135826"/>
                      <a:pt x="1758762" y="354188"/>
                    </a:cubicBezTo>
                    <a:cubicBezTo>
                      <a:pt x="1425935" y="550027"/>
                      <a:pt x="128642" y="324415"/>
                      <a:pt x="12172" y="701207"/>
                    </a:cubicBezTo>
                    <a:cubicBezTo>
                      <a:pt x="-120342" y="1129987"/>
                      <a:pt x="868421" y="1758386"/>
                      <a:pt x="1071897" y="2139267"/>
                    </a:cubicBezTo>
                    <a:cubicBezTo>
                      <a:pt x="1377265" y="2713288"/>
                      <a:pt x="1719270" y="2739667"/>
                      <a:pt x="2093286" y="2855443"/>
                    </a:cubicBezTo>
                    <a:cubicBezTo>
                      <a:pt x="2521218" y="2987957"/>
                      <a:pt x="2856591" y="3126024"/>
                      <a:pt x="3227676" y="2906427"/>
                    </a:cubicBezTo>
                    <a:cubicBezTo>
                      <a:pt x="3557340" y="2711514"/>
                      <a:pt x="3656147" y="2266690"/>
                      <a:pt x="3772926" y="18930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EFBA01E-DAF1-6843-2FDB-62D11C9498AB}"/>
                  </a:ext>
                </a:extLst>
              </p:cNvPr>
              <p:cNvSpPr/>
              <p:nvPr/>
            </p:nvSpPr>
            <p:spPr>
              <a:xfrm>
                <a:off x="3466359" y="2795931"/>
                <a:ext cx="4425026" cy="3063471"/>
              </a:xfrm>
              <a:custGeom>
                <a:avLst/>
                <a:gdLst>
                  <a:gd name="connsiteX0" fmla="*/ 3762949 w 4425026"/>
                  <a:gd name="connsiteY0" fmla="*/ 1948641 h 3063471"/>
                  <a:gd name="connsiteX1" fmla="*/ 4385718 w 4425026"/>
                  <a:gd name="connsiteY1" fmla="*/ 971448 h 3063471"/>
                  <a:gd name="connsiteX2" fmla="*/ 2884795 w 4425026"/>
                  <a:gd name="connsiteY2" fmla="*/ 735 h 3063471"/>
                  <a:gd name="connsiteX3" fmla="*/ 1695410 w 4425026"/>
                  <a:gd name="connsiteY3" fmla="*/ 432677 h 3063471"/>
                  <a:gd name="connsiteX4" fmla="*/ 10603 w 4425026"/>
                  <a:gd name="connsiteY4" fmla="*/ 833304 h 3063471"/>
                  <a:gd name="connsiteX5" fmla="*/ 1041789 w 4425026"/>
                  <a:gd name="connsiteY5" fmla="*/ 2175951 h 3063471"/>
                  <a:gd name="connsiteX6" fmla="*/ 2069581 w 4425026"/>
                  <a:gd name="connsiteY6" fmla="*/ 2965634 h 3063471"/>
                  <a:gd name="connsiteX7" fmla="*/ 3154065 w 4425026"/>
                  <a:gd name="connsiteY7" fmla="*/ 2908401 h 3063471"/>
                  <a:gd name="connsiteX8" fmla="*/ 3762949 w 4425026"/>
                  <a:gd name="connsiteY8" fmla="*/ 1948564 h 3063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25026" h="3063471">
                    <a:moveTo>
                      <a:pt x="3762949" y="1948641"/>
                    </a:moveTo>
                    <a:cubicBezTo>
                      <a:pt x="3885128" y="1533127"/>
                      <a:pt x="4598295" y="1336594"/>
                      <a:pt x="4385718" y="971448"/>
                    </a:cubicBezTo>
                    <a:cubicBezTo>
                      <a:pt x="4184094" y="625586"/>
                      <a:pt x="3287967" y="14927"/>
                      <a:pt x="2884795" y="735"/>
                    </a:cubicBezTo>
                    <a:cubicBezTo>
                      <a:pt x="2443596" y="-14769"/>
                      <a:pt x="2060325" y="217863"/>
                      <a:pt x="1695410" y="432677"/>
                    </a:cubicBezTo>
                    <a:cubicBezTo>
                      <a:pt x="1351399" y="635150"/>
                      <a:pt x="122214" y="447718"/>
                      <a:pt x="10603" y="833304"/>
                    </a:cubicBezTo>
                    <a:cubicBezTo>
                      <a:pt x="-110418" y="1251362"/>
                      <a:pt x="840318" y="1802706"/>
                      <a:pt x="1041789" y="2175951"/>
                    </a:cubicBezTo>
                    <a:cubicBezTo>
                      <a:pt x="1339983" y="2730842"/>
                      <a:pt x="1686617" y="2854485"/>
                      <a:pt x="2069581" y="2965634"/>
                    </a:cubicBezTo>
                    <a:cubicBezTo>
                      <a:pt x="2487022" y="3086809"/>
                      <a:pt x="2789228" y="3124141"/>
                      <a:pt x="3154065" y="2908401"/>
                    </a:cubicBezTo>
                    <a:cubicBezTo>
                      <a:pt x="3494528" y="2707240"/>
                      <a:pt x="3650644" y="2330524"/>
                      <a:pt x="3762949" y="19485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C0C3DCCC-CC43-2E13-D627-DD5FD21E1845}"/>
                  </a:ext>
                </a:extLst>
              </p:cNvPr>
              <p:cNvSpPr/>
              <p:nvPr/>
            </p:nvSpPr>
            <p:spPr>
              <a:xfrm>
                <a:off x="3526436" y="2746166"/>
                <a:ext cx="4516838" cy="3129085"/>
              </a:xfrm>
              <a:custGeom>
                <a:avLst/>
                <a:gdLst>
                  <a:gd name="connsiteX0" fmla="*/ 3753086 w 4516838"/>
                  <a:gd name="connsiteY0" fmla="*/ 2004037 h 3129085"/>
                  <a:gd name="connsiteX1" fmla="*/ 4482992 w 4516838"/>
                  <a:gd name="connsiteY1" fmla="*/ 1005942 h 3129085"/>
                  <a:gd name="connsiteX2" fmla="*/ 2850866 w 4516838"/>
                  <a:gd name="connsiteY2" fmla="*/ 1059 h 3129085"/>
                  <a:gd name="connsiteX3" fmla="*/ 1632171 w 4516838"/>
                  <a:gd name="connsiteY3" fmla="*/ 511136 h 3129085"/>
                  <a:gd name="connsiteX4" fmla="*/ 9147 w 4516838"/>
                  <a:gd name="connsiteY4" fmla="*/ 965447 h 3129085"/>
                  <a:gd name="connsiteX5" fmla="*/ 1011871 w 4516838"/>
                  <a:gd name="connsiteY5" fmla="*/ 2212681 h 3129085"/>
                  <a:gd name="connsiteX6" fmla="*/ 2046065 w 4516838"/>
                  <a:gd name="connsiteY6" fmla="*/ 3075871 h 3129085"/>
                  <a:gd name="connsiteX7" fmla="*/ 3080644 w 4516838"/>
                  <a:gd name="connsiteY7" fmla="*/ 2910345 h 3129085"/>
                  <a:gd name="connsiteX8" fmla="*/ 3753163 w 4516838"/>
                  <a:gd name="connsiteY8" fmla="*/ 2004114 h 3129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16838" h="3129085">
                    <a:moveTo>
                      <a:pt x="3753086" y="2004037"/>
                    </a:moveTo>
                    <a:cubicBezTo>
                      <a:pt x="3864928" y="1598166"/>
                      <a:pt x="4692561" y="1365534"/>
                      <a:pt x="4482992" y="1005942"/>
                    </a:cubicBezTo>
                    <a:cubicBezTo>
                      <a:pt x="4274888" y="649589"/>
                      <a:pt x="3260286" y="21962"/>
                      <a:pt x="2850866" y="1059"/>
                    </a:cubicBezTo>
                    <a:cubicBezTo>
                      <a:pt x="2423783" y="-20770"/>
                      <a:pt x="1990992" y="299870"/>
                      <a:pt x="1632171" y="511136"/>
                    </a:cubicBezTo>
                    <a:cubicBezTo>
                      <a:pt x="1276976" y="720166"/>
                      <a:pt x="115667" y="570837"/>
                      <a:pt x="9147" y="965447"/>
                    </a:cubicBezTo>
                    <a:cubicBezTo>
                      <a:pt x="-100767" y="1372553"/>
                      <a:pt x="812252" y="1847149"/>
                      <a:pt x="1011871" y="2212681"/>
                    </a:cubicBezTo>
                    <a:cubicBezTo>
                      <a:pt x="1302892" y="2748444"/>
                      <a:pt x="1654000" y="2969583"/>
                      <a:pt x="2046065" y="3075871"/>
                    </a:cubicBezTo>
                    <a:cubicBezTo>
                      <a:pt x="2452939" y="3186094"/>
                      <a:pt x="2721978" y="3122305"/>
                      <a:pt x="3080644" y="2910345"/>
                    </a:cubicBezTo>
                    <a:cubicBezTo>
                      <a:pt x="3431906" y="2702935"/>
                      <a:pt x="3645563" y="2394405"/>
                      <a:pt x="3753163" y="20041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E134BA53-C3D5-F28C-468D-98E4A217E1B8}"/>
                  </a:ext>
                </a:extLst>
              </p:cNvPr>
              <p:cNvSpPr/>
              <p:nvPr/>
            </p:nvSpPr>
            <p:spPr>
              <a:xfrm>
                <a:off x="3586413" y="2696421"/>
                <a:ext cx="4609879" cy="3215724"/>
              </a:xfrm>
              <a:custGeom>
                <a:avLst/>
                <a:gdLst>
                  <a:gd name="connsiteX0" fmla="*/ 3743322 w 4609879"/>
                  <a:gd name="connsiteY0" fmla="*/ 2059413 h 3215724"/>
                  <a:gd name="connsiteX1" fmla="*/ 4580365 w 4609879"/>
                  <a:gd name="connsiteY1" fmla="*/ 1040414 h 3215724"/>
                  <a:gd name="connsiteX2" fmla="*/ 2817037 w 4609879"/>
                  <a:gd name="connsiteY2" fmla="*/ 1361 h 3215724"/>
                  <a:gd name="connsiteX3" fmla="*/ 1568955 w 4609879"/>
                  <a:gd name="connsiteY3" fmla="*/ 589575 h 3215724"/>
                  <a:gd name="connsiteX4" fmla="*/ 7791 w 4609879"/>
                  <a:gd name="connsiteY4" fmla="*/ 1097493 h 3215724"/>
                  <a:gd name="connsiteX5" fmla="*/ 981976 w 4609879"/>
                  <a:gd name="connsiteY5" fmla="*/ 2249313 h 3215724"/>
                  <a:gd name="connsiteX6" fmla="*/ 2022571 w 4609879"/>
                  <a:gd name="connsiteY6" fmla="*/ 3185934 h 3215724"/>
                  <a:gd name="connsiteX7" fmla="*/ 3007169 w 4609879"/>
                  <a:gd name="connsiteY7" fmla="*/ 2912190 h 3215724"/>
                  <a:gd name="connsiteX8" fmla="*/ 3743322 w 4609879"/>
                  <a:gd name="connsiteY8" fmla="*/ 2059567 h 3215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09879" h="3215724">
                    <a:moveTo>
                      <a:pt x="3743322" y="2059413"/>
                    </a:moveTo>
                    <a:cubicBezTo>
                      <a:pt x="3845138" y="1663337"/>
                      <a:pt x="4786926" y="1394376"/>
                      <a:pt x="4580365" y="1040414"/>
                    </a:cubicBezTo>
                    <a:cubicBezTo>
                      <a:pt x="4365783" y="673495"/>
                      <a:pt x="3232782" y="29284"/>
                      <a:pt x="2817037" y="1361"/>
                    </a:cubicBezTo>
                    <a:cubicBezTo>
                      <a:pt x="2401292" y="-26560"/>
                      <a:pt x="1921836" y="381934"/>
                      <a:pt x="1568955" y="589575"/>
                    </a:cubicBezTo>
                    <a:cubicBezTo>
                      <a:pt x="1202498" y="805237"/>
                      <a:pt x="108757" y="693858"/>
                      <a:pt x="7791" y="1097493"/>
                    </a:cubicBezTo>
                    <a:cubicBezTo>
                      <a:pt x="-91324" y="1493568"/>
                      <a:pt x="784362" y="1891418"/>
                      <a:pt x="981976" y="2249313"/>
                    </a:cubicBezTo>
                    <a:cubicBezTo>
                      <a:pt x="1265746" y="2765947"/>
                      <a:pt x="1621328" y="3084968"/>
                      <a:pt x="2022571" y="3185934"/>
                    </a:cubicBezTo>
                    <a:cubicBezTo>
                      <a:pt x="2418724" y="3285589"/>
                      <a:pt x="2654827" y="3120217"/>
                      <a:pt x="3007169" y="2912190"/>
                    </a:cubicBezTo>
                    <a:cubicBezTo>
                      <a:pt x="3369229" y="2698533"/>
                      <a:pt x="3640813" y="2458265"/>
                      <a:pt x="3743322" y="205956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5D46DFB2-C859-F02E-DB38-0256D6AC54FB}"/>
                  </a:ext>
                </a:extLst>
              </p:cNvPr>
              <p:cNvSpPr/>
              <p:nvPr/>
            </p:nvSpPr>
            <p:spPr>
              <a:xfrm>
                <a:off x="3646345" y="2646648"/>
                <a:ext cx="4703818" cy="3313713"/>
              </a:xfrm>
              <a:custGeom>
                <a:avLst/>
                <a:gdLst>
                  <a:gd name="connsiteX0" fmla="*/ 3733681 w 4703818"/>
                  <a:gd name="connsiteY0" fmla="*/ 2114893 h 3313713"/>
                  <a:gd name="connsiteX1" fmla="*/ 4677784 w 4703818"/>
                  <a:gd name="connsiteY1" fmla="*/ 1074915 h 3313713"/>
                  <a:gd name="connsiteX2" fmla="*/ 2783330 w 4703818"/>
                  <a:gd name="connsiteY2" fmla="*/ 1615 h 3313713"/>
                  <a:gd name="connsiteX3" fmla="*/ 1505937 w 4703818"/>
                  <a:gd name="connsiteY3" fmla="*/ 667886 h 3313713"/>
                  <a:gd name="connsiteX4" fmla="*/ 6557 w 4703818"/>
                  <a:gd name="connsiteY4" fmla="*/ 1229411 h 3313713"/>
                  <a:gd name="connsiteX5" fmla="*/ 952280 w 4703818"/>
                  <a:gd name="connsiteY5" fmla="*/ 2285819 h 3313713"/>
                  <a:gd name="connsiteX6" fmla="*/ 1999200 w 4703818"/>
                  <a:gd name="connsiteY6" fmla="*/ 3295947 h 3313713"/>
                  <a:gd name="connsiteX7" fmla="*/ 2933893 w 4703818"/>
                  <a:gd name="connsiteY7" fmla="*/ 2913910 h 3313713"/>
                  <a:gd name="connsiteX8" fmla="*/ 3733681 w 4703818"/>
                  <a:gd name="connsiteY8" fmla="*/ 2114816 h 3313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03818" h="3313713">
                    <a:moveTo>
                      <a:pt x="3733681" y="2114893"/>
                    </a:moveTo>
                    <a:cubicBezTo>
                      <a:pt x="3825777" y="1728690"/>
                      <a:pt x="4881491" y="1423323"/>
                      <a:pt x="4677784" y="1074915"/>
                    </a:cubicBezTo>
                    <a:cubicBezTo>
                      <a:pt x="4456722" y="697428"/>
                      <a:pt x="3205245" y="37019"/>
                      <a:pt x="2783330" y="1615"/>
                    </a:cubicBezTo>
                    <a:cubicBezTo>
                      <a:pt x="2384478" y="-31860"/>
                      <a:pt x="1852725" y="463871"/>
                      <a:pt x="1505937" y="667886"/>
                    </a:cubicBezTo>
                    <a:cubicBezTo>
                      <a:pt x="1128296" y="890105"/>
                      <a:pt x="101738" y="816675"/>
                      <a:pt x="6557" y="1229411"/>
                    </a:cubicBezTo>
                    <a:cubicBezTo>
                      <a:pt x="-82223" y="1614457"/>
                      <a:pt x="756517" y="1935560"/>
                      <a:pt x="952280" y="2285819"/>
                    </a:cubicBezTo>
                    <a:cubicBezTo>
                      <a:pt x="1228877" y="2783324"/>
                      <a:pt x="1588778" y="3200611"/>
                      <a:pt x="1999200" y="3295947"/>
                    </a:cubicBezTo>
                    <a:cubicBezTo>
                      <a:pt x="2384478" y="3385421"/>
                      <a:pt x="2587799" y="3118157"/>
                      <a:pt x="2933893" y="2913910"/>
                    </a:cubicBezTo>
                    <a:cubicBezTo>
                      <a:pt x="3306752" y="2694082"/>
                      <a:pt x="3636494" y="2522076"/>
                      <a:pt x="3733681" y="2114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02816FBF-8C88-A565-9696-A74F81F385EE}"/>
                  </a:ext>
                </a:extLst>
              </p:cNvPr>
              <p:cNvSpPr/>
              <p:nvPr/>
            </p:nvSpPr>
            <p:spPr>
              <a:xfrm>
                <a:off x="3706188" y="2596973"/>
                <a:ext cx="4798420" cy="3416920"/>
              </a:xfrm>
              <a:custGeom>
                <a:avLst/>
                <a:gdLst>
                  <a:gd name="connsiteX0" fmla="*/ 3724051 w 4798420"/>
                  <a:gd name="connsiteY0" fmla="*/ 2170199 h 3416920"/>
                  <a:gd name="connsiteX1" fmla="*/ 4775292 w 4798420"/>
                  <a:gd name="connsiteY1" fmla="*/ 1109318 h 3416920"/>
                  <a:gd name="connsiteX2" fmla="*/ 2749635 w 4798420"/>
                  <a:gd name="connsiteY2" fmla="*/ 1848 h 3416920"/>
                  <a:gd name="connsiteX3" fmla="*/ 1442932 w 4798420"/>
                  <a:gd name="connsiteY3" fmla="*/ 746255 h 3416920"/>
                  <a:gd name="connsiteX4" fmla="*/ 5412 w 4798420"/>
                  <a:gd name="connsiteY4" fmla="*/ 1361387 h 3416920"/>
                  <a:gd name="connsiteX5" fmla="*/ 922596 w 4798420"/>
                  <a:gd name="connsiteY5" fmla="*/ 2322304 h 3416920"/>
                  <a:gd name="connsiteX6" fmla="*/ 1975918 w 4798420"/>
                  <a:gd name="connsiteY6" fmla="*/ 3405863 h 3416920"/>
                  <a:gd name="connsiteX7" fmla="*/ 2860706 w 4798420"/>
                  <a:gd name="connsiteY7" fmla="*/ 2915608 h 3416920"/>
                  <a:gd name="connsiteX8" fmla="*/ 3724129 w 4798420"/>
                  <a:gd name="connsiteY8" fmla="*/ 2170122 h 3416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98420" h="3416920">
                    <a:moveTo>
                      <a:pt x="3724051" y="2170199"/>
                    </a:moveTo>
                    <a:cubicBezTo>
                      <a:pt x="3806815" y="1793946"/>
                      <a:pt x="4975991" y="1452172"/>
                      <a:pt x="4775292" y="1109318"/>
                    </a:cubicBezTo>
                    <a:cubicBezTo>
                      <a:pt x="4547751" y="721341"/>
                      <a:pt x="3177798" y="45042"/>
                      <a:pt x="2749635" y="1848"/>
                    </a:cubicBezTo>
                    <a:cubicBezTo>
                      <a:pt x="2364821" y="-36950"/>
                      <a:pt x="1783627" y="545787"/>
                      <a:pt x="1442932" y="746255"/>
                    </a:cubicBezTo>
                    <a:cubicBezTo>
                      <a:pt x="1054030" y="975107"/>
                      <a:pt x="94192" y="939472"/>
                      <a:pt x="5412" y="1361387"/>
                    </a:cubicBezTo>
                    <a:cubicBezTo>
                      <a:pt x="-73263" y="1735248"/>
                      <a:pt x="728761" y="1979759"/>
                      <a:pt x="922596" y="2322304"/>
                    </a:cubicBezTo>
                    <a:cubicBezTo>
                      <a:pt x="1191943" y="2800681"/>
                      <a:pt x="1556163" y="3316697"/>
                      <a:pt x="1975918" y="3405863"/>
                    </a:cubicBezTo>
                    <a:cubicBezTo>
                      <a:pt x="2350320" y="3485463"/>
                      <a:pt x="2520860" y="3115999"/>
                      <a:pt x="2860706" y="2915608"/>
                    </a:cubicBezTo>
                    <a:cubicBezTo>
                      <a:pt x="3244364" y="2689532"/>
                      <a:pt x="3632649" y="2585944"/>
                      <a:pt x="3724129" y="217012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1FF60593-BF60-97DC-5B8B-5B5DA86E0E8A}"/>
                  </a:ext>
                </a:extLst>
              </p:cNvPr>
              <p:cNvSpPr/>
              <p:nvPr/>
            </p:nvSpPr>
            <p:spPr>
              <a:xfrm>
                <a:off x="3765757" y="2547325"/>
                <a:ext cx="4893698" cy="3522930"/>
              </a:xfrm>
              <a:custGeom>
                <a:avLst/>
                <a:gdLst>
                  <a:gd name="connsiteX0" fmla="*/ 3714695 w 4893698"/>
                  <a:gd name="connsiteY0" fmla="*/ 2225478 h 3522930"/>
                  <a:gd name="connsiteX1" fmla="*/ 4872995 w 4893698"/>
                  <a:gd name="connsiteY1" fmla="*/ 1143693 h 3522930"/>
                  <a:gd name="connsiteX2" fmla="*/ 2716137 w 4893698"/>
                  <a:gd name="connsiteY2" fmla="*/ 2054 h 3522930"/>
                  <a:gd name="connsiteX3" fmla="*/ 1380123 w 4893698"/>
                  <a:gd name="connsiteY3" fmla="*/ 824596 h 3522930"/>
                  <a:gd name="connsiteX4" fmla="*/ 4386 w 4893698"/>
                  <a:gd name="connsiteY4" fmla="*/ 1493335 h 3522930"/>
                  <a:gd name="connsiteX5" fmla="*/ 893031 w 4893698"/>
                  <a:gd name="connsiteY5" fmla="*/ 2358840 h 3522930"/>
                  <a:gd name="connsiteX6" fmla="*/ 1952756 w 4893698"/>
                  <a:gd name="connsiteY6" fmla="*/ 3515905 h 3522930"/>
                  <a:gd name="connsiteX7" fmla="*/ 2787562 w 4893698"/>
                  <a:gd name="connsiteY7" fmla="*/ 2917357 h 3522930"/>
                  <a:gd name="connsiteX8" fmla="*/ 3714541 w 4893698"/>
                  <a:gd name="connsiteY8" fmla="*/ 2225478 h 3522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93698" h="3522930">
                    <a:moveTo>
                      <a:pt x="3714695" y="2225478"/>
                    </a:moveTo>
                    <a:cubicBezTo>
                      <a:pt x="3788357" y="1859175"/>
                      <a:pt x="5070764" y="1480917"/>
                      <a:pt x="4872995" y="1143693"/>
                    </a:cubicBezTo>
                    <a:cubicBezTo>
                      <a:pt x="4639053" y="745149"/>
                      <a:pt x="3150470" y="53347"/>
                      <a:pt x="2716137" y="2054"/>
                    </a:cubicBezTo>
                    <a:cubicBezTo>
                      <a:pt x="2345360" y="-41757"/>
                      <a:pt x="1714801" y="627676"/>
                      <a:pt x="1380123" y="824596"/>
                    </a:cubicBezTo>
                    <a:cubicBezTo>
                      <a:pt x="980036" y="1060081"/>
                      <a:pt x="86455" y="1062164"/>
                      <a:pt x="4386" y="1493335"/>
                    </a:cubicBezTo>
                    <a:cubicBezTo>
                      <a:pt x="-64647" y="1856012"/>
                      <a:pt x="701202" y="2023930"/>
                      <a:pt x="893031" y="2358840"/>
                    </a:cubicBezTo>
                    <a:cubicBezTo>
                      <a:pt x="1155205" y="2818087"/>
                      <a:pt x="1523590" y="3433219"/>
                      <a:pt x="1952756" y="3515905"/>
                    </a:cubicBezTo>
                    <a:cubicBezTo>
                      <a:pt x="2316282" y="3585942"/>
                      <a:pt x="2454040" y="3113968"/>
                      <a:pt x="2787562" y="2917357"/>
                    </a:cubicBezTo>
                    <a:cubicBezTo>
                      <a:pt x="3182018" y="2685033"/>
                      <a:pt x="3629232" y="2649938"/>
                      <a:pt x="3714541" y="22254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D64A966-1737-A04E-3EF5-E2CC26BE8746}"/>
                  </a:ext>
                </a:extLst>
              </p:cNvPr>
              <p:cNvSpPr/>
              <p:nvPr/>
            </p:nvSpPr>
            <p:spPr>
              <a:xfrm>
                <a:off x="3825389" y="2497697"/>
                <a:ext cx="4989429" cy="3630406"/>
              </a:xfrm>
              <a:custGeom>
                <a:avLst/>
                <a:gdLst>
                  <a:gd name="connsiteX0" fmla="*/ 3705354 w 4989429"/>
                  <a:gd name="connsiteY0" fmla="*/ 2280737 h 3630406"/>
                  <a:gd name="connsiteX1" fmla="*/ 4970792 w 4989429"/>
                  <a:gd name="connsiteY1" fmla="*/ 1178049 h 3630406"/>
                  <a:gd name="connsiteX2" fmla="*/ 2682730 w 4989429"/>
                  <a:gd name="connsiteY2" fmla="*/ 2241 h 3630406"/>
                  <a:gd name="connsiteX3" fmla="*/ 1317406 w 4989429"/>
                  <a:gd name="connsiteY3" fmla="*/ 902918 h 3630406"/>
                  <a:gd name="connsiteX4" fmla="*/ 3453 w 4989429"/>
                  <a:gd name="connsiteY4" fmla="*/ 1625341 h 3630406"/>
                  <a:gd name="connsiteX5" fmla="*/ 863635 w 4989429"/>
                  <a:gd name="connsiteY5" fmla="*/ 2395433 h 3630406"/>
                  <a:gd name="connsiteX6" fmla="*/ 1929762 w 4989429"/>
                  <a:gd name="connsiteY6" fmla="*/ 3625929 h 3630406"/>
                  <a:gd name="connsiteX7" fmla="*/ 2714663 w 4989429"/>
                  <a:gd name="connsiteY7" fmla="*/ 2919163 h 3630406"/>
                  <a:gd name="connsiteX8" fmla="*/ 3705277 w 4989429"/>
                  <a:gd name="connsiteY8" fmla="*/ 2280814 h 3630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89429" h="3630406">
                    <a:moveTo>
                      <a:pt x="3705354" y="2280737"/>
                    </a:moveTo>
                    <a:cubicBezTo>
                      <a:pt x="3770145" y="1924384"/>
                      <a:pt x="5165629" y="1509720"/>
                      <a:pt x="4970792" y="1178049"/>
                    </a:cubicBezTo>
                    <a:cubicBezTo>
                      <a:pt x="4730370" y="769015"/>
                      <a:pt x="3123080" y="62173"/>
                      <a:pt x="2682730" y="2241"/>
                    </a:cubicBezTo>
                    <a:cubicBezTo>
                      <a:pt x="2325838" y="-46353"/>
                      <a:pt x="1645991" y="709546"/>
                      <a:pt x="1317406" y="902918"/>
                    </a:cubicBezTo>
                    <a:cubicBezTo>
                      <a:pt x="906058" y="1144960"/>
                      <a:pt x="78271" y="1184760"/>
                      <a:pt x="3453" y="1625341"/>
                    </a:cubicBezTo>
                    <a:cubicBezTo>
                      <a:pt x="-56171" y="1976757"/>
                      <a:pt x="673658" y="2068236"/>
                      <a:pt x="863635" y="2395433"/>
                    </a:cubicBezTo>
                    <a:cubicBezTo>
                      <a:pt x="1118636" y="2835628"/>
                      <a:pt x="1491186" y="3550339"/>
                      <a:pt x="1929762" y="3625929"/>
                    </a:cubicBezTo>
                    <a:cubicBezTo>
                      <a:pt x="2282335" y="3686709"/>
                      <a:pt x="2387313" y="3111917"/>
                      <a:pt x="2714663" y="2919163"/>
                    </a:cubicBezTo>
                    <a:cubicBezTo>
                      <a:pt x="3119918" y="2680592"/>
                      <a:pt x="3626525" y="2714067"/>
                      <a:pt x="3705277" y="22808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D4BC9D95-1CD1-172F-BF8B-EFBD8AF8AA71}"/>
                  </a:ext>
                </a:extLst>
              </p:cNvPr>
              <p:cNvSpPr/>
              <p:nvPr/>
            </p:nvSpPr>
            <p:spPr>
              <a:xfrm>
                <a:off x="3884910" y="2448010"/>
                <a:ext cx="5085470" cy="3738674"/>
              </a:xfrm>
              <a:custGeom>
                <a:avLst/>
                <a:gdLst>
                  <a:gd name="connsiteX0" fmla="*/ 5068621 w 5085470"/>
                  <a:gd name="connsiteY0" fmla="*/ 1212464 h 3738674"/>
                  <a:gd name="connsiteX1" fmla="*/ 2649357 w 5085470"/>
                  <a:gd name="connsiteY1" fmla="*/ 2408 h 3738674"/>
                  <a:gd name="connsiteX2" fmla="*/ 1254723 w 5085470"/>
                  <a:gd name="connsiteY2" fmla="*/ 981143 h 3738674"/>
                  <a:gd name="connsiteX3" fmla="*/ 2629 w 5085470"/>
                  <a:gd name="connsiteY3" fmla="*/ 1757174 h 3738674"/>
                  <a:gd name="connsiteX4" fmla="*/ 834273 w 5085470"/>
                  <a:gd name="connsiteY4" fmla="*/ 2431853 h 3738674"/>
                  <a:gd name="connsiteX5" fmla="*/ 1906801 w 5085470"/>
                  <a:gd name="connsiteY5" fmla="*/ 3735856 h 3738674"/>
                  <a:gd name="connsiteX6" fmla="*/ 2641798 w 5085470"/>
                  <a:gd name="connsiteY6" fmla="*/ 2920796 h 3738674"/>
                  <a:gd name="connsiteX7" fmla="*/ 3696046 w 5085470"/>
                  <a:gd name="connsiteY7" fmla="*/ 2336054 h 3738674"/>
                  <a:gd name="connsiteX8" fmla="*/ 5068621 w 5085470"/>
                  <a:gd name="connsiteY8" fmla="*/ 1212464 h 373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5470" h="3738674">
                    <a:moveTo>
                      <a:pt x="5068621" y="1212464"/>
                    </a:moveTo>
                    <a:cubicBezTo>
                      <a:pt x="4821720" y="792863"/>
                      <a:pt x="3095646" y="71519"/>
                      <a:pt x="2649357" y="2408"/>
                    </a:cubicBezTo>
                    <a:cubicBezTo>
                      <a:pt x="2306348" y="-50736"/>
                      <a:pt x="1577214" y="791397"/>
                      <a:pt x="1254723" y="981143"/>
                    </a:cubicBezTo>
                    <a:cubicBezTo>
                      <a:pt x="832190" y="1229819"/>
                      <a:pt x="69503" y="1307260"/>
                      <a:pt x="2629" y="1757174"/>
                    </a:cubicBezTo>
                    <a:cubicBezTo>
                      <a:pt x="-47970" y="2097406"/>
                      <a:pt x="646301" y="2112292"/>
                      <a:pt x="834273" y="2431853"/>
                    </a:cubicBezTo>
                    <a:cubicBezTo>
                      <a:pt x="1082023" y="2852919"/>
                      <a:pt x="1458738" y="3667825"/>
                      <a:pt x="1906801" y="3735856"/>
                    </a:cubicBezTo>
                    <a:cubicBezTo>
                      <a:pt x="2248499" y="3787689"/>
                      <a:pt x="2320695" y="3109771"/>
                      <a:pt x="2641798" y="2920796"/>
                    </a:cubicBezTo>
                    <a:cubicBezTo>
                      <a:pt x="3057851" y="2675977"/>
                      <a:pt x="3624313" y="2778024"/>
                      <a:pt x="3696046" y="2336054"/>
                    </a:cubicBezTo>
                    <a:cubicBezTo>
                      <a:pt x="3752276" y="1989652"/>
                      <a:pt x="5260450" y="1538503"/>
                      <a:pt x="5068621" y="12124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39" name="Graphic 5">
              <a:extLst>
                <a:ext uri="{FF2B5EF4-FFF2-40B4-BE49-F238E27FC236}">
                  <a16:creationId xmlns:a16="http://schemas.microsoft.com/office/drawing/2014/main" id="{12C4B6FE-ACA5-F8FB-14D9-5C213517DE11}"/>
                </a:ext>
              </a:extLst>
            </p:cNvPr>
            <p:cNvGrpSpPr/>
            <p:nvPr/>
          </p:nvGrpSpPr>
          <p:grpSpPr>
            <a:xfrm rot="753948">
              <a:off x="-682780" y="-299489"/>
              <a:ext cx="5854605" cy="7484643"/>
              <a:chOff x="4061078" y="1549502"/>
              <a:chExt cx="3873961" cy="4952549"/>
            </a:xfrm>
            <a:noFill/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12323526-EAA8-ADA0-1ADB-9BA5875DE823}"/>
                  </a:ext>
                </a:extLst>
              </p:cNvPr>
              <p:cNvSpPr/>
              <p:nvPr/>
            </p:nvSpPr>
            <p:spPr>
              <a:xfrm>
                <a:off x="4475868" y="1549502"/>
                <a:ext cx="3007008" cy="4952549"/>
              </a:xfrm>
              <a:custGeom>
                <a:avLst/>
                <a:gdLst>
                  <a:gd name="connsiteX0" fmla="*/ 2976817 w 3007008"/>
                  <a:gd name="connsiteY0" fmla="*/ 2669180 h 4952549"/>
                  <a:gd name="connsiteX1" fmla="*/ 2432801 w 3007008"/>
                  <a:gd name="connsiteY1" fmla="*/ 1308330 h 4952549"/>
                  <a:gd name="connsiteX2" fmla="*/ 1795840 w 3007008"/>
                  <a:gd name="connsiteY2" fmla="*/ 7 h 4952549"/>
                  <a:gd name="connsiteX3" fmla="*/ 437072 w 3007008"/>
                  <a:gd name="connsiteY3" fmla="*/ 1607682 h 4952549"/>
                  <a:gd name="connsiteX4" fmla="*/ 310112 w 3007008"/>
                  <a:gd name="connsiteY4" fmla="*/ 2718545 h 4952549"/>
                  <a:gd name="connsiteX5" fmla="*/ 413007 w 3007008"/>
                  <a:gd name="connsiteY5" fmla="*/ 3875302 h 4952549"/>
                  <a:gd name="connsiteX6" fmla="*/ 1776248 w 3007008"/>
                  <a:gd name="connsiteY6" fmla="*/ 4952536 h 4952549"/>
                  <a:gd name="connsiteX7" fmla="*/ 2522815 w 3007008"/>
                  <a:gd name="connsiteY7" fmla="*/ 3870057 h 4952549"/>
                  <a:gd name="connsiteX8" fmla="*/ 2976817 w 3007008"/>
                  <a:gd name="connsiteY8" fmla="*/ 2669180 h 4952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07008" h="4952549">
                    <a:moveTo>
                      <a:pt x="2976817" y="2669180"/>
                    </a:moveTo>
                    <a:cubicBezTo>
                      <a:pt x="2795478" y="2205613"/>
                      <a:pt x="2780206" y="1596883"/>
                      <a:pt x="2432801" y="1308330"/>
                    </a:cubicBezTo>
                    <a:cubicBezTo>
                      <a:pt x="2165768" y="1086497"/>
                      <a:pt x="2170087" y="2861"/>
                      <a:pt x="1795840" y="7"/>
                    </a:cubicBezTo>
                    <a:cubicBezTo>
                      <a:pt x="1305585" y="-3772"/>
                      <a:pt x="857599" y="1434442"/>
                      <a:pt x="437072" y="1607682"/>
                    </a:cubicBezTo>
                    <a:cubicBezTo>
                      <a:pt x="-439463" y="1968739"/>
                      <a:pt x="265838" y="2328563"/>
                      <a:pt x="310112" y="2718545"/>
                    </a:cubicBezTo>
                    <a:cubicBezTo>
                      <a:pt x="365185" y="3203940"/>
                      <a:pt x="63519" y="3586749"/>
                      <a:pt x="413007" y="3875302"/>
                    </a:cubicBezTo>
                    <a:cubicBezTo>
                      <a:pt x="679500" y="4095361"/>
                      <a:pt x="1403775" y="4949682"/>
                      <a:pt x="1776248" y="4952536"/>
                    </a:cubicBezTo>
                    <a:cubicBezTo>
                      <a:pt x="2258944" y="4956238"/>
                      <a:pt x="2234184" y="4212294"/>
                      <a:pt x="2522815" y="3870057"/>
                    </a:cubicBezTo>
                    <a:cubicBezTo>
                      <a:pt x="2749045" y="3601790"/>
                      <a:pt x="3114576" y="3021444"/>
                      <a:pt x="2976817" y="266918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729DA240-BC68-7C4E-2120-9A73425DEC18}"/>
                  </a:ext>
                </a:extLst>
              </p:cNvPr>
              <p:cNvSpPr/>
              <p:nvPr/>
            </p:nvSpPr>
            <p:spPr>
              <a:xfrm>
                <a:off x="4482456" y="1627788"/>
                <a:ext cx="3018571" cy="4778052"/>
              </a:xfrm>
              <a:custGeom>
                <a:avLst/>
                <a:gdLst>
                  <a:gd name="connsiteX0" fmla="*/ 1752691 w 3018571"/>
                  <a:gd name="connsiteY0" fmla="*/ 4776677 h 4778052"/>
                  <a:gd name="connsiteX1" fmla="*/ 2591277 w 3018571"/>
                  <a:gd name="connsiteY1" fmla="*/ 3811826 h 4778052"/>
                  <a:gd name="connsiteX2" fmla="*/ 2984730 w 3018571"/>
                  <a:gd name="connsiteY2" fmla="*/ 2584107 h 4778052"/>
                  <a:gd name="connsiteX3" fmla="*/ 2466168 w 3018571"/>
                  <a:gd name="connsiteY3" fmla="*/ 1202817 h 4778052"/>
                  <a:gd name="connsiteX4" fmla="*/ 1720373 w 3018571"/>
                  <a:gd name="connsiteY4" fmla="*/ 11 h 4778052"/>
                  <a:gd name="connsiteX5" fmla="*/ 440974 w 3018571"/>
                  <a:gd name="connsiteY5" fmla="*/ 1547522 h 4778052"/>
                  <a:gd name="connsiteX6" fmla="*/ 238116 w 3018571"/>
                  <a:gd name="connsiteY6" fmla="*/ 2690858 h 4778052"/>
                  <a:gd name="connsiteX7" fmla="*/ 359985 w 3018571"/>
                  <a:gd name="connsiteY7" fmla="*/ 3853863 h 4778052"/>
                  <a:gd name="connsiteX8" fmla="*/ 1752691 w 3018571"/>
                  <a:gd name="connsiteY8" fmla="*/ 4776754 h 4778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18571" h="4778052">
                    <a:moveTo>
                      <a:pt x="1752691" y="4776677"/>
                    </a:moveTo>
                    <a:cubicBezTo>
                      <a:pt x="2216181" y="4812235"/>
                      <a:pt x="2306966" y="4149435"/>
                      <a:pt x="2591277" y="3811826"/>
                    </a:cubicBezTo>
                    <a:cubicBezTo>
                      <a:pt x="2825220" y="3533917"/>
                      <a:pt x="3119172" y="2944162"/>
                      <a:pt x="2984730" y="2584107"/>
                    </a:cubicBezTo>
                    <a:cubicBezTo>
                      <a:pt x="2815579" y="2131107"/>
                      <a:pt x="2808174" y="1486896"/>
                      <a:pt x="2466168" y="1202817"/>
                    </a:cubicBezTo>
                    <a:cubicBezTo>
                      <a:pt x="2189185" y="972730"/>
                      <a:pt x="2101099" y="-3845"/>
                      <a:pt x="1720373" y="11"/>
                    </a:cubicBezTo>
                    <a:cubicBezTo>
                      <a:pt x="1244079" y="4794"/>
                      <a:pt x="830648" y="1354614"/>
                      <a:pt x="440974" y="1547522"/>
                    </a:cubicBezTo>
                    <a:cubicBezTo>
                      <a:pt x="-382030" y="1955091"/>
                      <a:pt x="190216" y="2298408"/>
                      <a:pt x="238116" y="2690858"/>
                    </a:cubicBezTo>
                    <a:cubicBezTo>
                      <a:pt x="294422" y="3162909"/>
                      <a:pt x="16205" y="3569861"/>
                      <a:pt x="359985" y="3853863"/>
                    </a:cubicBezTo>
                    <a:cubicBezTo>
                      <a:pt x="635965" y="4081944"/>
                      <a:pt x="1362169" y="4746827"/>
                      <a:pt x="1752691" y="47767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BD60DC51-DB65-F3D7-B2DB-26E2B5D04A9F}"/>
                  </a:ext>
                </a:extLst>
              </p:cNvPr>
              <p:cNvSpPr/>
              <p:nvPr/>
            </p:nvSpPr>
            <p:spPr>
              <a:xfrm>
                <a:off x="4484173" y="1705758"/>
                <a:ext cx="3036493" cy="4605873"/>
              </a:xfrm>
              <a:custGeom>
                <a:avLst/>
                <a:gdLst>
                  <a:gd name="connsiteX0" fmla="*/ 1734082 w 3036493"/>
                  <a:gd name="connsiteY0" fmla="*/ 4601058 h 4605873"/>
                  <a:gd name="connsiteX1" fmla="*/ 2664764 w 3036493"/>
                  <a:gd name="connsiteY1" fmla="*/ 3753833 h 4605873"/>
                  <a:gd name="connsiteX2" fmla="*/ 2997591 w 3036493"/>
                  <a:gd name="connsiteY2" fmla="*/ 2499272 h 4605873"/>
                  <a:gd name="connsiteX3" fmla="*/ 2504559 w 3036493"/>
                  <a:gd name="connsiteY3" fmla="*/ 1097465 h 4605873"/>
                  <a:gd name="connsiteX4" fmla="*/ 1649930 w 3036493"/>
                  <a:gd name="connsiteY4" fmla="*/ 100 h 4605873"/>
                  <a:gd name="connsiteX5" fmla="*/ 449901 w 3036493"/>
                  <a:gd name="connsiteY5" fmla="*/ 1487524 h 4605873"/>
                  <a:gd name="connsiteX6" fmla="*/ 171221 w 3036493"/>
                  <a:gd name="connsiteY6" fmla="*/ 2663410 h 4605873"/>
                  <a:gd name="connsiteX7" fmla="*/ 311988 w 3036493"/>
                  <a:gd name="connsiteY7" fmla="*/ 3832586 h 4605873"/>
                  <a:gd name="connsiteX8" fmla="*/ 1734159 w 3036493"/>
                  <a:gd name="connsiteY8" fmla="*/ 4601135 h 46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36493" h="4605873">
                    <a:moveTo>
                      <a:pt x="1734082" y="4601058"/>
                    </a:moveTo>
                    <a:cubicBezTo>
                      <a:pt x="2177440" y="4664460"/>
                      <a:pt x="2384618" y="4086814"/>
                      <a:pt x="2664764" y="3753833"/>
                    </a:cubicBezTo>
                    <a:cubicBezTo>
                      <a:pt x="2906420" y="3466283"/>
                      <a:pt x="3128562" y="2867271"/>
                      <a:pt x="2997591" y="2499272"/>
                    </a:cubicBezTo>
                    <a:cubicBezTo>
                      <a:pt x="2840240" y="2056917"/>
                      <a:pt x="2841089" y="1377070"/>
                      <a:pt x="2504559" y="1097465"/>
                    </a:cubicBezTo>
                    <a:cubicBezTo>
                      <a:pt x="2217549" y="859048"/>
                      <a:pt x="2037290" y="-10699"/>
                      <a:pt x="1649930" y="100"/>
                    </a:cubicBezTo>
                    <a:cubicBezTo>
                      <a:pt x="1187597" y="12981"/>
                      <a:pt x="808491" y="1275410"/>
                      <a:pt x="449901" y="1487524"/>
                    </a:cubicBezTo>
                    <a:cubicBezTo>
                      <a:pt x="-320113" y="1942838"/>
                      <a:pt x="120622" y="2268337"/>
                      <a:pt x="171221" y="2663410"/>
                    </a:cubicBezTo>
                    <a:cubicBezTo>
                      <a:pt x="229996" y="3121963"/>
                      <a:pt x="-26007" y="3553212"/>
                      <a:pt x="311988" y="3832586"/>
                    </a:cubicBezTo>
                    <a:cubicBezTo>
                      <a:pt x="597533" y="4068688"/>
                      <a:pt x="1324122" y="4542514"/>
                      <a:pt x="1734159" y="460113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1EECDF60-129B-3534-36AC-137176551471}"/>
                  </a:ext>
                </a:extLst>
              </p:cNvPr>
              <p:cNvSpPr/>
              <p:nvPr/>
            </p:nvSpPr>
            <p:spPr>
              <a:xfrm>
                <a:off x="4477865" y="1783678"/>
                <a:ext cx="3064583" cy="4435839"/>
              </a:xfrm>
              <a:custGeom>
                <a:avLst/>
                <a:gdLst>
                  <a:gd name="connsiteX0" fmla="*/ 1723421 w 3064583"/>
                  <a:gd name="connsiteY0" fmla="*/ 4425487 h 4435839"/>
                  <a:gd name="connsiteX1" fmla="*/ 2746122 w 3064583"/>
                  <a:gd name="connsiteY1" fmla="*/ 3695890 h 4435839"/>
                  <a:gd name="connsiteX2" fmla="*/ 3018400 w 3064583"/>
                  <a:gd name="connsiteY2" fmla="*/ 2414487 h 4435839"/>
                  <a:gd name="connsiteX3" fmla="*/ 2550822 w 3064583"/>
                  <a:gd name="connsiteY3" fmla="*/ 992240 h 4435839"/>
                  <a:gd name="connsiteX4" fmla="*/ 1587359 w 3064583"/>
                  <a:gd name="connsiteY4" fmla="*/ 315 h 4435839"/>
                  <a:gd name="connsiteX5" fmla="*/ 466700 w 3064583"/>
                  <a:gd name="connsiteY5" fmla="*/ 1427576 h 4435839"/>
                  <a:gd name="connsiteX6" fmla="*/ 112198 w 3064583"/>
                  <a:gd name="connsiteY6" fmla="*/ 2635935 h 4435839"/>
                  <a:gd name="connsiteX7" fmla="*/ 271940 w 3064583"/>
                  <a:gd name="connsiteY7" fmla="*/ 3811281 h 4435839"/>
                  <a:gd name="connsiteX8" fmla="*/ 1723498 w 3064583"/>
                  <a:gd name="connsiteY8" fmla="*/ 4425487 h 4435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64583" h="4435839">
                    <a:moveTo>
                      <a:pt x="1723421" y="4425487"/>
                    </a:moveTo>
                    <a:cubicBezTo>
                      <a:pt x="2146185" y="4513187"/>
                      <a:pt x="2470296" y="4024167"/>
                      <a:pt x="2746122" y="3695890"/>
                    </a:cubicBezTo>
                    <a:cubicBezTo>
                      <a:pt x="2995492" y="3398699"/>
                      <a:pt x="3145592" y="2790508"/>
                      <a:pt x="3018400" y="2414487"/>
                    </a:cubicBezTo>
                    <a:cubicBezTo>
                      <a:pt x="2872465" y="1983084"/>
                      <a:pt x="2881952" y="1267371"/>
                      <a:pt x="2550822" y="992240"/>
                    </a:cubicBezTo>
                    <a:cubicBezTo>
                      <a:pt x="2253785" y="745493"/>
                      <a:pt x="1981275" y="-17734"/>
                      <a:pt x="1587359" y="315"/>
                    </a:cubicBezTo>
                    <a:cubicBezTo>
                      <a:pt x="1138987" y="20832"/>
                      <a:pt x="794205" y="1197181"/>
                      <a:pt x="466700" y="1427576"/>
                    </a:cubicBezTo>
                    <a:cubicBezTo>
                      <a:pt x="-250479" y="1932100"/>
                      <a:pt x="58205" y="2238316"/>
                      <a:pt x="112198" y="2635935"/>
                    </a:cubicBezTo>
                    <a:cubicBezTo>
                      <a:pt x="172593" y="3081144"/>
                      <a:pt x="-60347" y="3536534"/>
                      <a:pt x="271940" y="3811281"/>
                    </a:cubicBezTo>
                    <a:cubicBezTo>
                      <a:pt x="566972" y="4055483"/>
                      <a:pt x="1293253" y="4336245"/>
                      <a:pt x="1723498" y="442548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5A75E8BB-E63D-B4A5-D6E5-CFCE2BAADEC3}"/>
                  </a:ext>
                </a:extLst>
              </p:cNvPr>
              <p:cNvSpPr/>
              <p:nvPr/>
            </p:nvSpPr>
            <p:spPr>
              <a:xfrm>
                <a:off x="4460130" y="1861400"/>
                <a:ext cx="3107969" cy="4268490"/>
              </a:xfrm>
              <a:custGeom>
                <a:avLst/>
                <a:gdLst>
                  <a:gd name="connsiteX0" fmla="*/ 1724263 w 3107969"/>
                  <a:gd name="connsiteY0" fmla="*/ 4250116 h 4268490"/>
                  <a:gd name="connsiteX1" fmla="*/ 2838983 w 3107969"/>
                  <a:gd name="connsiteY1" fmla="*/ 3638145 h 4268490"/>
                  <a:gd name="connsiteX2" fmla="*/ 3050712 w 3107969"/>
                  <a:gd name="connsiteY2" fmla="*/ 2329900 h 4268490"/>
                  <a:gd name="connsiteX3" fmla="*/ 2608666 w 3107969"/>
                  <a:gd name="connsiteY3" fmla="*/ 887212 h 4268490"/>
                  <a:gd name="connsiteX4" fmla="*/ 1536291 w 3107969"/>
                  <a:gd name="connsiteY4" fmla="*/ 728 h 4268490"/>
                  <a:gd name="connsiteX5" fmla="*/ 495001 w 3107969"/>
                  <a:gd name="connsiteY5" fmla="*/ 1367826 h 4268490"/>
                  <a:gd name="connsiteX6" fmla="*/ 64601 w 3107969"/>
                  <a:gd name="connsiteY6" fmla="*/ 2608657 h 4268490"/>
                  <a:gd name="connsiteX7" fmla="*/ 243317 w 3107969"/>
                  <a:gd name="connsiteY7" fmla="*/ 3790251 h 4268490"/>
                  <a:gd name="connsiteX8" fmla="*/ 1724340 w 3107969"/>
                  <a:gd name="connsiteY8" fmla="*/ 4250116 h 4268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07969" h="4268490">
                    <a:moveTo>
                      <a:pt x="1724263" y="4250116"/>
                    </a:moveTo>
                    <a:cubicBezTo>
                      <a:pt x="2126510" y="4359027"/>
                      <a:pt x="2567400" y="3961794"/>
                      <a:pt x="2838983" y="3638145"/>
                    </a:cubicBezTo>
                    <a:cubicBezTo>
                      <a:pt x="3096066" y="3331235"/>
                      <a:pt x="3173893" y="2714020"/>
                      <a:pt x="3050712" y="2329900"/>
                    </a:cubicBezTo>
                    <a:cubicBezTo>
                      <a:pt x="2915808" y="1909528"/>
                      <a:pt x="2934396" y="1157793"/>
                      <a:pt x="2608666" y="887212"/>
                    </a:cubicBezTo>
                    <a:cubicBezTo>
                      <a:pt x="2301601" y="632135"/>
                      <a:pt x="1936918" y="-24880"/>
                      <a:pt x="1536291" y="728"/>
                    </a:cubicBezTo>
                    <a:cubicBezTo>
                      <a:pt x="1101957" y="28496"/>
                      <a:pt x="791576" y="1119844"/>
                      <a:pt x="495001" y="1367826"/>
                    </a:cubicBezTo>
                    <a:cubicBezTo>
                      <a:pt x="-169265" y="1923180"/>
                      <a:pt x="7215" y="2208570"/>
                      <a:pt x="64601" y="2608657"/>
                    </a:cubicBezTo>
                    <a:cubicBezTo>
                      <a:pt x="126539" y="3040445"/>
                      <a:pt x="-83262" y="3520055"/>
                      <a:pt x="243317" y="3790251"/>
                    </a:cubicBezTo>
                    <a:cubicBezTo>
                      <a:pt x="547914" y="4042475"/>
                      <a:pt x="1273500" y="4128092"/>
                      <a:pt x="1724340" y="42501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CB4A08D5-3797-DACC-C0D8-5F1802737DA8}"/>
                  </a:ext>
                </a:extLst>
              </p:cNvPr>
              <p:cNvSpPr/>
              <p:nvPr/>
            </p:nvSpPr>
            <p:spPr>
              <a:xfrm>
                <a:off x="4426209" y="1938811"/>
                <a:ext cx="3173562" cy="4104897"/>
              </a:xfrm>
              <a:custGeom>
                <a:avLst/>
                <a:gdLst>
                  <a:gd name="connsiteX0" fmla="*/ 1741215 w 3173562"/>
                  <a:gd name="connsiteY0" fmla="*/ 4075055 h 4104897"/>
                  <a:gd name="connsiteX1" fmla="*/ 2947955 w 3173562"/>
                  <a:gd name="connsiteY1" fmla="*/ 3580712 h 4104897"/>
                  <a:gd name="connsiteX2" fmla="*/ 3099057 w 3173562"/>
                  <a:gd name="connsiteY2" fmla="*/ 2245625 h 4104897"/>
                  <a:gd name="connsiteX3" fmla="*/ 2682464 w 3173562"/>
                  <a:gd name="connsiteY3" fmla="*/ 782497 h 4104897"/>
                  <a:gd name="connsiteX4" fmla="*/ 1501255 w 3173562"/>
                  <a:gd name="connsiteY4" fmla="*/ 1452 h 4104897"/>
                  <a:gd name="connsiteX5" fmla="*/ 539335 w 3173562"/>
                  <a:gd name="connsiteY5" fmla="*/ 1308387 h 4104897"/>
                  <a:gd name="connsiteX6" fmla="*/ 33114 w 3173562"/>
                  <a:gd name="connsiteY6" fmla="*/ 2581691 h 4104897"/>
                  <a:gd name="connsiteX7" fmla="*/ 230727 w 3173562"/>
                  <a:gd name="connsiteY7" fmla="*/ 3769455 h 4104897"/>
                  <a:gd name="connsiteX8" fmla="*/ 1741215 w 3173562"/>
                  <a:gd name="connsiteY8" fmla="*/ 4074978 h 4104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73562" h="4104897">
                    <a:moveTo>
                      <a:pt x="1741215" y="4075055"/>
                    </a:moveTo>
                    <a:cubicBezTo>
                      <a:pt x="2123407" y="4202555"/>
                      <a:pt x="2680613" y="3899655"/>
                      <a:pt x="2947955" y="3580712"/>
                    </a:cubicBezTo>
                    <a:cubicBezTo>
                      <a:pt x="3212750" y="3264160"/>
                      <a:pt x="3218073" y="2637921"/>
                      <a:pt x="3099057" y="2245625"/>
                    </a:cubicBezTo>
                    <a:cubicBezTo>
                      <a:pt x="2974874" y="1836359"/>
                      <a:pt x="3002796" y="1048604"/>
                      <a:pt x="2682464" y="782497"/>
                    </a:cubicBezTo>
                    <a:cubicBezTo>
                      <a:pt x="2365449" y="519089"/>
                      <a:pt x="1908516" y="-31946"/>
                      <a:pt x="1501255" y="1452"/>
                    </a:cubicBezTo>
                    <a:cubicBezTo>
                      <a:pt x="1080960" y="36008"/>
                      <a:pt x="805288" y="1043668"/>
                      <a:pt x="539335" y="1308387"/>
                    </a:cubicBezTo>
                    <a:cubicBezTo>
                      <a:pt x="-71324" y="1916191"/>
                      <a:pt x="-27821" y="2179059"/>
                      <a:pt x="33114" y="2581691"/>
                    </a:cubicBezTo>
                    <a:cubicBezTo>
                      <a:pt x="96440" y="3000135"/>
                      <a:pt x="-90144" y="3503888"/>
                      <a:pt x="230727" y="3769455"/>
                    </a:cubicBezTo>
                    <a:cubicBezTo>
                      <a:pt x="544811" y="4029701"/>
                      <a:pt x="1270089" y="3917782"/>
                      <a:pt x="1741215" y="40749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6584120-5816-FC08-723E-819EA47FC94A}"/>
                  </a:ext>
                </a:extLst>
              </p:cNvPr>
              <p:cNvSpPr/>
              <p:nvPr/>
            </p:nvSpPr>
            <p:spPr>
              <a:xfrm>
                <a:off x="4376099" y="2015664"/>
                <a:ext cx="3263713" cy="3947335"/>
              </a:xfrm>
              <a:custGeom>
                <a:avLst/>
                <a:gdLst>
                  <a:gd name="connsiteX0" fmla="*/ 1774433 w 3263713"/>
                  <a:gd name="connsiteY0" fmla="*/ 3900552 h 3947335"/>
                  <a:gd name="connsiteX1" fmla="*/ 3073192 w 3263713"/>
                  <a:gd name="connsiteY1" fmla="*/ 3523836 h 3947335"/>
                  <a:gd name="connsiteX2" fmla="*/ 3163745 w 3263713"/>
                  <a:gd name="connsiteY2" fmla="*/ 2161907 h 3947335"/>
                  <a:gd name="connsiteX3" fmla="*/ 2772683 w 3263713"/>
                  <a:gd name="connsiteY3" fmla="*/ 678262 h 3947335"/>
                  <a:gd name="connsiteX4" fmla="*/ 1482563 w 3263713"/>
                  <a:gd name="connsiteY4" fmla="*/ 2735 h 3947335"/>
                  <a:gd name="connsiteX5" fmla="*/ 600012 w 3263713"/>
                  <a:gd name="connsiteY5" fmla="*/ 1249583 h 3947335"/>
                  <a:gd name="connsiteX6" fmla="*/ 17970 w 3263713"/>
                  <a:gd name="connsiteY6" fmla="*/ 2555437 h 3947335"/>
                  <a:gd name="connsiteX7" fmla="*/ 234558 w 3263713"/>
                  <a:gd name="connsiteY7" fmla="*/ 3749449 h 3947335"/>
                  <a:gd name="connsiteX8" fmla="*/ 1774433 w 3263713"/>
                  <a:gd name="connsiteY8" fmla="*/ 3900629 h 394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3713" h="3947335">
                    <a:moveTo>
                      <a:pt x="1774433" y="3900552"/>
                    </a:moveTo>
                    <a:cubicBezTo>
                      <a:pt x="2137188" y="4044635"/>
                      <a:pt x="2810169" y="3838151"/>
                      <a:pt x="3073192" y="3523836"/>
                    </a:cubicBezTo>
                    <a:cubicBezTo>
                      <a:pt x="3345701" y="3197643"/>
                      <a:pt x="3278210" y="2562533"/>
                      <a:pt x="3163745" y="2161907"/>
                    </a:cubicBezTo>
                    <a:cubicBezTo>
                      <a:pt x="3049975" y="1763902"/>
                      <a:pt x="3087538" y="939895"/>
                      <a:pt x="2772683" y="678262"/>
                    </a:cubicBezTo>
                    <a:cubicBezTo>
                      <a:pt x="2445641" y="406524"/>
                      <a:pt x="1896534" y="-38994"/>
                      <a:pt x="1482563" y="2735"/>
                    </a:cubicBezTo>
                    <a:cubicBezTo>
                      <a:pt x="1068593" y="44463"/>
                      <a:pt x="835884" y="968666"/>
                      <a:pt x="600012" y="1249583"/>
                    </a:cubicBezTo>
                    <a:cubicBezTo>
                      <a:pt x="44118" y="1911380"/>
                      <a:pt x="-46590" y="2150260"/>
                      <a:pt x="17970" y="2555437"/>
                    </a:cubicBezTo>
                    <a:cubicBezTo>
                      <a:pt x="82530" y="2960460"/>
                      <a:pt x="-80606" y="3488355"/>
                      <a:pt x="234558" y="3749449"/>
                    </a:cubicBezTo>
                    <a:cubicBezTo>
                      <a:pt x="558206" y="4017716"/>
                      <a:pt x="1283870" y="3705792"/>
                      <a:pt x="1774433" y="39006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96B1AD7C-52D6-6D37-85E0-D9D503596D86}"/>
                  </a:ext>
                </a:extLst>
              </p:cNvPr>
              <p:cNvSpPr/>
              <p:nvPr/>
            </p:nvSpPr>
            <p:spPr>
              <a:xfrm>
                <a:off x="4316854" y="2091550"/>
                <a:ext cx="3371549" cy="3814147"/>
              </a:xfrm>
              <a:custGeom>
                <a:avLst/>
                <a:gdLst>
                  <a:gd name="connsiteX0" fmla="*/ 1816709 w 3371549"/>
                  <a:gd name="connsiteY0" fmla="*/ 3727016 h 3814147"/>
                  <a:gd name="connsiteX1" fmla="*/ 3207564 w 3371549"/>
                  <a:gd name="connsiteY1" fmla="*/ 3467928 h 3814147"/>
                  <a:gd name="connsiteX2" fmla="*/ 3237568 w 3371549"/>
                  <a:gd name="connsiteY2" fmla="*/ 2079156 h 3814147"/>
                  <a:gd name="connsiteX3" fmla="*/ 2871960 w 3371549"/>
                  <a:gd name="connsiteY3" fmla="*/ 575071 h 3814147"/>
                  <a:gd name="connsiteX4" fmla="*/ 1473006 w 3371549"/>
                  <a:gd name="connsiteY4" fmla="*/ 4984 h 3814147"/>
                  <a:gd name="connsiteX5" fmla="*/ 669824 w 3371549"/>
                  <a:gd name="connsiteY5" fmla="*/ 1191668 h 3814147"/>
                  <a:gd name="connsiteX6" fmla="*/ 11883 w 3371549"/>
                  <a:gd name="connsiteY6" fmla="*/ 2529996 h 3814147"/>
                  <a:gd name="connsiteX7" fmla="*/ 247369 w 3371549"/>
                  <a:gd name="connsiteY7" fmla="*/ 3730178 h 3814147"/>
                  <a:gd name="connsiteX8" fmla="*/ 1816709 w 3371549"/>
                  <a:gd name="connsiteY8" fmla="*/ 3727016 h 3814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1549" h="3814147">
                    <a:moveTo>
                      <a:pt x="1816709" y="3727016"/>
                    </a:moveTo>
                    <a:cubicBezTo>
                      <a:pt x="2160874" y="3886063"/>
                      <a:pt x="2948707" y="3777615"/>
                      <a:pt x="3207564" y="3467928"/>
                    </a:cubicBezTo>
                    <a:cubicBezTo>
                      <a:pt x="3487786" y="3132092"/>
                      <a:pt x="3347173" y="2488190"/>
                      <a:pt x="3237568" y="2079156"/>
                    </a:cubicBezTo>
                    <a:cubicBezTo>
                      <a:pt x="3133902" y="1692567"/>
                      <a:pt x="3181416" y="832231"/>
                      <a:pt x="2871960" y="575071"/>
                    </a:cubicBezTo>
                    <a:cubicBezTo>
                      <a:pt x="2534890" y="295002"/>
                      <a:pt x="1893533" y="-45307"/>
                      <a:pt x="1473006" y="4984"/>
                    </a:cubicBezTo>
                    <a:cubicBezTo>
                      <a:pt x="1080710" y="51880"/>
                      <a:pt x="876308" y="895248"/>
                      <a:pt x="669824" y="1191668"/>
                    </a:cubicBezTo>
                    <a:cubicBezTo>
                      <a:pt x="170313" y="1908693"/>
                      <a:pt x="-56379" y="2122427"/>
                      <a:pt x="11883" y="2529996"/>
                    </a:cubicBezTo>
                    <a:cubicBezTo>
                      <a:pt x="80145" y="2937564"/>
                      <a:pt x="-62010" y="3473713"/>
                      <a:pt x="247369" y="3730178"/>
                    </a:cubicBezTo>
                    <a:cubicBezTo>
                      <a:pt x="580505" y="4006544"/>
                      <a:pt x="1307942" y="3491916"/>
                      <a:pt x="1816709" y="37270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986B4653-77AA-E94A-85EF-90CA80488D4D}"/>
                  </a:ext>
                </a:extLst>
              </p:cNvPr>
              <p:cNvSpPr/>
              <p:nvPr/>
            </p:nvSpPr>
            <p:spPr>
              <a:xfrm>
                <a:off x="4254170" y="2165535"/>
                <a:ext cx="3489733" cy="3780696"/>
              </a:xfrm>
              <a:custGeom>
                <a:avLst/>
                <a:gdLst>
                  <a:gd name="connsiteX0" fmla="*/ 1862424 w 3489733"/>
                  <a:gd name="connsiteY0" fmla="*/ 3555381 h 3780696"/>
                  <a:gd name="connsiteX1" fmla="*/ 3345298 w 3489733"/>
                  <a:gd name="connsiteY1" fmla="*/ 3413920 h 3780696"/>
                  <a:gd name="connsiteX2" fmla="*/ 3314677 w 3489733"/>
                  <a:gd name="connsiteY2" fmla="*/ 1998383 h 3780696"/>
                  <a:gd name="connsiteX3" fmla="*/ 2974599 w 3489733"/>
                  <a:gd name="connsiteY3" fmla="*/ 473858 h 3780696"/>
                  <a:gd name="connsiteX4" fmla="*/ 1466734 w 3489733"/>
                  <a:gd name="connsiteY4" fmla="*/ 9211 h 3780696"/>
                  <a:gd name="connsiteX5" fmla="*/ 742922 w 3489733"/>
                  <a:gd name="connsiteY5" fmla="*/ 1135733 h 3780696"/>
                  <a:gd name="connsiteX6" fmla="*/ 9159 w 3489733"/>
                  <a:gd name="connsiteY6" fmla="*/ 2506532 h 3780696"/>
                  <a:gd name="connsiteX7" fmla="*/ 263620 w 3489733"/>
                  <a:gd name="connsiteY7" fmla="*/ 3712886 h 3780696"/>
                  <a:gd name="connsiteX8" fmla="*/ 1862424 w 3489733"/>
                  <a:gd name="connsiteY8" fmla="*/ 3555381 h 3780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9733" h="3780696">
                    <a:moveTo>
                      <a:pt x="1862424" y="3555381"/>
                    </a:moveTo>
                    <a:cubicBezTo>
                      <a:pt x="2188927" y="3728158"/>
                      <a:pt x="3090761" y="3718902"/>
                      <a:pt x="3345298" y="3413920"/>
                    </a:cubicBezTo>
                    <a:cubicBezTo>
                      <a:pt x="3633311" y="3068443"/>
                      <a:pt x="3419114" y="2415825"/>
                      <a:pt x="3314677" y="1998383"/>
                    </a:cubicBezTo>
                    <a:cubicBezTo>
                      <a:pt x="3220807" y="1623210"/>
                      <a:pt x="3278656" y="726467"/>
                      <a:pt x="2974599" y="473858"/>
                    </a:cubicBezTo>
                    <a:cubicBezTo>
                      <a:pt x="2627580" y="185459"/>
                      <a:pt x="1893894" y="-50104"/>
                      <a:pt x="1466734" y="9211"/>
                    </a:cubicBezTo>
                    <a:cubicBezTo>
                      <a:pt x="1088321" y="61816"/>
                      <a:pt x="920789" y="824040"/>
                      <a:pt x="742922" y="1135733"/>
                    </a:cubicBezTo>
                    <a:cubicBezTo>
                      <a:pt x="301800" y="1908755"/>
                      <a:pt x="-63037" y="2096496"/>
                      <a:pt x="9159" y="2506532"/>
                    </a:cubicBezTo>
                    <a:cubicBezTo>
                      <a:pt x="75802" y="2884945"/>
                      <a:pt x="-40051" y="3461048"/>
                      <a:pt x="263620" y="3712886"/>
                    </a:cubicBezTo>
                    <a:cubicBezTo>
                      <a:pt x="606320" y="3997273"/>
                      <a:pt x="1337228" y="3277473"/>
                      <a:pt x="1862424" y="355538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40F1E3C1-4CB1-C4C2-94B0-E730C824E87C}"/>
                  </a:ext>
                </a:extLst>
              </p:cNvPr>
              <p:cNvSpPr/>
              <p:nvPr/>
            </p:nvSpPr>
            <p:spPr>
              <a:xfrm>
                <a:off x="4190357" y="2234963"/>
                <a:ext cx="3614123" cy="3758010"/>
              </a:xfrm>
              <a:custGeom>
                <a:avLst/>
                <a:gdLst>
                  <a:gd name="connsiteX0" fmla="*/ 1909345 w 3614123"/>
                  <a:gd name="connsiteY0" fmla="*/ 3388303 h 3758010"/>
                  <a:gd name="connsiteX1" fmla="*/ 3484238 w 3614123"/>
                  <a:gd name="connsiteY1" fmla="*/ 3364469 h 3758010"/>
                  <a:gd name="connsiteX2" fmla="*/ 3393067 w 3614123"/>
                  <a:gd name="connsiteY2" fmla="*/ 1922090 h 3758010"/>
                  <a:gd name="connsiteX3" fmla="*/ 3078443 w 3614123"/>
                  <a:gd name="connsiteY3" fmla="*/ 377125 h 3758010"/>
                  <a:gd name="connsiteX4" fmla="*/ 1461744 w 3614123"/>
                  <a:gd name="connsiteY4" fmla="*/ 17919 h 3758010"/>
                  <a:gd name="connsiteX5" fmla="*/ 817301 w 3614123"/>
                  <a:gd name="connsiteY5" fmla="*/ 1084276 h 3758010"/>
                  <a:gd name="connsiteX6" fmla="*/ 7718 w 3614123"/>
                  <a:gd name="connsiteY6" fmla="*/ 2487549 h 3758010"/>
                  <a:gd name="connsiteX7" fmla="*/ 281153 w 3614123"/>
                  <a:gd name="connsiteY7" fmla="*/ 3700150 h 3758010"/>
                  <a:gd name="connsiteX8" fmla="*/ 1909345 w 3614123"/>
                  <a:gd name="connsiteY8" fmla="*/ 3388303 h 3758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14123" h="3758010">
                    <a:moveTo>
                      <a:pt x="1909345" y="3388303"/>
                    </a:moveTo>
                    <a:cubicBezTo>
                      <a:pt x="2219418" y="3574116"/>
                      <a:pt x="3233943" y="3664824"/>
                      <a:pt x="3484238" y="3364469"/>
                    </a:cubicBezTo>
                    <a:cubicBezTo>
                      <a:pt x="3779964" y="3009351"/>
                      <a:pt x="3491874" y="2348094"/>
                      <a:pt x="3393067" y="1922090"/>
                    </a:cubicBezTo>
                    <a:cubicBezTo>
                      <a:pt x="3308684" y="1558333"/>
                      <a:pt x="3377101" y="625260"/>
                      <a:pt x="3078443" y="377125"/>
                    </a:cubicBezTo>
                    <a:cubicBezTo>
                      <a:pt x="2721397" y="80473"/>
                      <a:pt x="1895307" y="-50884"/>
                      <a:pt x="1461744" y="17919"/>
                    </a:cubicBezTo>
                    <a:cubicBezTo>
                      <a:pt x="1097138" y="75845"/>
                      <a:pt x="967324" y="757388"/>
                      <a:pt x="817301" y="1084276"/>
                    </a:cubicBezTo>
                    <a:cubicBezTo>
                      <a:pt x="436652" y="1913683"/>
                      <a:pt x="-68566" y="2075121"/>
                      <a:pt x="7718" y="2487549"/>
                    </a:cubicBezTo>
                    <a:cubicBezTo>
                      <a:pt x="75286" y="2852695"/>
                      <a:pt x="-16810" y="3452863"/>
                      <a:pt x="281153" y="3700150"/>
                    </a:cubicBezTo>
                    <a:cubicBezTo>
                      <a:pt x="633340" y="3992560"/>
                      <a:pt x="1370034" y="3065041"/>
                      <a:pt x="1909345" y="3388303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1A431FF4-CD10-F354-9E06-629B8E45D4C6}"/>
                  </a:ext>
                </a:extLst>
              </p:cNvPr>
              <p:cNvSpPr/>
              <p:nvPr/>
            </p:nvSpPr>
            <p:spPr>
              <a:xfrm>
                <a:off x="4125770" y="2293347"/>
                <a:ext cx="3742715" cy="3749606"/>
              </a:xfrm>
              <a:custGeom>
                <a:avLst/>
                <a:gdLst>
                  <a:gd name="connsiteX0" fmla="*/ 1956963 w 3742715"/>
                  <a:gd name="connsiteY0" fmla="*/ 3232269 h 3749606"/>
                  <a:gd name="connsiteX1" fmla="*/ 3623876 w 3742715"/>
                  <a:gd name="connsiteY1" fmla="*/ 3326063 h 3749606"/>
                  <a:gd name="connsiteX2" fmla="*/ 3472155 w 3742715"/>
                  <a:gd name="connsiteY2" fmla="*/ 1856842 h 3749606"/>
                  <a:gd name="connsiteX3" fmla="*/ 3183063 w 3742715"/>
                  <a:gd name="connsiteY3" fmla="*/ 291359 h 3749606"/>
                  <a:gd name="connsiteX4" fmla="*/ 1457529 w 3742715"/>
                  <a:gd name="connsiteY4" fmla="*/ 37593 h 3749606"/>
                  <a:gd name="connsiteX5" fmla="*/ 892456 w 3742715"/>
                  <a:gd name="connsiteY5" fmla="*/ 1043864 h 3749606"/>
                  <a:gd name="connsiteX6" fmla="*/ 6974 w 3742715"/>
                  <a:gd name="connsiteY6" fmla="*/ 2479687 h 3749606"/>
                  <a:gd name="connsiteX7" fmla="*/ 299306 w 3742715"/>
                  <a:gd name="connsiteY7" fmla="*/ 3698459 h 3749606"/>
                  <a:gd name="connsiteX8" fmla="*/ 1956963 w 3742715"/>
                  <a:gd name="connsiteY8" fmla="*/ 3232269 h 3749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42715" h="3749606">
                    <a:moveTo>
                      <a:pt x="1956963" y="3232269"/>
                    </a:moveTo>
                    <a:cubicBezTo>
                      <a:pt x="2251687" y="3430655"/>
                      <a:pt x="3377822" y="3621712"/>
                      <a:pt x="3623876" y="3326063"/>
                    </a:cubicBezTo>
                    <a:cubicBezTo>
                      <a:pt x="3927315" y="2961226"/>
                      <a:pt x="3564869" y="2291484"/>
                      <a:pt x="3472155" y="1856842"/>
                    </a:cubicBezTo>
                    <a:cubicBezTo>
                      <a:pt x="3397028" y="1504577"/>
                      <a:pt x="3476244" y="535021"/>
                      <a:pt x="3183063" y="291359"/>
                    </a:cubicBezTo>
                    <a:cubicBezTo>
                      <a:pt x="2815989" y="-13623"/>
                      <a:pt x="1897339" y="-41237"/>
                      <a:pt x="1457529" y="37593"/>
                    </a:cubicBezTo>
                    <a:cubicBezTo>
                      <a:pt x="1106653" y="100533"/>
                      <a:pt x="1015405" y="701550"/>
                      <a:pt x="892456" y="1043864"/>
                    </a:cubicBezTo>
                    <a:cubicBezTo>
                      <a:pt x="574361" y="1929346"/>
                      <a:pt x="-74247" y="2064945"/>
                      <a:pt x="6974" y="2479687"/>
                    </a:cubicBezTo>
                    <a:cubicBezTo>
                      <a:pt x="74696" y="2831643"/>
                      <a:pt x="7128" y="3455800"/>
                      <a:pt x="299306" y="3698459"/>
                    </a:cubicBezTo>
                    <a:cubicBezTo>
                      <a:pt x="661058" y="3998967"/>
                      <a:pt x="1405928" y="2861262"/>
                      <a:pt x="1956963" y="323226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CD982BE6-3E64-DBDC-93A0-421665B57E1B}"/>
                  </a:ext>
                </a:extLst>
              </p:cNvPr>
              <p:cNvSpPr/>
              <p:nvPr/>
            </p:nvSpPr>
            <p:spPr>
              <a:xfrm>
                <a:off x="4061078" y="2330966"/>
                <a:ext cx="3873961" cy="3763840"/>
              </a:xfrm>
              <a:custGeom>
                <a:avLst/>
                <a:gdLst>
                  <a:gd name="connsiteX0" fmla="*/ 3763695 w 3873961"/>
                  <a:gd name="connsiteY0" fmla="*/ 3308421 h 3763840"/>
                  <a:gd name="connsiteX1" fmla="*/ 3551425 w 3873961"/>
                  <a:gd name="connsiteY1" fmla="*/ 1812358 h 3763840"/>
                  <a:gd name="connsiteX2" fmla="*/ 3287786 w 3873961"/>
                  <a:gd name="connsiteY2" fmla="*/ 226435 h 3763840"/>
                  <a:gd name="connsiteX3" fmla="*/ 1453342 w 3873961"/>
                  <a:gd name="connsiteY3" fmla="*/ 78186 h 3763840"/>
                  <a:gd name="connsiteX4" fmla="*/ 967638 w 3873961"/>
                  <a:gd name="connsiteY4" fmla="*/ 1024294 h 3763840"/>
                  <a:gd name="connsiteX5" fmla="*/ 6334 w 3873961"/>
                  <a:gd name="connsiteY5" fmla="*/ 2492590 h 3763840"/>
                  <a:gd name="connsiteX6" fmla="*/ 317642 w 3873961"/>
                  <a:gd name="connsiteY6" fmla="*/ 3717532 h 3763840"/>
                  <a:gd name="connsiteX7" fmla="*/ 2004763 w 3873961"/>
                  <a:gd name="connsiteY7" fmla="*/ 3096923 h 3763840"/>
                  <a:gd name="connsiteX8" fmla="*/ 3763772 w 3873961"/>
                  <a:gd name="connsiteY8" fmla="*/ 3308421 h 3763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73961" h="3763840">
                    <a:moveTo>
                      <a:pt x="3763695" y="3308421"/>
                    </a:moveTo>
                    <a:cubicBezTo>
                      <a:pt x="4074847" y="2933942"/>
                      <a:pt x="3637583" y="2255716"/>
                      <a:pt x="3551425" y="1812358"/>
                    </a:cubicBezTo>
                    <a:cubicBezTo>
                      <a:pt x="3485169" y="1471586"/>
                      <a:pt x="3575568" y="465623"/>
                      <a:pt x="3287786" y="226435"/>
                    </a:cubicBezTo>
                    <a:cubicBezTo>
                      <a:pt x="2910685" y="-86878"/>
                      <a:pt x="1899323" y="-11288"/>
                      <a:pt x="1453342" y="78186"/>
                    </a:cubicBezTo>
                    <a:cubicBezTo>
                      <a:pt x="1116041" y="145831"/>
                      <a:pt x="1064131" y="666245"/>
                      <a:pt x="967638" y="1024294"/>
                    </a:cubicBezTo>
                    <a:cubicBezTo>
                      <a:pt x="714026" y="1965311"/>
                      <a:pt x="-78589" y="2075380"/>
                      <a:pt x="6334" y="2492590"/>
                    </a:cubicBezTo>
                    <a:cubicBezTo>
                      <a:pt x="75291" y="2831202"/>
                      <a:pt x="31094" y="3479501"/>
                      <a:pt x="317642" y="3717532"/>
                    </a:cubicBezTo>
                    <a:cubicBezTo>
                      <a:pt x="688958" y="4026062"/>
                      <a:pt x="1444780" y="2676242"/>
                      <a:pt x="2004763" y="3096923"/>
                    </a:cubicBezTo>
                    <a:cubicBezTo>
                      <a:pt x="2285294" y="3307727"/>
                      <a:pt x="3521961" y="3599365"/>
                      <a:pt x="3763772" y="330842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B48FFEA2-AFCD-3EA2-228A-1B33341A14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6981742">
            <a:off x="7809648" y="5519170"/>
            <a:ext cx="8334992" cy="7408967"/>
            <a:chOff x="-1641318" y="-299489"/>
            <a:chExt cx="8683276" cy="7718554"/>
          </a:xfrm>
        </p:grpSpPr>
        <p:grpSp>
          <p:nvGrpSpPr>
            <p:cNvPr id="1027" name="Group 1026">
              <a:extLst>
                <a:ext uri="{FF2B5EF4-FFF2-40B4-BE49-F238E27FC236}">
                  <a16:creationId xmlns:a16="http://schemas.microsoft.com/office/drawing/2014/main" id="{1CDE20DD-894B-00E4-BD4C-D5FBC1398207}"/>
                </a:ext>
              </a:extLst>
            </p:cNvPr>
            <p:cNvGrpSpPr/>
            <p:nvPr/>
          </p:nvGrpSpPr>
          <p:grpSpPr>
            <a:xfrm rot="13963223">
              <a:off x="-1235110" y="-252874"/>
              <a:ext cx="7671937" cy="7671942"/>
              <a:chOff x="-13073550" y="260470"/>
              <a:chExt cx="10868115" cy="10868116"/>
            </a:xfrm>
            <a:solidFill>
              <a:schemeClr val="bg1">
                <a:lumMod val="85000"/>
              </a:schemeClr>
            </a:solidFill>
          </p:grpSpPr>
          <p:grpSp>
            <p:nvGrpSpPr>
              <p:cNvPr id="1097" name="Group 1096">
                <a:extLst>
                  <a:ext uri="{FF2B5EF4-FFF2-40B4-BE49-F238E27FC236}">
                    <a16:creationId xmlns:a16="http://schemas.microsoft.com/office/drawing/2014/main" id="{98C702DD-B4F5-E945-884D-52D6D8CC6779}"/>
                  </a:ext>
                </a:extLst>
              </p:cNvPr>
              <p:cNvGrpSpPr/>
              <p:nvPr/>
            </p:nvGrpSpPr>
            <p:grpSpPr>
              <a:xfrm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104" name="Graphic 1103">
                  <a:extLst>
                    <a:ext uri="{FF2B5EF4-FFF2-40B4-BE49-F238E27FC236}">
                      <a16:creationId xmlns:a16="http://schemas.microsoft.com/office/drawing/2014/main" id="{6B0AE97E-053D-7653-D691-0128335E1CE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105" name="Graphic 1104">
                  <a:extLst>
                    <a:ext uri="{FF2B5EF4-FFF2-40B4-BE49-F238E27FC236}">
                      <a16:creationId xmlns:a16="http://schemas.microsoft.com/office/drawing/2014/main" id="{7EA8947A-9F35-D23D-68FE-8361D48202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1098" name="Group 1097">
                <a:extLst>
                  <a:ext uri="{FF2B5EF4-FFF2-40B4-BE49-F238E27FC236}">
                    <a16:creationId xmlns:a16="http://schemas.microsoft.com/office/drawing/2014/main" id="{5AA4F9E9-35F8-40D0-D9B4-8F835FBB7936}"/>
                  </a:ext>
                </a:extLst>
              </p:cNvPr>
              <p:cNvGrpSpPr/>
              <p:nvPr/>
            </p:nvGrpSpPr>
            <p:grpSpPr>
              <a:xfrm rot="18000000"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102" name="Graphic 1101">
                  <a:extLst>
                    <a:ext uri="{FF2B5EF4-FFF2-40B4-BE49-F238E27FC236}">
                      <a16:creationId xmlns:a16="http://schemas.microsoft.com/office/drawing/2014/main" id="{D9D8060C-C796-3686-E498-6909B0D133D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103" name="Graphic 1102">
                  <a:extLst>
                    <a:ext uri="{FF2B5EF4-FFF2-40B4-BE49-F238E27FC236}">
                      <a16:creationId xmlns:a16="http://schemas.microsoft.com/office/drawing/2014/main" id="{8A0C0A86-C7EC-A9C0-641C-6D52B796A0A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1099" name="Group 1098">
                <a:extLst>
                  <a:ext uri="{FF2B5EF4-FFF2-40B4-BE49-F238E27FC236}">
                    <a16:creationId xmlns:a16="http://schemas.microsoft.com/office/drawing/2014/main" id="{59F4F7AB-6EDA-5B78-373E-5E3344863757}"/>
                  </a:ext>
                </a:extLst>
              </p:cNvPr>
              <p:cNvGrpSpPr/>
              <p:nvPr/>
            </p:nvGrpSpPr>
            <p:grpSpPr>
              <a:xfrm rot="3600000">
                <a:off x="-13073550" y="3398291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100" name="Graphic 1099">
                  <a:extLst>
                    <a:ext uri="{FF2B5EF4-FFF2-40B4-BE49-F238E27FC236}">
                      <a16:creationId xmlns:a16="http://schemas.microsoft.com/office/drawing/2014/main" id="{C196B89B-BCB8-1BF5-5595-864834373C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101" name="Graphic 1100">
                  <a:extLst>
                    <a:ext uri="{FF2B5EF4-FFF2-40B4-BE49-F238E27FC236}">
                      <a16:creationId xmlns:a16="http://schemas.microsoft.com/office/drawing/2014/main" id="{556226ED-99E7-A8F3-FC62-97F004E858E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1028" name="Graphic 5">
              <a:extLst>
                <a:ext uri="{FF2B5EF4-FFF2-40B4-BE49-F238E27FC236}">
                  <a16:creationId xmlns:a16="http://schemas.microsoft.com/office/drawing/2014/main" id="{8767F6FE-45DF-91B6-136E-FC5E73CF9B23}"/>
                </a:ext>
              </a:extLst>
            </p:cNvPr>
            <p:cNvGrpSpPr/>
            <p:nvPr/>
          </p:nvGrpSpPr>
          <p:grpSpPr>
            <a:xfrm rot="15746055">
              <a:off x="-177888" y="1123433"/>
              <a:ext cx="5330696" cy="5499097"/>
              <a:chOff x="4071312" y="2489702"/>
              <a:chExt cx="3527293" cy="3638722"/>
            </a:xfrm>
            <a:noFill/>
          </p:grpSpPr>
          <p:sp>
            <p:nvSpPr>
              <p:cNvPr id="1085" name="Freeform: Shape 1084">
                <a:extLst>
                  <a:ext uri="{FF2B5EF4-FFF2-40B4-BE49-F238E27FC236}">
                    <a16:creationId xmlns:a16="http://schemas.microsoft.com/office/drawing/2014/main" id="{875F64A5-3CCD-1901-9C95-EB46291528FA}"/>
                  </a:ext>
                </a:extLst>
              </p:cNvPr>
              <p:cNvSpPr/>
              <p:nvPr/>
            </p:nvSpPr>
            <p:spPr>
              <a:xfrm>
                <a:off x="4071312" y="2489702"/>
                <a:ext cx="3259151" cy="3638722"/>
              </a:xfrm>
              <a:custGeom>
                <a:avLst/>
                <a:gdLst>
                  <a:gd name="connsiteX0" fmla="*/ 3079707 w 3259151"/>
                  <a:gd name="connsiteY0" fmla="*/ 3021953 h 3638722"/>
                  <a:gd name="connsiteX1" fmla="*/ 3132080 w 3259151"/>
                  <a:gd name="connsiteY1" fmla="*/ 1787369 h 3638722"/>
                  <a:gd name="connsiteX2" fmla="*/ 3107243 w 3259151"/>
                  <a:gd name="connsiteY2" fmla="*/ 829383 h 3638722"/>
                  <a:gd name="connsiteX3" fmla="*/ 1658848 w 3259151"/>
                  <a:gd name="connsiteY3" fmla="*/ 4990 h 3638722"/>
                  <a:gd name="connsiteX4" fmla="*/ 849418 w 3259151"/>
                  <a:gd name="connsiteY4" fmla="*/ 1005939 h 3638722"/>
                  <a:gd name="connsiteX5" fmla="*/ 4585 w 3259151"/>
                  <a:gd name="connsiteY5" fmla="*/ 2043526 h 3638722"/>
                  <a:gd name="connsiteX6" fmla="*/ 820725 w 3259151"/>
                  <a:gd name="connsiteY6" fmla="*/ 2918441 h 3638722"/>
                  <a:gd name="connsiteX7" fmla="*/ 2033249 w 3259151"/>
                  <a:gd name="connsiteY7" fmla="*/ 3633846 h 3638722"/>
                  <a:gd name="connsiteX8" fmla="*/ 3079785 w 3259151"/>
                  <a:gd name="connsiteY8" fmla="*/ 3022030 h 3638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59151" h="3638722">
                    <a:moveTo>
                      <a:pt x="3079707" y="3021953"/>
                    </a:moveTo>
                    <a:cubicBezTo>
                      <a:pt x="3412226" y="2666372"/>
                      <a:pt x="3192167" y="2234970"/>
                      <a:pt x="3132080" y="1787369"/>
                    </a:cubicBezTo>
                    <a:cubicBezTo>
                      <a:pt x="3085955" y="1443358"/>
                      <a:pt x="3380525" y="1084923"/>
                      <a:pt x="3107243" y="829383"/>
                    </a:cubicBezTo>
                    <a:cubicBezTo>
                      <a:pt x="2749194" y="494473"/>
                      <a:pt x="2109225" y="-58259"/>
                      <a:pt x="1658848" y="4990"/>
                    </a:cubicBezTo>
                    <a:cubicBezTo>
                      <a:pt x="1318153" y="52812"/>
                      <a:pt x="1102645" y="735127"/>
                      <a:pt x="849418" y="1005939"/>
                    </a:cubicBezTo>
                    <a:cubicBezTo>
                      <a:pt x="515743" y="1362755"/>
                      <a:pt x="-56967" y="1594538"/>
                      <a:pt x="4585" y="2043526"/>
                    </a:cubicBezTo>
                    <a:cubicBezTo>
                      <a:pt x="51559" y="2385918"/>
                      <a:pt x="548678" y="2663981"/>
                      <a:pt x="820725" y="2918441"/>
                    </a:cubicBezTo>
                    <a:cubicBezTo>
                      <a:pt x="1173298" y="3248183"/>
                      <a:pt x="1589043" y="3690075"/>
                      <a:pt x="2033249" y="3633846"/>
                    </a:cubicBezTo>
                    <a:cubicBezTo>
                      <a:pt x="2381349" y="3589726"/>
                      <a:pt x="2821390" y="3298397"/>
                      <a:pt x="3079785" y="302203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6" name="Freeform: Shape 1085">
                <a:extLst>
                  <a:ext uri="{FF2B5EF4-FFF2-40B4-BE49-F238E27FC236}">
                    <a16:creationId xmlns:a16="http://schemas.microsoft.com/office/drawing/2014/main" id="{79ED7D14-9D1F-9DBC-B184-0BD0C420DAB2}"/>
                  </a:ext>
                </a:extLst>
              </p:cNvPr>
              <p:cNvSpPr/>
              <p:nvPr/>
            </p:nvSpPr>
            <p:spPr>
              <a:xfrm>
                <a:off x="4109618" y="2534620"/>
                <a:ext cx="3220782" cy="3579817"/>
              </a:xfrm>
              <a:custGeom>
                <a:avLst/>
                <a:gdLst>
                  <a:gd name="connsiteX0" fmla="*/ 791058 w 3220782"/>
                  <a:gd name="connsiteY0" fmla="*/ 2907154 h 3579817"/>
                  <a:gd name="connsiteX1" fmla="*/ 2002194 w 3220782"/>
                  <a:gd name="connsiteY1" fmla="*/ 3574659 h 3579817"/>
                  <a:gd name="connsiteX2" fmla="*/ 3028289 w 3220782"/>
                  <a:gd name="connsiteY2" fmla="*/ 2934613 h 3579817"/>
                  <a:gd name="connsiteX3" fmla="*/ 3129333 w 3220782"/>
                  <a:gd name="connsiteY3" fmla="*/ 1743455 h 3579817"/>
                  <a:gd name="connsiteX4" fmla="*/ 3052277 w 3220782"/>
                  <a:gd name="connsiteY4" fmla="*/ 731167 h 3579817"/>
                  <a:gd name="connsiteX5" fmla="*/ 1620928 w 3220782"/>
                  <a:gd name="connsiteY5" fmla="*/ 5581 h 3579817"/>
                  <a:gd name="connsiteX6" fmla="*/ 765913 w 3220782"/>
                  <a:gd name="connsiteY6" fmla="*/ 939888 h 3579817"/>
                  <a:gd name="connsiteX7" fmla="*/ 5000 w 3220782"/>
                  <a:gd name="connsiteY7" fmla="*/ 1991745 h 3579817"/>
                  <a:gd name="connsiteX8" fmla="*/ 791058 w 3220782"/>
                  <a:gd name="connsiteY8" fmla="*/ 2907231 h 3579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782" h="3579817">
                    <a:moveTo>
                      <a:pt x="791058" y="2907154"/>
                    </a:moveTo>
                    <a:cubicBezTo>
                      <a:pt x="1139775" y="3222549"/>
                      <a:pt x="1564312" y="3630426"/>
                      <a:pt x="2002194" y="3574659"/>
                    </a:cubicBezTo>
                    <a:cubicBezTo>
                      <a:pt x="2362558" y="3528688"/>
                      <a:pt x="2770743" y="3219772"/>
                      <a:pt x="3028289" y="2934613"/>
                    </a:cubicBezTo>
                    <a:cubicBezTo>
                      <a:pt x="3345767" y="2583197"/>
                      <a:pt x="3188417" y="2184113"/>
                      <a:pt x="3129333" y="1743455"/>
                    </a:cubicBezTo>
                    <a:cubicBezTo>
                      <a:pt x="3081433" y="1386485"/>
                      <a:pt x="3334968" y="986244"/>
                      <a:pt x="3052277" y="731167"/>
                    </a:cubicBezTo>
                    <a:cubicBezTo>
                      <a:pt x="2698624" y="412069"/>
                      <a:pt x="2063823" y="-56434"/>
                      <a:pt x="1620928" y="5581"/>
                    </a:cubicBezTo>
                    <a:cubicBezTo>
                      <a:pt x="1267198" y="54946"/>
                      <a:pt x="1018908" y="659665"/>
                      <a:pt x="765913" y="939888"/>
                    </a:cubicBezTo>
                    <a:cubicBezTo>
                      <a:pt x="447664" y="1292461"/>
                      <a:pt x="-55549" y="1549929"/>
                      <a:pt x="5000" y="1991745"/>
                    </a:cubicBezTo>
                    <a:cubicBezTo>
                      <a:pt x="53516" y="2346477"/>
                      <a:pt x="510218" y="2653234"/>
                      <a:pt x="791058" y="290723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7" name="Freeform: Shape 1086">
                <a:extLst>
                  <a:ext uri="{FF2B5EF4-FFF2-40B4-BE49-F238E27FC236}">
                    <a16:creationId xmlns:a16="http://schemas.microsoft.com/office/drawing/2014/main" id="{55657A0E-28BA-BA1E-DAF0-7CF103877118}"/>
                  </a:ext>
                </a:extLst>
              </p:cNvPr>
              <p:cNvSpPr/>
              <p:nvPr/>
            </p:nvSpPr>
            <p:spPr>
              <a:xfrm>
                <a:off x="4147825" y="2579175"/>
                <a:ext cx="3187979" cy="3521387"/>
              </a:xfrm>
              <a:custGeom>
                <a:avLst/>
                <a:gdLst>
                  <a:gd name="connsiteX0" fmla="*/ 761567 w 3187979"/>
                  <a:gd name="connsiteY0" fmla="*/ 2896229 h 3521387"/>
                  <a:gd name="connsiteX1" fmla="*/ 1971315 w 3187979"/>
                  <a:gd name="connsiteY1" fmla="*/ 3515912 h 3521387"/>
                  <a:gd name="connsiteX2" fmla="*/ 2977047 w 3187979"/>
                  <a:gd name="connsiteY2" fmla="*/ 2847635 h 3521387"/>
                  <a:gd name="connsiteX3" fmla="*/ 3126683 w 3187979"/>
                  <a:gd name="connsiteY3" fmla="*/ 1699825 h 3521387"/>
                  <a:gd name="connsiteX4" fmla="*/ 2997409 w 3187979"/>
                  <a:gd name="connsiteY4" fmla="*/ 633236 h 3521387"/>
                  <a:gd name="connsiteX5" fmla="*/ 1583183 w 3187979"/>
                  <a:gd name="connsiteY5" fmla="*/ 6380 h 3521387"/>
                  <a:gd name="connsiteX6" fmla="*/ 682583 w 3187979"/>
                  <a:gd name="connsiteY6" fmla="*/ 874121 h 3521387"/>
                  <a:gd name="connsiteX7" fmla="*/ 5513 w 3187979"/>
                  <a:gd name="connsiteY7" fmla="*/ 1940171 h 3521387"/>
                  <a:gd name="connsiteX8" fmla="*/ 761567 w 3187979"/>
                  <a:gd name="connsiteY8" fmla="*/ 2896229 h 3521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87979" h="3521387">
                    <a:moveTo>
                      <a:pt x="761567" y="2896229"/>
                    </a:moveTo>
                    <a:cubicBezTo>
                      <a:pt x="1106195" y="3197508"/>
                      <a:pt x="1539681" y="3571139"/>
                      <a:pt x="1971315" y="3515912"/>
                    </a:cubicBezTo>
                    <a:cubicBezTo>
                      <a:pt x="2343865" y="3468090"/>
                      <a:pt x="2720426" y="3141742"/>
                      <a:pt x="2977047" y="2847635"/>
                    </a:cubicBezTo>
                    <a:cubicBezTo>
                      <a:pt x="3279715" y="2500770"/>
                      <a:pt x="3184842" y="2133542"/>
                      <a:pt x="3126683" y="1699825"/>
                    </a:cubicBezTo>
                    <a:cubicBezTo>
                      <a:pt x="3077087" y="1329975"/>
                      <a:pt x="3289665" y="887620"/>
                      <a:pt x="2997409" y="633236"/>
                    </a:cubicBezTo>
                    <a:cubicBezTo>
                      <a:pt x="2648539" y="329565"/>
                      <a:pt x="2018520" y="-54246"/>
                      <a:pt x="1583183" y="6380"/>
                    </a:cubicBezTo>
                    <a:cubicBezTo>
                      <a:pt x="1216418" y="57287"/>
                      <a:pt x="935115" y="584257"/>
                      <a:pt x="682583" y="874121"/>
                    </a:cubicBezTo>
                    <a:cubicBezTo>
                      <a:pt x="379529" y="1222066"/>
                      <a:pt x="-53879" y="1505683"/>
                      <a:pt x="5513" y="1940171"/>
                    </a:cubicBezTo>
                    <a:cubicBezTo>
                      <a:pt x="55572" y="2307322"/>
                      <a:pt x="471703" y="2642848"/>
                      <a:pt x="761567" y="28962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8" name="Freeform: Shape 1087">
                <a:extLst>
                  <a:ext uri="{FF2B5EF4-FFF2-40B4-BE49-F238E27FC236}">
                    <a16:creationId xmlns:a16="http://schemas.microsoft.com/office/drawing/2014/main" id="{5667470B-2DDA-3735-1B61-93A0CE0C69E8}"/>
                  </a:ext>
                </a:extLst>
              </p:cNvPr>
              <p:cNvSpPr/>
              <p:nvPr/>
            </p:nvSpPr>
            <p:spPr>
              <a:xfrm>
                <a:off x="4185926" y="2623532"/>
                <a:ext cx="3162650" cy="3463280"/>
              </a:xfrm>
              <a:custGeom>
                <a:avLst/>
                <a:gdLst>
                  <a:gd name="connsiteX0" fmla="*/ 732182 w 3162650"/>
                  <a:gd name="connsiteY0" fmla="*/ 2885579 h 3463280"/>
                  <a:gd name="connsiteX1" fmla="*/ 1940541 w 3162650"/>
                  <a:gd name="connsiteY1" fmla="*/ 3457440 h 3463280"/>
                  <a:gd name="connsiteX2" fmla="*/ 2925910 w 3162650"/>
                  <a:gd name="connsiteY2" fmla="*/ 2760933 h 3463280"/>
                  <a:gd name="connsiteX3" fmla="*/ 3124217 w 3162650"/>
                  <a:gd name="connsiteY3" fmla="*/ 1656549 h 3463280"/>
                  <a:gd name="connsiteX4" fmla="*/ 2942725 w 3162650"/>
                  <a:gd name="connsiteY4" fmla="*/ 535658 h 3463280"/>
                  <a:gd name="connsiteX5" fmla="*/ 1545622 w 3162650"/>
                  <a:gd name="connsiteY5" fmla="*/ 7609 h 3463280"/>
                  <a:gd name="connsiteX6" fmla="*/ 599436 w 3162650"/>
                  <a:gd name="connsiteY6" fmla="*/ 808708 h 3463280"/>
                  <a:gd name="connsiteX7" fmla="*/ 6210 w 3162650"/>
                  <a:gd name="connsiteY7" fmla="*/ 1888949 h 3463280"/>
                  <a:gd name="connsiteX8" fmla="*/ 732182 w 3162650"/>
                  <a:gd name="connsiteY8" fmla="*/ 2885579 h 3463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62650" h="3463280">
                    <a:moveTo>
                      <a:pt x="732182" y="2885579"/>
                    </a:moveTo>
                    <a:cubicBezTo>
                      <a:pt x="1072413" y="3173052"/>
                      <a:pt x="1515232" y="3512050"/>
                      <a:pt x="1940541" y="3457440"/>
                    </a:cubicBezTo>
                    <a:cubicBezTo>
                      <a:pt x="2325355" y="3407689"/>
                      <a:pt x="2670370" y="3064218"/>
                      <a:pt x="2925910" y="2760933"/>
                    </a:cubicBezTo>
                    <a:cubicBezTo>
                      <a:pt x="3214077" y="2418850"/>
                      <a:pt x="3181450" y="2083246"/>
                      <a:pt x="3124217" y="1656549"/>
                    </a:cubicBezTo>
                    <a:cubicBezTo>
                      <a:pt x="3072847" y="1273817"/>
                      <a:pt x="3244776" y="789270"/>
                      <a:pt x="2942725" y="535658"/>
                    </a:cubicBezTo>
                    <a:cubicBezTo>
                      <a:pt x="2599022" y="247105"/>
                      <a:pt x="1973399" y="-51783"/>
                      <a:pt x="1545622" y="7609"/>
                    </a:cubicBezTo>
                    <a:cubicBezTo>
                      <a:pt x="1165821" y="60059"/>
                      <a:pt x="851352" y="508970"/>
                      <a:pt x="599436" y="808708"/>
                    </a:cubicBezTo>
                    <a:cubicBezTo>
                      <a:pt x="311192" y="1151639"/>
                      <a:pt x="-52025" y="1461712"/>
                      <a:pt x="6210" y="1888949"/>
                    </a:cubicBezTo>
                    <a:cubicBezTo>
                      <a:pt x="57888" y="2268441"/>
                      <a:pt x="433139" y="2632970"/>
                      <a:pt x="732182" y="28855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9" name="Freeform: Shape 1088">
                <a:extLst>
                  <a:ext uri="{FF2B5EF4-FFF2-40B4-BE49-F238E27FC236}">
                    <a16:creationId xmlns:a16="http://schemas.microsoft.com/office/drawing/2014/main" id="{87D2B7DC-D5C1-A5FF-B260-783EE065FF29}"/>
                  </a:ext>
                </a:extLst>
              </p:cNvPr>
              <p:cNvSpPr/>
              <p:nvPr/>
            </p:nvSpPr>
            <p:spPr>
              <a:xfrm>
                <a:off x="4223622" y="2666959"/>
                <a:ext cx="3145783" cy="3406134"/>
              </a:xfrm>
              <a:custGeom>
                <a:avLst/>
                <a:gdLst>
                  <a:gd name="connsiteX0" fmla="*/ 703202 w 3145783"/>
                  <a:gd name="connsiteY0" fmla="*/ 2875858 h 3406134"/>
                  <a:gd name="connsiteX1" fmla="*/ 1910173 w 3145783"/>
                  <a:gd name="connsiteY1" fmla="*/ 3399820 h 3406134"/>
                  <a:gd name="connsiteX2" fmla="*/ 2875101 w 3145783"/>
                  <a:gd name="connsiteY2" fmla="*/ 2675082 h 3406134"/>
                  <a:gd name="connsiteX3" fmla="*/ 3122003 w 3145783"/>
                  <a:gd name="connsiteY3" fmla="*/ 1614047 h 3406134"/>
                  <a:gd name="connsiteX4" fmla="*/ 2888291 w 3145783"/>
                  <a:gd name="connsiteY4" fmla="*/ 438855 h 3406134"/>
                  <a:gd name="connsiteX5" fmla="*/ 1508312 w 3145783"/>
                  <a:gd name="connsiteY5" fmla="*/ 9612 h 3406134"/>
                  <a:gd name="connsiteX6" fmla="*/ 516541 w 3145783"/>
                  <a:gd name="connsiteY6" fmla="*/ 744146 h 3406134"/>
                  <a:gd name="connsiteX7" fmla="*/ 7234 w 3145783"/>
                  <a:gd name="connsiteY7" fmla="*/ 1838580 h 3406134"/>
                  <a:gd name="connsiteX8" fmla="*/ 703125 w 3145783"/>
                  <a:gd name="connsiteY8" fmla="*/ 2875858 h 340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45783" h="3406134">
                    <a:moveTo>
                      <a:pt x="703202" y="2875858"/>
                    </a:moveTo>
                    <a:cubicBezTo>
                      <a:pt x="1038729" y="3149756"/>
                      <a:pt x="1491188" y="3453967"/>
                      <a:pt x="1910173" y="3399820"/>
                    </a:cubicBezTo>
                    <a:cubicBezTo>
                      <a:pt x="2307174" y="3348218"/>
                      <a:pt x="2620872" y="2987778"/>
                      <a:pt x="2875101" y="2675082"/>
                    </a:cubicBezTo>
                    <a:cubicBezTo>
                      <a:pt x="3149077" y="2338167"/>
                      <a:pt x="3178310" y="2033802"/>
                      <a:pt x="3122003" y="1614047"/>
                    </a:cubicBezTo>
                    <a:cubicBezTo>
                      <a:pt x="3068936" y="1218434"/>
                      <a:pt x="3200369" y="691464"/>
                      <a:pt x="2888291" y="438855"/>
                    </a:cubicBezTo>
                    <a:cubicBezTo>
                      <a:pt x="2549988" y="165034"/>
                      <a:pt x="1928530" y="-48546"/>
                      <a:pt x="1508312" y="9612"/>
                    </a:cubicBezTo>
                    <a:cubicBezTo>
                      <a:pt x="1115476" y="63605"/>
                      <a:pt x="767685" y="434304"/>
                      <a:pt x="516541" y="744146"/>
                    </a:cubicBezTo>
                    <a:cubicBezTo>
                      <a:pt x="242797" y="1081832"/>
                      <a:pt x="-49998" y="1418593"/>
                      <a:pt x="7234" y="1838580"/>
                    </a:cubicBezTo>
                    <a:cubicBezTo>
                      <a:pt x="60456" y="2230413"/>
                      <a:pt x="394749" y="2624098"/>
                      <a:pt x="703125" y="287585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90" name="Freeform: Shape 1089">
                <a:extLst>
                  <a:ext uri="{FF2B5EF4-FFF2-40B4-BE49-F238E27FC236}">
                    <a16:creationId xmlns:a16="http://schemas.microsoft.com/office/drawing/2014/main" id="{48266154-78DB-E038-0D57-E7CA901B1420}"/>
                  </a:ext>
                </a:extLst>
              </p:cNvPr>
              <p:cNvSpPr/>
              <p:nvPr/>
            </p:nvSpPr>
            <p:spPr>
              <a:xfrm>
                <a:off x="4260986" y="2709255"/>
                <a:ext cx="3135893" cy="3350272"/>
              </a:xfrm>
              <a:custGeom>
                <a:avLst/>
                <a:gdLst>
                  <a:gd name="connsiteX0" fmla="*/ 674554 w 3135893"/>
                  <a:gd name="connsiteY0" fmla="*/ 2867269 h 3350272"/>
                  <a:gd name="connsiteX1" fmla="*/ 1880214 w 3135893"/>
                  <a:gd name="connsiteY1" fmla="*/ 3343408 h 3350272"/>
                  <a:gd name="connsiteX2" fmla="*/ 2824779 w 3135893"/>
                  <a:gd name="connsiteY2" fmla="*/ 2590440 h 3350272"/>
                  <a:gd name="connsiteX3" fmla="*/ 3120352 w 3135893"/>
                  <a:gd name="connsiteY3" fmla="*/ 1572830 h 3350272"/>
                  <a:gd name="connsiteX4" fmla="*/ 2834498 w 3135893"/>
                  <a:gd name="connsiteY4" fmla="*/ 343337 h 3350272"/>
                  <a:gd name="connsiteX5" fmla="*/ 1471565 w 3135893"/>
                  <a:gd name="connsiteY5" fmla="*/ 12824 h 3350272"/>
                  <a:gd name="connsiteX6" fmla="*/ 434209 w 3135893"/>
                  <a:gd name="connsiteY6" fmla="*/ 680715 h 3350272"/>
                  <a:gd name="connsiteX7" fmla="*/ 8746 w 3135893"/>
                  <a:gd name="connsiteY7" fmla="*/ 1789341 h 3350272"/>
                  <a:gd name="connsiteX8" fmla="*/ 674631 w 3135893"/>
                  <a:gd name="connsiteY8" fmla="*/ 2867192 h 3350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893" h="3350272">
                    <a:moveTo>
                      <a:pt x="674554" y="2867269"/>
                    </a:moveTo>
                    <a:cubicBezTo>
                      <a:pt x="1005144" y="3127900"/>
                      <a:pt x="1467477" y="3396938"/>
                      <a:pt x="1880214" y="3343408"/>
                    </a:cubicBezTo>
                    <a:cubicBezTo>
                      <a:pt x="2289402" y="3289956"/>
                      <a:pt x="2572016" y="2912777"/>
                      <a:pt x="2824779" y="2590440"/>
                    </a:cubicBezTo>
                    <a:cubicBezTo>
                      <a:pt x="3084794" y="2258847"/>
                      <a:pt x="3175656" y="1985567"/>
                      <a:pt x="3120352" y="1572830"/>
                    </a:cubicBezTo>
                    <a:cubicBezTo>
                      <a:pt x="3065587" y="1164336"/>
                      <a:pt x="3156758" y="594635"/>
                      <a:pt x="2834498" y="343337"/>
                    </a:cubicBezTo>
                    <a:cubicBezTo>
                      <a:pt x="2512238" y="92039"/>
                      <a:pt x="1884302" y="-44023"/>
                      <a:pt x="1471565" y="12824"/>
                    </a:cubicBezTo>
                    <a:cubicBezTo>
                      <a:pt x="1065694" y="68359"/>
                      <a:pt x="684273" y="360692"/>
                      <a:pt x="434209" y="680715"/>
                    </a:cubicBezTo>
                    <a:cubicBezTo>
                      <a:pt x="174658" y="1012848"/>
                      <a:pt x="-47330" y="1376605"/>
                      <a:pt x="8746" y="1789341"/>
                    </a:cubicBezTo>
                    <a:cubicBezTo>
                      <a:pt x="63510" y="2193593"/>
                      <a:pt x="356691" y="2616588"/>
                      <a:pt x="674631" y="286719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91" name="Freeform: Shape 1090">
                <a:extLst>
                  <a:ext uri="{FF2B5EF4-FFF2-40B4-BE49-F238E27FC236}">
                    <a16:creationId xmlns:a16="http://schemas.microsoft.com/office/drawing/2014/main" id="{22CDA7F3-C128-C73A-7BA5-0E705B1B1D1F}"/>
                  </a:ext>
                </a:extLst>
              </p:cNvPr>
              <p:cNvSpPr/>
              <p:nvPr/>
            </p:nvSpPr>
            <p:spPr>
              <a:xfrm>
                <a:off x="4297185" y="2745782"/>
                <a:ext cx="3130741" cy="3300265"/>
              </a:xfrm>
              <a:custGeom>
                <a:avLst/>
                <a:gdLst>
                  <a:gd name="connsiteX0" fmla="*/ 647071 w 3130741"/>
                  <a:gd name="connsiteY0" fmla="*/ 2864372 h 3300265"/>
                  <a:gd name="connsiteX1" fmla="*/ 1851342 w 3130741"/>
                  <a:gd name="connsiteY1" fmla="*/ 3292689 h 3300265"/>
                  <a:gd name="connsiteX2" fmla="*/ 2775545 w 3130741"/>
                  <a:gd name="connsiteY2" fmla="*/ 2511491 h 3300265"/>
                  <a:gd name="connsiteX3" fmla="*/ 3119711 w 3130741"/>
                  <a:gd name="connsiteY3" fmla="*/ 1537229 h 3300265"/>
                  <a:gd name="connsiteX4" fmla="*/ 2781639 w 3130741"/>
                  <a:gd name="connsiteY4" fmla="*/ 253435 h 3300265"/>
                  <a:gd name="connsiteX5" fmla="*/ 1435829 w 3130741"/>
                  <a:gd name="connsiteY5" fmla="*/ 21729 h 3300265"/>
                  <a:gd name="connsiteX6" fmla="*/ 352887 w 3130741"/>
                  <a:gd name="connsiteY6" fmla="*/ 622977 h 3300265"/>
                  <a:gd name="connsiteX7" fmla="*/ 11267 w 3130741"/>
                  <a:gd name="connsiteY7" fmla="*/ 1745873 h 3300265"/>
                  <a:gd name="connsiteX8" fmla="*/ 647071 w 3130741"/>
                  <a:gd name="connsiteY8" fmla="*/ 2864295 h 3300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0741" h="3300265">
                    <a:moveTo>
                      <a:pt x="647071" y="2864372"/>
                    </a:moveTo>
                    <a:cubicBezTo>
                      <a:pt x="972571" y="3111968"/>
                      <a:pt x="1444853" y="3345679"/>
                      <a:pt x="1851342" y="3292689"/>
                    </a:cubicBezTo>
                    <a:cubicBezTo>
                      <a:pt x="2272795" y="3237385"/>
                      <a:pt x="2524556" y="2843624"/>
                      <a:pt x="2775545" y="2511491"/>
                    </a:cubicBezTo>
                    <a:cubicBezTo>
                      <a:pt x="3021907" y="2185529"/>
                      <a:pt x="3174166" y="1943024"/>
                      <a:pt x="3119711" y="1537229"/>
                    </a:cubicBezTo>
                    <a:cubicBezTo>
                      <a:pt x="3063172" y="1115777"/>
                      <a:pt x="3114388" y="503190"/>
                      <a:pt x="2781639" y="253435"/>
                    </a:cubicBezTo>
                    <a:cubicBezTo>
                      <a:pt x="2455059" y="8308"/>
                      <a:pt x="1841007" y="-33884"/>
                      <a:pt x="1435829" y="21729"/>
                    </a:cubicBezTo>
                    <a:cubicBezTo>
                      <a:pt x="1016845" y="78884"/>
                      <a:pt x="601640" y="292464"/>
                      <a:pt x="352887" y="622977"/>
                    </a:cubicBezTo>
                    <a:cubicBezTo>
                      <a:pt x="107297" y="949325"/>
                      <a:pt x="-43651" y="1340387"/>
                      <a:pt x="11267" y="1745873"/>
                    </a:cubicBezTo>
                    <a:cubicBezTo>
                      <a:pt x="67574" y="2162466"/>
                      <a:pt x="319412" y="2615080"/>
                      <a:pt x="647071" y="286429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92" name="Freeform: Shape 1091">
                <a:extLst>
                  <a:ext uri="{FF2B5EF4-FFF2-40B4-BE49-F238E27FC236}">
                    <a16:creationId xmlns:a16="http://schemas.microsoft.com/office/drawing/2014/main" id="{4B25AB5F-C7CB-B8CA-7882-385794D81289}"/>
                  </a:ext>
                </a:extLst>
              </p:cNvPr>
              <p:cNvSpPr/>
              <p:nvPr/>
            </p:nvSpPr>
            <p:spPr>
              <a:xfrm>
                <a:off x="4331073" y="2769810"/>
                <a:ext cx="3129679" cy="3263042"/>
              </a:xfrm>
              <a:custGeom>
                <a:avLst/>
                <a:gdLst>
                  <a:gd name="connsiteX0" fmla="*/ 621899 w 3129679"/>
                  <a:gd name="connsiteY0" fmla="*/ 2874051 h 3263042"/>
                  <a:gd name="connsiteX1" fmla="*/ 1824782 w 3129679"/>
                  <a:gd name="connsiteY1" fmla="*/ 3254546 h 3263042"/>
                  <a:gd name="connsiteX2" fmla="*/ 2728544 w 3129679"/>
                  <a:gd name="connsiteY2" fmla="*/ 2445116 h 3263042"/>
                  <a:gd name="connsiteX3" fmla="*/ 3121380 w 3129679"/>
                  <a:gd name="connsiteY3" fmla="*/ 1514281 h 3263042"/>
                  <a:gd name="connsiteX4" fmla="*/ 2731090 w 3129679"/>
                  <a:gd name="connsiteY4" fmla="*/ 176262 h 3263042"/>
                  <a:gd name="connsiteX5" fmla="*/ 1402404 w 3129679"/>
                  <a:gd name="connsiteY5" fmla="*/ 43363 h 3263042"/>
                  <a:gd name="connsiteX6" fmla="*/ 273877 w 3129679"/>
                  <a:gd name="connsiteY6" fmla="*/ 578045 h 3263042"/>
                  <a:gd name="connsiteX7" fmla="*/ 16177 w 3129679"/>
                  <a:gd name="connsiteY7" fmla="*/ 1715134 h 3263042"/>
                  <a:gd name="connsiteX8" fmla="*/ 621899 w 3129679"/>
                  <a:gd name="connsiteY8" fmla="*/ 2874205 h 3263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29679" h="3263042">
                    <a:moveTo>
                      <a:pt x="621899" y="2874051"/>
                    </a:moveTo>
                    <a:cubicBezTo>
                      <a:pt x="941999" y="3108842"/>
                      <a:pt x="1424618" y="3306996"/>
                      <a:pt x="1824782" y="3254546"/>
                    </a:cubicBezTo>
                    <a:cubicBezTo>
                      <a:pt x="2258421" y="3197313"/>
                      <a:pt x="2479637" y="2787277"/>
                      <a:pt x="2728544" y="2445116"/>
                    </a:cubicBezTo>
                    <a:cubicBezTo>
                      <a:pt x="2961485" y="2124939"/>
                      <a:pt x="3174833" y="1913056"/>
                      <a:pt x="3121380" y="1514281"/>
                    </a:cubicBezTo>
                    <a:cubicBezTo>
                      <a:pt x="3063145" y="1079947"/>
                      <a:pt x="3074561" y="424089"/>
                      <a:pt x="2731090" y="176262"/>
                    </a:cubicBezTo>
                    <a:cubicBezTo>
                      <a:pt x="2410681" y="-54982"/>
                      <a:pt x="1800022" y="-10939"/>
                      <a:pt x="1402404" y="43363"/>
                    </a:cubicBezTo>
                    <a:cubicBezTo>
                      <a:pt x="970384" y="102060"/>
                      <a:pt x="521009" y="236734"/>
                      <a:pt x="273877" y="578045"/>
                    </a:cubicBezTo>
                    <a:cubicBezTo>
                      <a:pt x="41862" y="898377"/>
                      <a:pt x="-37739" y="1316898"/>
                      <a:pt x="16177" y="1715134"/>
                    </a:cubicBezTo>
                    <a:cubicBezTo>
                      <a:pt x="74026" y="2144068"/>
                      <a:pt x="284289" y="2626532"/>
                      <a:pt x="621899" y="287420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93" name="Freeform: Shape 1092">
                <a:extLst>
                  <a:ext uri="{FF2B5EF4-FFF2-40B4-BE49-F238E27FC236}">
                    <a16:creationId xmlns:a16="http://schemas.microsoft.com/office/drawing/2014/main" id="{E4B99BAD-5076-7281-C84E-15D764BAE7A1}"/>
                  </a:ext>
                </a:extLst>
              </p:cNvPr>
              <p:cNvSpPr/>
              <p:nvPr/>
            </p:nvSpPr>
            <p:spPr>
              <a:xfrm>
                <a:off x="4358871" y="2771233"/>
                <a:ext cx="3135688" cy="3248662"/>
              </a:xfrm>
              <a:custGeom>
                <a:avLst/>
                <a:gdLst>
                  <a:gd name="connsiteX0" fmla="*/ 602817 w 3135688"/>
                  <a:gd name="connsiteY0" fmla="*/ 2906335 h 3248662"/>
                  <a:gd name="connsiteX1" fmla="*/ 1804311 w 3135688"/>
                  <a:gd name="connsiteY1" fmla="*/ 3238930 h 3248662"/>
                  <a:gd name="connsiteX2" fmla="*/ 2687711 w 3135688"/>
                  <a:gd name="connsiteY2" fmla="*/ 2401271 h 3248662"/>
                  <a:gd name="connsiteX3" fmla="*/ 3129140 w 3135688"/>
                  <a:gd name="connsiteY3" fmla="*/ 1513860 h 3248662"/>
                  <a:gd name="connsiteX4" fmla="*/ 2686631 w 3135688"/>
                  <a:gd name="connsiteY4" fmla="*/ 121540 h 3248662"/>
                  <a:gd name="connsiteX5" fmla="*/ 1375068 w 3135688"/>
                  <a:gd name="connsiteY5" fmla="*/ 87448 h 3248662"/>
                  <a:gd name="connsiteX6" fmla="*/ 200956 w 3135688"/>
                  <a:gd name="connsiteY6" fmla="*/ 555488 h 3248662"/>
                  <a:gd name="connsiteX7" fmla="*/ 27099 w 3135688"/>
                  <a:gd name="connsiteY7" fmla="*/ 1706769 h 3248662"/>
                  <a:gd name="connsiteX8" fmla="*/ 602817 w 3135688"/>
                  <a:gd name="connsiteY8" fmla="*/ 2906412 h 3248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688" h="3248662">
                    <a:moveTo>
                      <a:pt x="602817" y="2906335"/>
                    </a:moveTo>
                    <a:cubicBezTo>
                      <a:pt x="917441" y="3128631"/>
                      <a:pt x="1410472" y="3290840"/>
                      <a:pt x="1804311" y="3238930"/>
                    </a:cubicBezTo>
                    <a:cubicBezTo>
                      <a:pt x="2250214" y="3179847"/>
                      <a:pt x="2441195" y="2753612"/>
                      <a:pt x="2687711" y="2401271"/>
                    </a:cubicBezTo>
                    <a:cubicBezTo>
                      <a:pt x="2907538" y="2087032"/>
                      <a:pt x="3181668" y="1905617"/>
                      <a:pt x="3129140" y="1513860"/>
                    </a:cubicBezTo>
                    <a:cubicBezTo>
                      <a:pt x="3069209" y="1066646"/>
                      <a:pt x="3040978" y="367208"/>
                      <a:pt x="2686631" y="121540"/>
                    </a:cubicBezTo>
                    <a:cubicBezTo>
                      <a:pt x="2372624" y="-96128"/>
                      <a:pt x="1765128" y="34381"/>
                      <a:pt x="1375068" y="87448"/>
                    </a:cubicBezTo>
                    <a:cubicBezTo>
                      <a:pt x="930013" y="147688"/>
                      <a:pt x="446083" y="203301"/>
                      <a:pt x="200956" y="555488"/>
                    </a:cubicBezTo>
                    <a:cubicBezTo>
                      <a:pt x="-17715" y="869649"/>
                      <a:pt x="-25660" y="1315784"/>
                      <a:pt x="27099" y="1706769"/>
                    </a:cubicBezTo>
                    <a:cubicBezTo>
                      <a:pt x="86568" y="2148122"/>
                      <a:pt x="255026" y="2660667"/>
                      <a:pt x="602817" y="290641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94" name="Freeform: Shape 1093">
                <a:extLst>
                  <a:ext uri="{FF2B5EF4-FFF2-40B4-BE49-F238E27FC236}">
                    <a16:creationId xmlns:a16="http://schemas.microsoft.com/office/drawing/2014/main" id="{A7EF04C2-1BBC-2BF9-5BBA-0582E2647EB6}"/>
                  </a:ext>
                </a:extLst>
              </p:cNvPr>
              <p:cNvSpPr/>
              <p:nvPr/>
            </p:nvSpPr>
            <p:spPr>
              <a:xfrm>
                <a:off x="4372952" y="2753381"/>
                <a:ext cx="3156027" cy="3254119"/>
              </a:xfrm>
              <a:custGeom>
                <a:avLst/>
                <a:gdLst>
                  <a:gd name="connsiteX0" fmla="*/ 597452 w 3156027"/>
                  <a:gd name="connsiteY0" fmla="*/ 2957894 h 3254119"/>
                  <a:gd name="connsiteX1" fmla="*/ 1797558 w 3156027"/>
                  <a:gd name="connsiteY1" fmla="*/ 3242667 h 3254119"/>
                  <a:gd name="connsiteX2" fmla="*/ 2660594 w 3156027"/>
                  <a:gd name="connsiteY2" fmla="*/ 2376700 h 3254119"/>
                  <a:gd name="connsiteX3" fmla="*/ 3150695 w 3156027"/>
                  <a:gd name="connsiteY3" fmla="*/ 1532638 h 3254119"/>
                  <a:gd name="connsiteX4" fmla="*/ 2655966 w 3156027"/>
                  <a:gd name="connsiteY4" fmla="*/ 86017 h 3254119"/>
                  <a:gd name="connsiteX5" fmla="*/ 1361450 w 3156027"/>
                  <a:gd name="connsiteY5" fmla="*/ 150654 h 3254119"/>
                  <a:gd name="connsiteX6" fmla="*/ 141752 w 3156027"/>
                  <a:gd name="connsiteY6" fmla="*/ 552129 h 3254119"/>
                  <a:gd name="connsiteX7" fmla="*/ 51738 w 3156027"/>
                  <a:gd name="connsiteY7" fmla="*/ 1717602 h 3254119"/>
                  <a:gd name="connsiteX8" fmla="*/ 597374 w 3156027"/>
                  <a:gd name="connsiteY8" fmla="*/ 2957816 h 3254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56027" h="3254119">
                    <a:moveTo>
                      <a:pt x="597452" y="2957894"/>
                    </a:moveTo>
                    <a:cubicBezTo>
                      <a:pt x="906445" y="3167925"/>
                      <a:pt x="1410044" y="3294037"/>
                      <a:pt x="1797558" y="3242667"/>
                    </a:cubicBezTo>
                    <a:cubicBezTo>
                      <a:pt x="2255648" y="3181732"/>
                      <a:pt x="2416778" y="2739608"/>
                      <a:pt x="2660594" y="2376700"/>
                    </a:cubicBezTo>
                    <a:cubicBezTo>
                      <a:pt x="2867541" y="2068555"/>
                      <a:pt x="3202297" y="1917452"/>
                      <a:pt x="3150695" y="1532638"/>
                    </a:cubicBezTo>
                    <a:cubicBezTo>
                      <a:pt x="3088989" y="1072542"/>
                      <a:pt x="3021574" y="329061"/>
                      <a:pt x="2655966" y="86017"/>
                    </a:cubicBezTo>
                    <a:cubicBezTo>
                      <a:pt x="2348516" y="-118385"/>
                      <a:pt x="1744028" y="98898"/>
                      <a:pt x="1361450" y="150654"/>
                    </a:cubicBezTo>
                    <a:cubicBezTo>
                      <a:pt x="903359" y="212437"/>
                      <a:pt x="384566" y="188680"/>
                      <a:pt x="141752" y="552129"/>
                    </a:cubicBezTo>
                    <a:cubicBezTo>
                      <a:pt x="-63883" y="859965"/>
                      <a:pt x="60" y="1333867"/>
                      <a:pt x="51738" y="1717602"/>
                    </a:cubicBezTo>
                    <a:cubicBezTo>
                      <a:pt x="112750" y="2171296"/>
                      <a:pt x="239248" y="2714386"/>
                      <a:pt x="597374" y="2957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95" name="Freeform: Shape 1094">
                <a:extLst>
                  <a:ext uri="{FF2B5EF4-FFF2-40B4-BE49-F238E27FC236}">
                    <a16:creationId xmlns:a16="http://schemas.microsoft.com/office/drawing/2014/main" id="{D34B4692-BAEF-45A3-57ED-9BD044CB3B07}"/>
                  </a:ext>
                </a:extLst>
              </p:cNvPr>
              <p:cNvSpPr/>
              <p:nvPr/>
            </p:nvSpPr>
            <p:spPr>
              <a:xfrm>
                <a:off x="4369454" y="2723578"/>
                <a:ext cx="3194199" cy="3272228"/>
              </a:xfrm>
              <a:custGeom>
                <a:avLst/>
                <a:gdLst>
                  <a:gd name="connsiteX0" fmla="*/ 609666 w 3194199"/>
                  <a:gd name="connsiteY0" fmla="*/ 3021327 h 3272228"/>
                  <a:gd name="connsiteX1" fmla="*/ 1808461 w 3194199"/>
                  <a:gd name="connsiteY1" fmla="*/ 3258278 h 3272228"/>
                  <a:gd name="connsiteX2" fmla="*/ 2651057 w 3194199"/>
                  <a:gd name="connsiteY2" fmla="*/ 2364080 h 3272228"/>
                  <a:gd name="connsiteX3" fmla="*/ 3189751 w 3194199"/>
                  <a:gd name="connsiteY3" fmla="*/ 1563444 h 3272228"/>
                  <a:gd name="connsiteX4" fmla="*/ 2642804 w 3194199"/>
                  <a:gd name="connsiteY4" fmla="*/ 62522 h 3272228"/>
                  <a:gd name="connsiteX5" fmla="*/ 1365411 w 3194199"/>
                  <a:gd name="connsiteY5" fmla="*/ 225965 h 3272228"/>
                  <a:gd name="connsiteX6" fmla="*/ 100128 w 3194199"/>
                  <a:gd name="connsiteY6" fmla="*/ 560798 h 3272228"/>
                  <a:gd name="connsiteX7" fmla="*/ 94034 w 3194199"/>
                  <a:gd name="connsiteY7" fmla="*/ 1740540 h 3272228"/>
                  <a:gd name="connsiteX8" fmla="*/ 609589 w 3194199"/>
                  <a:gd name="connsiteY8" fmla="*/ 3021327 h 3272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94199" h="3272228">
                    <a:moveTo>
                      <a:pt x="609666" y="3021327"/>
                    </a:moveTo>
                    <a:cubicBezTo>
                      <a:pt x="912874" y="3219326"/>
                      <a:pt x="1427194" y="3309031"/>
                      <a:pt x="1808461" y="3258278"/>
                    </a:cubicBezTo>
                    <a:cubicBezTo>
                      <a:pt x="2278815" y="3195492"/>
                      <a:pt x="2410481" y="2737710"/>
                      <a:pt x="2651057" y="2364080"/>
                    </a:cubicBezTo>
                    <a:cubicBezTo>
                      <a:pt x="2845431" y="2062183"/>
                      <a:pt x="3240427" y="1941240"/>
                      <a:pt x="3189751" y="1563444"/>
                    </a:cubicBezTo>
                    <a:cubicBezTo>
                      <a:pt x="3126348" y="1090390"/>
                      <a:pt x="3019828" y="302481"/>
                      <a:pt x="2642804" y="62522"/>
                    </a:cubicBezTo>
                    <a:cubicBezTo>
                      <a:pt x="2342064" y="-128844"/>
                      <a:pt x="1740430" y="175444"/>
                      <a:pt x="1365411" y="225965"/>
                    </a:cubicBezTo>
                    <a:cubicBezTo>
                      <a:pt x="894285" y="289291"/>
                      <a:pt x="340087" y="185934"/>
                      <a:pt x="100128" y="560798"/>
                    </a:cubicBezTo>
                    <a:cubicBezTo>
                      <a:pt x="-92781" y="862155"/>
                      <a:pt x="43435" y="1364056"/>
                      <a:pt x="94034" y="1740540"/>
                    </a:cubicBezTo>
                    <a:cubicBezTo>
                      <a:pt x="156589" y="2206653"/>
                      <a:pt x="240972" y="2780596"/>
                      <a:pt x="609589" y="302132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96" name="Freeform: Shape 1095">
                <a:extLst>
                  <a:ext uri="{FF2B5EF4-FFF2-40B4-BE49-F238E27FC236}">
                    <a16:creationId xmlns:a16="http://schemas.microsoft.com/office/drawing/2014/main" id="{DF6D57FC-E62B-B48B-CA17-ACB9997AC64F}"/>
                  </a:ext>
                </a:extLst>
              </p:cNvPr>
              <p:cNvSpPr/>
              <p:nvPr/>
            </p:nvSpPr>
            <p:spPr>
              <a:xfrm>
                <a:off x="4352455" y="2686397"/>
                <a:ext cx="3246150" cy="3299210"/>
              </a:xfrm>
              <a:custGeom>
                <a:avLst/>
                <a:gdLst>
                  <a:gd name="connsiteX0" fmla="*/ 1832787 w 3246150"/>
                  <a:gd name="connsiteY0" fmla="*/ 3281344 h 3299210"/>
                  <a:gd name="connsiteX1" fmla="*/ 2655021 w 3246150"/>
                  <a:gd name="connsiteY1" fmla="*/ 2358915 h 3299210"/>
                  <a:gd name="connsiteX2" fmla="*/ 3242385 w 3246150"/>
                  <a:gd name="connsiteY2" fmla="*/ 1601628 h 3299210"/>
                  <a:gd name="connsiteX3" fmla="*/ 2643296 w 3246150"/>
                  <a:gd name="connsiteY3" fmla="*/ 46404 h 3299210"/>
                  <a:gd name="connsiteX4" fmla="*/ 1383027 w 3246150"/>
                  <a:gd name="connsiteY4" fmla="*/ 308655 h 3299210"/>
                  <a:gd name="connsiteX5" fmla="*/ 72158 w 3246150"/>
                  <a:gd name="connsiteY5" fmla="*/ 576844 h 3299210"/>
                  <a:gd name="connsiteX6" fmla="*/ 149908 w 3246150"/>
                  <a:gd name="connsiteY6" fmla="*/ 1770779 h 3299210"/>
                  <a:gd name="connsiteX7" fmla="*/ 635458 w 3246150"/>
                  <a:gd name="connsiteY7" fmla="*/ 3092214 h 3299210"/>
                  <a:gd name="connsiteX8" fmla="*/ 1832864 w 3246150"/>
                  <a:gd name="connsiteY8" fmla="*/ 3281266 h 3299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6150" h="3299210">
                    <a:moveTo>
                      <a:pt x="1832787" y="3281344"/>
                    </a:moveTo>
                    <a:cubicBezTo>
                      <a:pt x="2315329" y="3216707"/>
                      <a:pt x="2418069" y="2743421"/>
                      <a:pt x="2655021" y="2358915"/>
                    </a:cubicBezTo>
                    <a:cubicBezTo>
                      <a:pt x="2837131" y="2063420"/>
                      <a:pt x="3292059" y="1972558"/>
                      <a:pt x="3242385" y="1601628"/>
                    </a:cubicBezTo>
                    <a:cubicBezTo>
                      <a:pt x="3177285" y="1115693"/>
                      <a:pt x="3031967" y="282661"/>
                      <a:pt x="2643296" y="46404"/>
                    </a:cubicBezTo>
                    <a:cubicBezTo>
                      <a:pt x="2349344" y="-132312"/>
                      <a:pt x="1750487" y="259367"/>
                      <a:pt x="1383027" y="308655"/>
                    </a:cubicBezTo>
                    <a:cubicBezTo>
                      <a:pt x="898866" y="373523"/>
                      <a:pt x="308801" y="190333"/>
                      <a:pt x="72158" y="576844"/>
                    </a:cubicBezTo>
                    <a:cubicBezTo>
                      <a:pt x="-108255" y="871568"/>
                      <a:pt x="100466" y="1401546"/>
                      <a:pt x="149908" y="1770779"/>
                    </a:cubicBezTo>
                    <a:cubicBezTo>
                      <a:pt x="214005" y="2249233"/>
                      <a:pt x="255965" y="2854492"/>
                      <a:pt x="635458" y="3092214"/>
                    </a:cubicBezTo>
                    <a:cubicBezTo>
                      <a:pt x="932804" y="3278490"/>
                      <a:pt x="1457845" y="3331557"/>
                      <a:pt x="1832864" y="328126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1029" name="Graphic 5">
              <a:extLst>
                <a:ext uri="{FF2B5EF4-FFF2-40B4-BE49-F238E27FC236}">
                  <a16:creationId xmlns:a16="http://schemas.microsoft.com/office/drawing/2014/main" id="{DC0FF28F-0AEE-FB62-C871-546208FF16C0}"/>
                </a:ext>
              </a:extLst>
            </p:cNvPr>
            <p:cNvGrpSpPr/>
            <p:nvPr/>
          </p:nvGrpSpPr>
          <p:grpSpPr>
            <a:xfrm rot="180525">
              <a:off x="-597053" y="441139"/>
              <a:ext cx="6472770" cy="6313556"/>
              <a:chOff x="4270587" y="2574268"/>
              <a:chExt cx="3544376" cy="3457192"/>
            </a:xfrm>
            <a:noFill/>
          </p:grpSpPr>
          <p:sp>
            <p:nvSpPr>
              <p:cNvPr id="1069" name="Freeform: Shape 1068">
                <a:extLst>
                  <a:ext uri="{FF2B5EF4-FFF2-40B4-BE49-F238E27FC236}">
                    <a16:creationId xmlns:a16="http://schemas.microsoft.com/office/drawing/2014/main" id="{207943DA-0EF6-33F0-BD25-B41CA63072A8}"/>
                  </a:ext>
                </a:extLst>
              </p:cNvPr>
              <p:cNvSpPr/>
              <p:nvPr/>
            </p:nvSpPr>
            <p:spPr>
              <a:xfrm>
                <a:off x="4270587" y="2606803"/>
                <a:ext cx="3544376" cy="3424657"/>
              </a:xfrm>
              <a:custGeom>
                <a:avLst/>
                <a:gdLst>
                  <a:gd name="connsiteX0" fmla="*/ 3338832 w 3544376"/>
                  <a:gd name="connsiteY0" fmla="*/ 932573 h 3424657"/>
                  <a:gd name="connsiteX1" fmla="*/ 2419102 w 3544376"/>
                  <a:gd name="connsiteY1" fmla="*/ 117205 h 3424657"/>
                  <a:gd name="connsiteX2" fmla="*/ 1318575 w 3544376"/>
                  <a:gd name="connsiteY2" fmla="*/ 80027 h 3424657"/>
                  <a:gd name="connsiteX3" fmla="*/ 8709 w 3544376"/>
                  <a:gd name="connsiteY3" fmla="*/ 1110518 h 3424657"/>
                  <a:gd name="connsiteX4" fmla="*/ 630398 w 3544376"/>
                  <a:gd name="connsiteY4" fmla="*/ 2237733 h 3424657"/>
                  <a:gd name="connsiteX5" fmla="*/ 1272758 w 3544376"/>
                  <a:gd name="connsiteY5" fmla="*/ 3411536 h 3424657"/>
                  <a:gd name="connsiteX6" fmla="*/ 2390872 w 3544376"/>
                  <a:gd name="connsiteY6" fmla="*/ 2985687 h 3424657"/>
                  <a:gd name="connsiteX7" fmla="*/ 3510760 w 3544376"/>
                  <a:gd name="connsiteY7" fmla="*/ 2132601 h 3424657"/>
                  <a:gd name="connsiteX8" fmla="*/ 3338908 w 3544376"/>
                  <a:gd name="connsiteY8" fmla="*/ 932650 h 342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44376" h="3424657">
                    <a:moveTo>
                      <a:pt x="3338832" y="932573"/>
                    </a:moveTo>
                    <a:cubicBezTo>
                      <a:pt x="3134970" y="490449"/>
                      <a:pt x="2856290" y="230435"/>
                      <a:pt x="2419102" y="117205"/>
                    </a:cubicBezTo>
                    <a:cubicBezTo>
                      <a:pt x="2083036" y="30199"/>
                      <a:pt x="1658344" y="-76630"/>
                      <a:pt x="1318575" y="80027"/>
                    </a:cubicBezTo>
                    <a:cubicBezTo>
                      <a:pt x="873365" y="285354"/>
                      <a:pt x="120088" y="669551"/>
                      <a:pt x="8709" y="1110518"/>
                    </a:cubicBezTo>
                    <a:cubicBezTo>
                      <a:pt x="-75520" y="1444039"/>
                      <a:pt x="475130" y="1900972"/>
                      <a:pt x="630398" y="2237733"/>
                    </a:cubicBezTo>
                    <a:cubicBezTo>
                      <a:pt x="834953" y="2681323"/>
                      <a:pt x="833642" y="3299231"/>
                      <a:pt x="1272758" y="3411536"/>
                    </a:cubicBezTo>
                    <a:cubicBezTo>
                      <a:pt x="1607591" y="3497153"/>
                      <a:pt x="2052568" y="3141650"/>
                      <a:pt x="2390872" y="2985687"/>
                    </a:cubicBezTo>
                    <a:cubicBezTo>
                      <a:pt x="2829217" y="2783523"/>
                      <a:pt x="3395293" y="2565161"/>
                      <a:pt x="3510760" y="2132601"/>
                    </a:cubicBezTo>
                    <a:cubicBezTo>
                      <a:pt x="3601236" y="1793527"/>
                      <a:pt x="3497339" y="1276198"/>
                      <a:pt x="3338908" y="93265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71" name="Freeform: Shape 1070">
                <a:extLst>
                  <a:ext uri="{FF2B5EF4-FFF2-40B4-BE49-F238E27FC236}">
                    <a16:creationId xmlns:a16="http://schemas.microsoft.com/office/drawing/2014/main" id="{0D066323-3276-4AE0-17BF-88D86881B9ED}"/>
                  </a:ext>
                </a:extLst>
              </p:cNvPr>
              <p:cNvSpPr/>
              <p:nvPr/>
            </p:nvSpPr>
            <p:spPr>
              <a:xfrm>
                <a:off x="4311149" y="2610445"/>
                <a:ext cx="3481515" cy="3380560"/>
              </a:xfrm>
              <a:custGeom>
                <a:avLst/>
                <a:gdLst>
                  <a:gd name="connsiteX0" fmla="*/ 2384788 w 3481515"/>
                  <a:gd name="connsiteY0" fmla="*/ 2986674 h 3380560"/>
                  <a:gd name="connsiteX1" fmla="*/ 3435796 w 3481515"/>
                  <a:gd name="connsiteY1" fmla="*/ 2123946 h 3380560"/>
                  <a:gd name="connsiteX2" fmla="*/ 3309068 w 3481515"/>
                  <a:gd name="connsiteY2" fmla="*/ 911268 h 3380560"/>
                  <a:gd name="connsiteX3" fmla="*/ 2359797 w 3481515"/>
                  <a:gd name="connsiteY3" fmla="*/ 156988 h 3380560"/>
                  <a:gd name="connsiteX4" fmla="*/ 1222399 w 3481515"/>
                  <a:gd name="connsiteY4" fmla="*/ 71757 h 3380560"/>
                  <a:gd name="connsiteX5" fmla="*/ 10492 w 3481515"/>
                  <a:gd name="connsiteY5" fmla="*/ 1123691 h 3380560"/>
                  <a:gd name="connsiteX6" fmla="*/ 573097 w 3481515"/>
                  <a:gd name="connsiteY6" fmla="*/ 2302662 h 3380560"/>
                  <a:gd name="connsiteX7" fmla="*/ 1256646 w 3481515"/>
                  <a:gd name="connsiteY7" fmla="*/ 3364546 h 3380560"/>
                  <a:gd name="connsiteX8" fmla="*/ 2384788 w 3481515"/>
                  <a:gd name="connsiteY8" fmla="*/ 2986674 h 3380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1515" h="3380560">
                    <a:moveTo>
                      <a:pt x="2384788" y="2986674"/>
                    </a:moveTo>
                    <a:cubicBezTo>
                      <a:pt x="2808400" y="2782658"/>
                      <a:pt x="3322257" y="2550489"/>
                      <a:pt x="3435796" y="2123946"/>
                    </a:cubicBezTo>
                    <a:cubicBezTo>
                      <a:pt x="3529127" y="1772916"/>
                      <a:pt x="3475983" y="1257439"/>
                      <a:pt x="3309068" y="911268"/>
                    </a:cubicBezTo>
                    <a:cubicBezTo>
                      <a:pt x="3103355" y="484725"/>
                      <a:pt x="2790197" y="268368"/>
                      <a:pt x="2359797" y="156988"/>
                    </a:cubicBezTo>
                    <a:cubicBezTo>
                      <a:pt x="2011157" y="66743"/>
                      <a:pt x="1565254" y="-93770"/>
                      <a:pt x="1222399" y="71757"/>
                    </a:cubicBezTo>
                    <a:cubicBezTo>
                      <a:pt x="793465" y="278935"/>
                      <a:pt x="120175" y="690129"/>
                      <a:pt x="10492" y="1123691"/>
                    </a:cubicBezTo>
                    <a:cubicBezTo>
                      <a:pt x="-77208" y="1469862"/>
                      <a:pt x="408959" y="1962662"/>
                      <a:pt x="573097" y="2302662"/>
                    </a:cubicBezTo>
                    <a:cubicBezTo>
                      <a:pt x="779581" y="2730362"/>
                      <a:pt x="824704" y="3254015"/>
                      <a:pt x="1256646" y="3364546"/>
                    </a:cubicBezTo>
                    <a:cubicBezTo>
                      <a:pt x="1603512" y="3453403"/>
                      <a:pt x="2043630" y="3150966"/>
                      <a:pt x="2384788" y="298667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72" name="Freeform: Shape 1071">
                <a:extLst>
                  <a:ext uri="{FF2B5EF4-FFF2-40B4-BE49-F238E27FC236}">
                    <a16:creationId xmlns:a16="http://schemas.microsoft.com/office/drawing/2014/main" id="{F4C40FB9-1AA0-73AD-E1B4-70FADAE00B53}"/>
                  </a:ext>
                </a:extLst>
              </p:cNvPr>
              <p:cNvSpPr/>
              <p:nvPr/>
            </p:nvSpPr>
            <p:spPr>
              <a:xfrm>
                <a:off x="4351228" y="2611075"/>
                <a:ext cx="3424905" cy="3340311"/>
              </a:xfrm>
              <a:custGeom>
                <a:avLst/>
                <a:gdLst>
                  <a:gd name="connsiteX0" fmla="*/ 2379187 w 3424905"/>
                  <a:gd name="connsiteY0" fmla="*/ 2990672 h 3340311"/>
                  <a:gd name="connsiteX1" fmla="*/ 3361317 w 3424905"/>
                  <a:gd name="connsiteY1" fmla="*/ 2118303 h 3340311"/>
                  <a:gd name="connsiteX2" fmla="*/ 3279788 w 3424905"/>
                  <a:gd name="connsiteY2" fmla="*/ 892974 h 3340311"/>
                  <a:gd name="connsiteX3" fmla="*/ 2300975 w 3424905"/>
                  <a:gd name="connsiteY3" fmla="*/ 199707 h 3340311"/>
                  <a:gd name="connsiteX4" fmla="*/ 1126708 w 3424905"/>
                  <a:gd name="connsiteY4" fmla="*/ 66422 h 3340311"/>
                  <a:gd name="connsiteX5" fmla="*/ 12759 w 3424905"/>
                  <a:gd name="connsiteY5" fmla="*/ 1139722 h 3340311"/>
                  <a:gd name="connsiteX6" fmla="*/ 516204 w 3424905"/>
                  <a:gd name="connsiteY6" fmla="*/ 2370449 h 3340311"/>
                  <a:gd name="connsiteX7" fmla="*/ 1241019 w 3424905"/>
                  <a:gd name="connsiteY7" fmla="*/ 3320491 h 3340311"/>
                  <a:gd name="connsiteX8" fmla="*/ 2379265 w 3424905"/>
                  <a:gd name="connsiteY8" fmla="*/ 2990594 h 3340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24905" h="3340311">
                    <a:moveTo>
                      <a:pt x="2379187" y="2990672"/>
                    </a:moveTo>
                    <a:cubicBezTo>
                      <a:pt x="2788222" y="2785113"/>
                      <a:pt x="3249628" y="2538829"/>
                      <a:pt x="3361317" y="2118303"/>
                    </a:cubicBezTo>
                    <a:cubicBezTo>
                      <a:pt x="3457501" y="1755239"/>
                      <a:pt x="3455341" y="1241614"/>
                      <a:pt x="3279788" y="892974"/>
                    </a:cubicBezTo>
                    <a:cubicBezTo>
                      <a:pt x="3072686" y="481781"/>
                      <a:pt x="2724587" y="309389"/>
                      <a:pt x="2300975" y="199707"/>
                    </a:cubicBezTo>
                    <a:cubicBezTo>
                      <a:pt x="1939763" y="106145"/>
                      <a:pt x="1472571" y="-108206"/>
                      <a:pt x="1126708" y="66422"/>
                    </a:cubicBezTo>
                    <a:cubicBezTo>
                      <a:pt x="713895" y="274988"/>
                      <a:pt x="120745" y="713641"/>
                      <a:pt x="12759" y="1139722"/>
                    </a:cubicBezTo>
                    <a:cubicBezTo>
                      <a:pt x="-78411" y="1498619"/>
                      <a:pt x="342964" y="2027286"/>
                      <a:pt x="516204" y="2370449"/>
                    </a:cubicBezTo>
                    <a:cubicBezTo>
                      <a:pt x="724076" y="2782414"/>
                      <a:pt x="816250" y="3211657"/>
                      <a:pt x="1241019" y="3320491"/>
                    </a:cubicBezTo>
                    <a:cubicBezTo>
                      <a:pt x="1599917" y="3412587"/>
                      <a:pt x="2035176" y="3163449"/>
                      <a:pt x="2379265" y="299059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74" name="Freeform: Shape 1073">
                <a:extLst>
                  <a:ext uri="{FF2B5EF4-FFF2-40B4-BE49-F238E27FC236}">
                    <a16:creationId xmlns:a16="http://schemas.microsoft.com/office/drawing/2014/main" id="{F43230E6-DAAC-8513-C407-D60E0C93F35F}"/>
                  </a:ext>
                </a:extLst>
              </p:cNvPr>
              <p:cNvSpPr/>
              <p:nvPr/>
            </p:nvSpPr>
            <p:spPr>
              <a:xfrm>
                <a:off x="4390546" y="2609845"/>
                <a:ext cx="3375801" cy="3303429"/>
              </a:xfrm>
              <a:custGeom>
                <a:avLst/>
                <a:gdLst>
                  <a:gd name="connsiteX0" fmla="*/ 2374347 w 3375801"/>
                  <a:gd name="connsiteY0" fmla="*/ 2996529 h 3303429"/>
                  <a:gd name="connsiteX1" fmla="*/ 3287597 w 3375801"/>
                  <a:gd name="connsiteY1" fmla="*/ 2114518 h 3303429"/>
                  <a:gd name="connsiteX2" fmla="*/ 3251191 w 3375801"/>
                  <a:gd name="connsiteY2" fmla="*/ 876541 h 3303429"/>
                  <a:gd name="connsiteX3" fmla="*/ 2242836 w 3375801"/>
                  <a:gd name="connsiteY3" fmla="*/ 244285 h 3303429"/>
                  <a:gd name="connsiteX4" fmla="*/ 1031700 w 3375801"/>
                  <a:gd name="connsiteY4" fmla="*/ 62946 h 3303429"/>
                  <a:gd name="connsiteX5" fmla="*/ 15710 w 3375801"/>
                  <a:gd name="connsiteY5" fmla="*/ 1157689 h 3303429"/>
                  <a:gd name="connsiteX6" fmla="*/ 459993 w 3375801"/>
                  <a:gd name="connsiteY6" fmla="*/ 2440249 h 3303429"/>
                  <a:gd name="connsiteX7" fmla="*/ 1226074 w 3375801"/>
                  <a:gd name="connsiteY7" fmla="*/ 3278449 h 3303429"/>
                  <a:gd name="connsiteX8" fmla="*/ 2374347 w 3375801"/>
                  <a:gd name="connsiteY8" fmla="*/ 2996529 h 330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5801" h="3303429">
                    <a:moveTo>
                      <a:pt x="2374347" y="2996529"/>
                    </a:moveTo>
                    <a:cubicBezTo>
                      <a:pt x="2768881" y="2789891"/>
                      <a:pt x="3177760" y="2529029"/>
                      <a:pt x="3287597" y="2114518"/>
                    </a:cubicBezTo>
                    <a:cubicBezTo>
                      <a:pt x="3386712" y="1739423"/>
                      <a:pt x="3435692" y="1227571"/>
                      <a:pt x="3251191" y="876541"/>
                    </a:cubicBezTo>
                    <a:cubicBezTo>
                      <a:pt x="3043087" y="480619"/>
                      <a:pt x="2659584" y="352193"/>
                      <a:pt x="2242836" y="244285"/>
                    </a:cubicBezTo>
                    <a:cubicBezTo>
                      <a:pt x="1869052" y="147483"/>
                      <a:pt x="1380494" y="-121092"/>
                      <a:pt x="1031700" y="62946"/>
                    </a:cubicBezTo>
                    <a:cubicBezTo>
                      <a:pt x="634776" y="272438"/>
                      <a:pt x="121999" y="739090"/>
                      <a:pt x="15710" y="1157689"/>
                    </a:cubicBezTo>
                    <a:cubicBezTo>
                      <a:pt x="-78932" y="1529236"/>
                      <a:pt x="277421" y="2093847"/>
                      <a:pt x="459993" y="2440249"/>
                    </a:cubicBezTo>
                    <a:cubicBezTo>
                      <a:pt x="668869" y="2836556"/>
                      <a:pt x="808402" y="3171312"/>
                      <a:pt x="1226074" y="3278449"/>
                    </a:cubicBezTo>
                    <a:cubicBezTo>
                      <a:pt x="1597005" y="3373785"/>
                      <a:pt x="2027559" y="3178176"/>
                      <a:pt x="2374347" y="29965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75" name="Freeform: Shape 1074">
                <a:extLst>
                  <a:ext uri="{FF2B5EF4-FFF2-40B4-BE49-F238E27FC236}">
                    <a16:creationId xmlns:a16="http://schemas.microsoft.com/office/drawing/2014/main" id="{471CFCE7-A030-5217-3B10-90AD542A46B9}"/>
                  </a:ext>
                </a:extLst>
              </p:cNvPr>
              <p:cNvSpPr/>
              <p:nvPr/>
            </p:nvSpPr>
            <p:spPr>
              <a:xfrm>
                <a:off x="4428860" y="2607348"/>
                <a:ext cx="3333638" cy="3269772"/>
              </a:xfrm>
              <a:custGeom>
                <a:avLst/>
                <a:gdLst>
                  <a:gd name="connsiteX0" fmla="*/ 2370512 w 3333638"/>
                  <a:gd name="connsiteY0" fmla="*/ 3003654 h 3269772"/>
                  <a:gd name="connsiteX1" fmla="*/ 3214806 w 3333638"/>
                  <a:gd name="connsiteY1" fmla="*/ 2112002 h 3269772"/>
                  <a:gd name="connsiteX2" fmla="*/ 3223522 w 3333638"/>
                  <a:gd name="connsiteY2" fmla="*/ 861297 h 3269772"/>
                  <a:gd name="connsiteX3" fmla="*/ 2185625 w 3333638"/>
                  <a:gd name="connsiteY3" fmla="*/ 290053 h 3269772"/>
                  <a:gd name="connsiteX4" fmla="*/ 937697 w 3333638"/>
                  <a:gd name="connsiteY4" fmla="*/ 60738 h 3269772"/>
                  <a:gd name="connsiteX5" fmla="*/ 19665 w 3333638"/>
                  <a:gd name="connsiteY5" fmla="*/ 1176924 h 3269772"/>
                  <a:gd name="connsiteX6" fmla="*/ 404865 w 3333638"/>
                  <a:gd name="connsiteY6" fmla="*/ 2511240 h 3269772"/>
                  <a:gd name="connsiteX7" fmla="*/ 1212212 w 3333638"/>
                  <a:gd name="connsiteY7" fmla="*/ 3237597 h 3269772"/>
                  <a:gd name="connsiteX8" fmla="*/ 2370512 w 3333638"/>
                  <a:gd name="connsiteY8" fmla="*/ 3003654 h 3269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638" h="3269772">
                    <a:moveTo>
                      <a:pt x="2370512" y="3003654"/>
                    </a:moveTo>
                    <a:cubicBezTo>
                      <a:pt x="2750699" y="2796245"/>
                      <a:pt x="3106897" y="2520419"/>
                      <a:pt x="3214806" y="2112002"/>
                    </a:cubicBezTo>
                    <a:cubicBezTo>
                      <a:pt x="3316775" y="1724873"/>
                      <a:pt x="3417279" y="1214719"/>
                      <a:pt x="3223522" y="861297"/>
                    </a:cubicBezTo>
                    <a:cubicBezTo>
                      <a:pt x="3014800" y="480494"/>
                      <a:pt x="2595585" y="396265"/>
                      <a:pt x="2185625" y="290053"/>
                    </a:cubicBezTo>
                    <a:cubicBezTo>
                      <a:pt x="1799191" y="189935"/>
                      <a:pt x="1289268" y="-133019"/>
                      <a:pt x="937697" y="60738"/>
                    </a:cubicBezTo>
                    <a:cubicBezTo>
                      <a:pt x="556508" y="270770"/>
                      <a:pt x="124334" y="765730"/>
                      <a:pt x="19665" y="1176924"/>
                    </a:cubicBezTo>
                    <a:cubicBezTo>
                      <a:pt x="-78448" y="1561121"/>
                      <a:pt x="212651" y="2161829"/>
                      <a:pt x="404865" y="2511240"/>
                    </a:cubicBezTo>
                    <a:cubicBezTo>
                      <a:pt x="614357" y="2892120"/>
                      <a:pt x="801635" y="3132157"/>
                      <a:pt x="1212212" y="3237597"/>
                    </a:cubicBezTo>
                    <a:cubicBezTo>
                      <a:pt x="1595175" y="3336095"/>
                      <a:pt x="2021102" y="3194326"/>
                      <a:pt x="2370512" y="30036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78" name="Freeform: Shape 1077">
                <a:extLst>
                  <a:ext uri="{FF2B5EF4-FFF2-40B4-BE49-F238E27FC236}">
                    <a16:creationId xmlns:a16="http://schemas.microsoft.com/office/drawing/2014/main" id="{089BFC3E-2F58-2D47-883E-1184C6293D01}"/>
                  </a:ext>
                </a:extLst>
              </p:cNvPr>
              <p:cNvSpPr/>
              <p:nvPr/>
            </p:nvSpPr>
            <p:spPr>
              <a:xfrm>
                <a:off x="4465597" y="2604029"/>
                <a:ext cx="3297610" cy="3240257"/>
              </a:xfrm>
              <a:custGeom>
                <a:avLst/>
                <a:gdLst>
                  <a:gd name="connsiteX0" fmla="*/ 2368253 w 3297610"/>
                  <a:gd name="connsiteY0" fmla="*/ 3011601 h 3240257"/>
                  <a:gd name="connsiteX1" fmla="*/ 3143667 w 3297610"/>
                  <a:gd name="connsiteY1" fmla="*/ 2110307 h 3240257"/>
                  <a:gd name="connsiteX2" fmla="*/ 3197583 w 3297610"/>
                  <a:gd name="connsiteY2" fmla="*/ 846953 h 3240257"/>
                  <a:gd name="connsiteX3" fmla="*/ 2130145 w 3297610"/>
                  <a:gd name="connsiteY3" fmla="*/ 336721 h 3240257"/>
                  <a:gd name="connsiteX4" fmla="*/ 845347 w 3297610"/>
                  <a:gd name="connsiteY4" fmla="*/ 59352 h 3240257"/>
                  <a:gd name="connsiteX5" fmla="*/ 25197 w 3297610"/>
                  <a:gd name="connsiteY5" fmla="*/ 1196981 h 3240257"/>
                  <a:gd name="connsiteX6" fmla="*/ 351236 w 3297610"/>
                  <a:gd name="connsiteY6" fmla="*/ 2583130 h 3240257"/>
                  <a:gd name="connsiteX7" fmla="*/ 1199772 w 3297610"/>
                  <a:gd name="connsiteY7" fmla="*/ 3197645 h 3240257"/>
                  <a:gd name="connsiteX8" fmla="*/ 2368176 w 3297610"/>
                  <a:gd name="connsiteY8" fmla="*/ 3011756 h 3240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7610" h="3240257">
                    <a:moveTo>
                      <a:pt x="2368253" y="3011601"/>
                    </a:moveTo>
                    <a:cubicBezTo>
                      <a:pt x="2734325" y="2803729"/>
                      <a:pt x="3037610" y="2512708"/>
                      <a:pt x="3143667" y="2110307"/>
                    </a:cubicBezTo>
                    <a:cubicBezTo>
                      <a:pt x="3248491" y="1711146"/>
                      <a:pt x="3400750" y="1202611"/>
                      <a:pt x="3197583" y="846953"/>
                    </a:cubicBezTo>
                    <a:cubicBezTo>
                      <a:pt x="2988554" y="481113"/>
                      <a:pt x="2533317" y="441159"/>
                      <a:pt x="2130145" y="336721"/>
                    </a:cubicBezTo>
                    <a:cubicBezTo>
                      <a:pt x="1731138" y="233364"/>
                      <a:pt x="1199617" y="-144355"/>
                      <a:pt x="845347" y="59352"/>
                    </a:cubicBezTo>
                    <a:cubicBezTo>
                      <a:pt x="479739" y="269539"/>
                      <a:pt x="128246" y="793269"/>
                      <a:pt x="25197" y="1196981"/>
                    </a:cubicBezTo>
                    <a:cubicBezTo>
                      <a:pt x="-76464" y="1593828"/>
                      <a:pt x="149149" y="2230788"/>
                      <a:pt x="351236" y="2583130"/>
                    </a:cubicBezTo>
                    <a:cubicBezTo>
                      <a:pt x="560960" y="2948739"/>
                      <a:pt x="796368" y="3093902"/>
                      <a:pt x="1199772" y="3197645"/>
                    </a:cubicBezTo>
                    <a:cubicBezTo>
                      <a:pt x="1594768" y="3299383"/>
                      <a:pt x="2016143" y="3211683"/>
                      <a:pt x="2368176" y="301175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79" name="Freeform: Shape 1078">
                <a:extLst>
                  <a:ext uri="{FF2B5EF4-FFF2-40B4-BE49-F238E27FC236}">
                    <a16:creationId xmlns:a16="http://schemas.microsoft.com/office/drawing/2014/main" id="{6C4BF4DD-84AD-9DD3-049F-02A00322C2D7}"/>
                  </a:ext>
                </a:extLst>
              </p:cNvPr>
              <p:cNvSpPr/>
              <p:nvPr/>
            </p:nvSpPr>
            <p:spPr>
              <a:xfrm>
                <a:off x="4499869" y="2600116"/>
                <a:ext cx="3267148" cy="3216006"/>
              </a:xfrm>
              <a:custGeom>
                <a:avLst/>
                <a:gdLst>
                  <a:gd name="connsiteX0" fmla="*/ 2368459 w 3267148"/>
                  <a:gd name="connsiteY0" fmla="*/ 3020220 h 3216006"/>
                  <a:gd name="connsiteX1" fmla="*/ 3074994 w 3267148"/>
                  <a:gd name="connsiteY1" fmla="*/ 2109207 h 3216006"/>
                  <a:gd name="connsiteX2" fmla="*/ 3174032 w 3267148"/>
                  <a:gd name="connsiteY2" fmla="*/ 833203 h 3216006"/>
                  <a:gd name="connsiteX3" fmla="*/ 2077052 w 3267148"/>
                  <a:gd name="connsiteY3" fmla="*/ 384060 h 3216006"/>
                  <a:gd name="connsiteX4" fmla="*/ 755385 w 3267148"/>
                  <a:gd name="connsiteY4" fmla="*/ 58637 h 3216006"/>
                  <a:gd name="connsiteX5" fmla="*/ 33193 w 3267148"/>
                  <a:gd name="connsiteY5" fmla="*/ 1217631 h 3216006"/>
                  <a:gd name="connsiteX6" fmla="*/ 300072 w 3267148"/>
                  <a:gd name="connsiteY6" fmla="*/ 2655537 h 3216006"/>
                  <a:gd name="connsiteX7" fmla="*/ 1189873 w 3267148"/>
                  <a:gd name="connsiteY7" fmla="*/ 3158209 h 3216006"/>
                  <a:gd name="connsiteX8" fmla="*/ 2368305 w 3267148"/>
                  <a:gd name="connsiteY8" fmla="*/ 3020297 h 3216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7148" h="3216006">
                    <a:moveTo>
                      <a:pt x="2368459" y="3020220"/>
                    </a:moveTo>
                    <a:cubicBezTo>
                      <a:pt x="2720493" y="2812193"/>
                      <a:pt x="2970787" y="2505668"/>
                      <a:pt x="3074994" y="2109207"/>
                    </a:cubicBezTo>
                    <a:cubicBezTo>
                      <a:pt x="3182748" y="1698013"/>
                      <a:pt x="3386995" y="1190866"/>
                      <a:pt x="3174032" y="833203"/>
                    </a:cubicBezTo>
                    <a:cubicBezTo>
                      <a:pt x="2965002" y="482095"/>
                      <a:pt x="2473360" y="486646"/>
                      <a:pt x="2077052" y="384060"/>
                    </a:cubicBezTo>
                    <a:cubicBezTo>
                      <a:pt x="1665473" y="277462"/>
                      <a:pt x="1112201" y="-155406"/>
                      <a:pt x="755385" y="58637"/>
                    </a:cubicBezTo>
                    <a:cubicBezTo>
                      <a:pt x="405203" y="268669"/>
                      <a:pt x="134545" y="821401"/>
                      <a:pt x="33193" y="1217631"/>
                    </a:cubicBezTo>
                    <a:cubicBezTo>
                      <a:pt x="-71939" y="1627205"/>
                      <a:pt x="87803" y="2300495"/>
                      <a:pt x="300072" y="2655537"/>
                    </a:cubicBezTo>
                    <a:cubicBezTo>
                      <a:pt x="509718" y="3006104"/>
                      <a:pt x="793566" y="3056163"/>
                      <a:pt x="1189873" y="3158209"/>
                    </a:cubicBezTo>
                    <a:cubicBezTo>
                      <a:pt x="1596979" y="3263187"/>
                      <a:pt x="2013881" y="3229711"/>
                      <a:pt x="2368305" y="302029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0" name="Freeform: Shape 1079">
                <a:extLst>
                  <a:ext uri="{FF2B5EF4-FFF2-40B4-BE49-F238E27FC236}">
                    <a16:creationId xmlns:a16="http://schemas.microsoft.com/office/drawing/2014/main" id="{BE18767D-605D-4B99-A9FC-45D8A1BEEE1C}"/>
                  </a:ext>
                </a:extLst>
              </p:cNvPr>
              <p:cNvSpPr/>
              <p:nvPr/>
            </p:nvSpPr>
            <p:spPr>
              <a:xfrm>
                <a:off x="4530202" y="2595585"/>
                <a:ext cx="3242767" cy="3198539"/>
              </a:xfrm>
              <a:custGeom>
                <a:avLst/>
                <a:gdLst>
                  <a:gd name="connsiteX0" fmla="*/ 2372604 w 3242767"/>
                  <a:gd name="connsiteY0" fmla="*/ 3029379 h 3198539"/>
                  <a:gd name="connsiteX1" fmla="*/ 3010259 w 3242767"/>
                  <a:gd name="connsiteY1" fmla="*/ 2108724 h 3198539"/>
                  <a:gd name="connsiteX2" fmla="*/ 3154497 w 3242767"/>
                  <a:gd name="connsiteY2" fmla="*/ 819993 h 3198539"/>
                  <a:gd name="connsiteX3" fmla="*/ 2027976 w 3242767"/>
                  <a:gd name="connsiteY3" fmla="*/ 431862 h 3198539"/>
                  <a:gd name="connsiteX4" fmla="*/ 669516 w 3242767"/>
                  <a:gd name="connsiteY4" fmla="*/ 58386 h 3198539"/>
                  <a:gd name="connsiteX5" fmla="*/ 45282 w 3242767"/>
                  <a:gd name="connsiteY5" fmla="*/ 1238823 h 3198539"/>
                  <a:gd name="connsiteX6" fmla="*/ 253078 w 3242767"/>
                  <a:gd name="connsiteY6" fmla="*/ 2728484 h 3198539"/>
                  <a:gd name="connsiteX7" fmla="*/ 1184145 w 3242767"/>
                  <a:gd name="connsiteY7" fmla="*/ 3119315 h 3198539"/>
                  <a:gd name="connsiteX8" fmla="*/ 2372681 w 3242767"/>
                  <a:gd name="connsiteY8" fmla="*/ 3029379 h 319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2767" h="3198539">
                    <a:moveTo>
                      <a:pt x="2372604" y="3029379"/>
                    </a:moveTo>
                    <a:cubicBezTo>
                      <a:pt x="2710831" y="2821429"/>
                      <a:pt x="2907904" y="2499092"/>
                      <a:pt x="3010259" y="2108724"/>
                    </a:cubicBezTo>
                    <a:cubicBezTo>
                      <a:pt x="3120867" y="1685498"/>
                      <a:pt x="3377488" y="1179585"/>
                      <a:pt x="3154497" y="819993"/>
                    </a:cubicBezTo>
                    <a:cubicBezTo>
                      <a:pt x="2945776" y="483464"/>
                      <a:pt x="2417495" y="532752"/>
                      <a:pt x="2027976" y="431862"/>
                    </a:cubicBezTo>
                    <a:cubicBezTo>
                      <a:pt x="1603746" y="321948"/>
                      <a:pt x="1028569" y="-166224"/>
                      <a:pt x="669516" y="58386"/>
                    </a:cubicBezTo>
                    <a:cubicBezTo>
                      <a:pt x="334530" y="267878"/>
                      <a:pt x="144938" y="850075"/>
                      <a:pt x="45282" y="1238823"/>
                    </a:cubicBezTo>
                    <a:cubicBezTo>
                      <a:pt x="-63320" y="1661047"/>
                      <a:pt x="30241" y="2370898"/>
                      <a:pt x="253078" y="2728484"/>
                    </a:cubicBezTo>
                    <a:cubicBezTo>
                      <a:pt x="462261" y="3064165"/>
                      <a:pt x="795011" y="3018966"/>
                      <a:pt x="1184145" y="3119315"/>
                    </a:cubicBezTo>
                    <a:cubicBezTo>
                      <a:pt x="1603283" y="3227532"/>
                      <a:pt x="2015943" y="3248666"/>
                      <a:pt x="2372681" y="30293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1" name="Freeform: Shape 1080">
                <a:extLst>
                  <a:ext uri="{FF2B5EF4-FFF2-40B4-BE49-F238E27FC236}">
                    <a16:creationId xmlns:a16="http://schemas.microsoft.com/office/drawing/2014/main" id="{4C2D288F-CD1F-A5E2-4D4C-85CEAE06652C}"/>
                  </a:ext>
                </a:extLst>
              </p:cNvPr>
              <p:cNvSpPr/>
              <p:nvPr/>
            </p:nvSpPr>
            <p:spPr>
              <a:xfrm>
                <a:off x="4553971" y="2590726"/>
                <a:ext cx="3226504" cy="3187950"/>
              </a:xfrm>
              <a:custGeom>
                <a:avLst/>
                <a:gdLst>
                  <a:gd name="connsiteX0" fmla="*/ 2383391 w 3226504"/>
                  <a:gd name="connsiteY0" fmla="*/ 3038865 h 3187950"/>
                  <a:gd name="connsiteX1" fmla="*/ 2952166 w 3226504"/>
                  <a:gd name="connsiteY1" fmla="*/ 2108570 h 3187950"/>
                  <a:gd name="connsiteX2" fmla="*/ 3141527 w 3226504"/>
                  <a:gd name="connsiteY2" fmla="*/ 807189 h 3187950"/>
                  <a:gd name="connsiteX3" fmla="*/ 1985463 w 3226504"/>
                  <a:gd name="connsiteY3" fmla="*/ 480070 h 3187950"/>
                  <a:gd name="connsiteX4" fmla="*/ 590135 w 3226504"/>
                  <a:gd name="connsiteY4" fmla="*/ 58540 h 3187950"/>
                  <a:gd name="connsiteX5" fmla="*/ 63859 w 3226504"/>
                  <a:gd name="connsiteY5" fmla="*/ 1260420 h 3187950"/>
                  <a:gd name="connsiteX6" fmla="*/ 212494 w 3226504"/>
                  <a:gd name="connsiteY6" fmla="*/ 2801914 h 3187950"/>
                  <a:gd name="connsiteX7" fmla="*/ 1184827 w 3226504"/>
                  <a:gd name="connsiteY7" fmla="*/ 3080825 h 3187950"/>
                  <a:gd name="connsiteX8" fmla="*/ 2383391 w 3226504"/>
                  <a:gd name="connsiteY8" fmla="*/ 3038865 h 3187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6504" h="3187950">
                    <a:moveTo>
                      <a:pt x="2383391" y="3038865"/>
                    </a:moveTo>
                    <a:cubicBezTo>
                      <a:pt x="2707964" y="2831302"/>
                      <a:pt x="2851740" y="2492921"/>
                      <a:pt x="2952166" y="2108570"/>
                    </a:cubicBezTo>
                    <a:cubicBezTo>
                      <a:pt x="3065629" y="1673310"/>
                      <a:pt x="3374930" y="1168401"/>
                      <a:pt x="3141527" y="807189"/>
                    </a:cubicBezTo>
                    <a:cubicBezTo>
                      <a:pt x="2933423" y="485083"/>
                      <a:pt x="2368118" y="579185"/>
                      <a:pt x="1985463" y="480070"/>
                    </a:cubicBezTo>
                    <a:cubicBezTo>
                      <a:pt x="1548662" y="366916"/>
                      <a:pt x="951347" y="-177023"/>
                      <a:pt x="590135" y="58540"/>
                    </a:cubicBezTo>
                    <a:cubicBezTo>
                      <a:pt x="270112" y="267261"/>
                      <a:pt x="161818" y="879077"/>
                      <a:pt x="63859" y="1260420"/>
                    </a:cubicBezTo>
                    <a:cubicBezTo>
                      <a:pt x="-48214" y="1695293"/>
                      <a:pt x="-21218" y="2442014"/>
                      <a:pt x="212494" y="2801914"/>
                    </a:cubicBezTo>
                    <a:cubicBezTo>
                      <a:pt x="420983" y="3122940"/>
                      <a:pt x="802790" y="2982250"/>
                      <a:pt x="1184827" y="3080825"/>
                    </a:cubicBezTo>
                    <a:cubicBezTo>
                      <a:pt x="1615998" y="3192205"/>
                      <a:pt x="2024647" y="3268258"/>
                      <a:pt x="2383391" y="303886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2" name="Freeform: Shape 1081">
                <a:extLst>
                  <a:ext uri="{FF2B5EF4-FFF2-40B4-BE49-F238E27FC236}">
                    <a16:creationId xmlns:a16="http://schemas.microsoft.com/office/drawing/2014/main" id="{DF6530ED-A22C-709C-2D92-39822916D50C}"/>
                  </a:ext>
                </a:extLst>
              </p:cNvPr>
              <p:cNvSpPr/>
              <p:nvPr/>
            </p:nvSpPr>
            <p:spPr>
              <a:xfrm>
                <a:off x="4568996" y="2585529"/>
                <a:ext cx="3220062" cy="3183237"/>
              </a:xfrm>
              <a:custGeom>
                <a:avLst/>
                <a:gdLst>
                  <a:gd name="connsiteX0" fmla="*/ 2402845 w 3220062"/>
                  <a:gd name="connsiteY0" fmla="*/ 3048690 h 3183237"/>
                  <a:gd name="connsiteX1" fmla="*/ 2902741 w 3220062"/>
                  <a:gd name="connsiteY1" fmla="*/ 2108752 h 3183237"/>
                  <a:gd name="connsiteX2" fmla="*/ 3137301 w 3220062"/>
                  <a:gd name="connsiteY2" fmla="*/ 794722 h 3183237"/>
                  <a:gd name="connsiteX3" fmla="*/ 1951696 w 3220062"/>
                  <a:gd name="connsiteY3" fmla="*/ 528615 h 3183237"/>
                  <a:gd name="connsiteX4" fmla="*/ 519498 w 3220062"/>
                  <a:gd name="connsiteY4" fmla="*/ 59031 h 3183237"/>
                  <a:gd name="connsiteX5" fmla="*/ 91104 w 3220062"/>
                  <a:gd name="connsiteY5" fmla="*/ 1282277 h 3183237"/>
                  <a:gd name="connsiteX6" fmla="*/ 180577 w 3220062"/>
                  <a:gd name="connsiteY6" fmla="*/ 2875527 h 3183237"/>
                  <a:gd name="connsiteX7" fmla="*/ 1194100 w 3220062"/>
                  <a:gd name="connsiteY7" fmla="*/ 3042597 h 3183237"/>
                  <a:gd name="connsiteX8" fmla="*/ 2402690 w 3220062"/>
                  <a:gd name="connsiteY8" fmla="*/ 3048690 h 3183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062" h="3183237">
                    <a:moveTo>
                      <a:pt x="2402845" y="3048690"/>
                    </a:moveTo>
                    <a:cubicBezTo>
                      <a:pt x="2713920" y="2841743"/>
                      <a:pt x="2804166" y="2487088"/>
                      <a:pt x="2902741" y="2108752"/>
                    </a:cubicBezTo>
                    <a:cubicBezTo>
                      <a:pt x="3019057" y="1661538"/>
                      <a:pt x="3381426" y="1157322"/>
                      <a:pt x="3137301" y="794722"/>
                    </a:cubicBezTo>
                    <a:cubicBezTo>
                      <a:pt x="2930046" y="486809"/>
                      <a:pt x="2327563" y="626033"/>
                      <a:pt x="1951696" y="528615"/>
                    </a:cubicBezTo>
                    <a:cubicBezTo>
                      <a:pt x="1502322" y="412221"/>
                      <a:pt x="882484" y="-187870"/>
                      <a:pt x="519498" y="59031"/>
                    </a:cubicBezTo>
                    <a:cubicBezTo>
                      <a:pt x="214284" y="266672"/>
                      <a:pt x="187442" y="908415"/>
                      <a:pt x="91104" y="1282277"/>
                    </a:cubicBezTo>
                    <a:cubicBezTo>
                      <a:pt x="-24441" y="1729877"/>
                      <a:pt x="-64396" y="2513621"/>
                      <a:pt x="180577" y="2875527"/>
                    </a:cubicBezTo>
                    <a:cubicBezTo>
                      <a:pt x="388064" y="3182052"/>
                      <a:pt x="819235" y="2945718"/>
                      <a:pt x="1194100" y="3042597"/>
                    </a:cubicBezTo>
                    <a:cubicBezTo>
                      <a:pt x="1637304" y="3157215"/>
                      <a:pt x="2042173" y="3288495"/>
                      <a:pt x="2402690" y="304869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3" name="Freeform: Shape 1082">
                <a:extLst>
                  <a:ext uri="{FF2B5EF4-FFF2-40B4-BE49-F238E27FC236}">
                    <a16:creationId xmlns:a16="http://schemas.microsoft.com/office/drawing/2014/main" id="{D9D5539D-D1EA-2484-263B-029B8B065591}"/>
                  </a:ext>
                </a:extLst>
              </p:cNvPr>
              <p:cNvSpPr/>
              <p:nvPr/>
            </p:nvSpPr>
            <p:spPr>
              <a:xfrm>
                <a:off x="4575239" y="2579941"/>
                <a:ext cx="3223194" cy="3183120"/>
              </a:xfrm>
              <a:custGeom>
                <a:avLst/>
                <a:gdLst>
                  <a:gd name="connsiteX0" fmla="*/ 2431079 w 3223194"/>
                  <a:gd name="connsiteY0" fmla="*/ 3058906 h 3183120"/>
                  <a:gd name="connsiteX1" fmla="*/ 2862096 w 3223194"/>
                  <a:gd name="connsiteY1" fmla="*/ 2109327 h 3183120"/>
                  <a:gd name="connsiteX2" fmla="*/ 3141779 w 3223194"/>
                  <a:gd name="connsiteY2" fmla="*/ 782570 h 3183120"/>
                  <a:gd name="connsiteX3" fmla="*/ 1926632 w 3223194"/>
                  <a:gd name="connsiteY3" fmla="*/ 577475 h 3183120"/>
                  <a:gd name="connsiteX4" fmla="*/ 457565 w 3223194"/>
                  <a:gd name="connsiteY4" fmla="*/ 59838 h 3183120"/>
                  <a:gd name="connsiteX5" fmla="*/ 127129 w 3223194"/>
                  <a:gd name="connsiteY5" fmla="*/ 1304526 h 3183120"/>
                  <a:gd name="connsiteX6" fmla="*/ 157519 w 3223194"/>
                  <a:gd name="connsiteY6" fmla="*/ 2949610 h 3183120"/>
                  <a:gd name="connsiteX7" fmla="*/ 1212307 w 3223194"/>
                  <a:gd name="connsiteY7" fmla="*/ 3004836 h 3183120"/>
                  <a:gd name="connsiteX8" fmla="*/ 2431002 w 3223194"/>
                  <a:gd name="connsiteY8" fmla="*/ 3058906 h 318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3194" h="3183120">
                    <a:moveTo>
                      <a:pt x="2431079" y="3058906"/>
                    </a:moveTo>
                    <a:cubicBezTo>
                      <a:pt x="2728888" y="2852731"/>
                      <a:pt x="2765372" y="2481646"/>
                      <a:pt x="2862096" y="2109327"/>
                    </a:cubicBezTo>
                    <a:cubicBezTo>
                      <a:pt x="2981343" y="1650080"/>
                      <a:pt x="3397011" y="1146327"/>
                      <a:pt x="3141779" y="782570"/>
                    </a:cubicBezTo>
                    <a:cubicBezTo>
                      <a:pt x="2935526" y="488695"/>
                      <a:pt x="2295712" y="673119"/>
                      <a:pt x="1926632" y="577475"/>
                    </a:cubicBezTo>
                    <a:cubicBezTo>
                      <a:pt x="1464608" y="457765"/>
                      <a:pt x="822016" y="-198865"/>
                      <a:pt x="457565" y="59838"/>
                    </a:cubicBezTo>
                    <a:cubicBezTo>
                      <a:pt x="166852" y="266168"/>
                      <a:pt x="221848" y="938146"/>
                      <a:pt x="127129" y="1304526"/>
                    </a:cubicBezTo>
                    <a:cubicBezTo>
                      <a:pt x="8113" y="1764776"/>
                      <a:pt x="-99178" y="2585930"/>
                      <a:pt x="157519" y="2949610"/>
                    </a:cubicBezTo>
                    <a:cubicBezTo>
                      <a:pt x="363849" y="3241942"/>
                      <a:pt x="844539" y="2909655"/>
                      <a:pt x="1212307" y="3004836"/>
                    </a:cubicBezTo>
                    <a:cubicBezTo>
                      <a:pt x="1667544" y="3122695"/>
                      <a:pt x="2068942" y="3309510"/>
                      <a:pt x="2431002" y="305890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4" name="Freeform: Shape 1083">
                <a:extLst>
                  <a:ext uri="{FF2B5EF4-FFF2-40B4-BE49-F238E27FC236}">
                    <a16:creationId xmlns:a16="http://schemas.microsoft.com/office/drawing/2014/main" id="{DFB388E8-ED46-8F50-8073-C79A2EDE0774}"/>
                  </a:ext>
                </a:extLst>
              </p:cNvPr>
              <p:cNvSpPr/>
              <p:nvPr/>
            </p:nvSpPr>
            <p:spPr>
              <a:xfrm>
                <a:off x="4574616" y="2574268"/>
                <a:ext cx="3233910" cy="3186151"/>
              </a:xfrm>
              <a:custGeom>
                <a:avLst/>
                <a:gdLst>
                  <a:gd name="connsiteX0" fmla="*/ 2828318 w 3233910"/>
                  <a:gd name="connsiteY0" fmla="*/ 2109987 h 3186151"/>
                  <a:gd name="connsiteX1" fmla="*/ 3153201 w 3233910"/>
                  <a:gd name="connsiteY1" fmla="*/ 770580 h 3186151"/>
                  <a:gd name="connsiteX2" fmla="*/ 1908512 w 3233910"/>
                  <a:gd name="connsiteY2" fmla="*/ 626573 h 3186151"/>
                  <a:gd name="connsiteX3" fmla="*/ 402652 w 3233910"/>
                  <a:gd name="connsiteY3" fmla="*/ 60883 h 3186151"/>
                  <a:gd name="connsiteX4" fmla="*/ 170175 w 3233910"/>
                  <a:gd name="connsiteY4" fmla="*/ 1327014 h 3186151"/>
                  <a:gd name="connsiteX5" fmla="*/ 141404 w 3233910"/>
                  <a:gd name="connsiteY5" fmla="*/ 3023854 h 3186151"/>
                  <a:gd name="connsiteX6" fmla="*/ 1237458 w 3233910"/>
                  <a:gd name="connsiteY6" fmla="*/ 2967238 h 3186151"/>
                  <a:gd name="connsiteX7" fmla="*/ 2466180 w 3233910"/>
                  <a:gd name="connsiteY7" fmla="*/ 3069285 h 3186151"/>
                  <a:gd name="connsiteX8" fmla="*/ 2828318 w 3233910"/>
                  <a:gd name="connsiteY8" fmla="*/ 2110064 h 3186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3910" h="3186151">
                    <a:moveTo>
                      <a:pt x="2828318" y="2109987"/>
                    </a:moveTo>
                    <a:cubicBezTo>
                      <a:pt x="2950419" y="1638707"/>
                      <a:pt x="3419925" y="1135031"/>
                      <a:pt x="3153201" y="770580"/>
                    </a:cubicBezTo>
                    <a:cubicBezTo>
                      <a:pt x="2948182" y="490434"/>
                      <a:pt x="2270727" y="720366"/>
                      <a:pt x="1908512" y="626573"/>
                    </a:cubicBezTo>
                    <a:cubicBezTo>
                      <a:pt x="1433915" y="503624"/>
                      <a:pt x="768029" y="-210007"/>
                      <a:pt x="402652" y="60883"/>
                    </a:cubicBezTo>
                    <a:cubicBezTo>
                      <a:pt x="126286" y="265747"/>
                      <a:pt x="263197" y="968039"/>
                      <a:pt x="170175" y="1327014"/>
                    </a:cubicBezTo>
                    <a:cubicBezTo>
                      <a:pt x="47611" y="1799914"/>
                      <a:pt x="-127326" y="2658939"/>
                      <a:pt x="141404" y="3023854"/>
                    </a:cubicBezTo>
                    <a:cubicBezTo>
                      <a:pt x="346345" y="3302147"/>
                      <a:pt x="876786" y="2873831"/>
                      <a:pt x="1237458" y="2967238"/>
                    </a:cubicBezTo>
                    <a:cubicBezTo>
                      <a:pt x="1704727" y="3088336"/>
                      <a:pt x="2102963" y="3331072"/>
                      <a:pt x="2466180" y="3069285"/>
                    </a:cubicBezTo>
                    <a:cubicBezTo>
                      <a:pt x="2750877" y="2864112"/>
                      <a:pt x="2733445" y="2476289"/>
                      <a:pt x="2828318" y="21100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1031" name="Graphic 5">
              <a:extLst>
                <a:ext uri="{FF2B5EF4-FFF2-40B4-BE49-F238E27FC236}">
                  <a16:creationId xmlns:a16="http://schemas.microsoft.com/office/drawing/2014/main" id="{8B7F055C-F688-1804-D36C-0568E3805506}"/>
                </a:ext>
              </a:extLst>
            </p:cNvPr>
            <p:cNvGrpSpPr/>
            <p:nvPr/>
          </p:nvGrpSpPr>
          <p:grpSpPr>
            <a:xfrm rot="20743245">
              <a:off x="-1641318" y="712755"/>
              <a:ext cx="8683276" cy="5650143"/>
              <a:chOff x="3224705" y="2448010"/>
              <a:chExt cx="5745675" cy="3738674"/>
            </a:xfrm>
            <a:noFill/>
          </p:grpSpPr>
          <p:sp>
            <p:nvSpPr>
              <p:cNvPr id="1051" name="Freeform: Shape 1050">
                <a:extLst>
                  <a:ext uri="{FF2B5EF4-FFF2-40B4-BE49-F238E27FC236}">
                    <a16:creationId xmlns:a16="http://schemas.microsoft.com/office/drawing/2014/main" id="{F20AF08B-9F89-855C-7627-67E73CEF543C}"/>
                  </a:ext>
                </a:extLst>
              </p:cNvPr>
              <p:cNvSpPr/>
              <p:nvPr/>
            </p:nvSpPr>
            <p:spPr>
              <a:xfrm>
                <a:off x="3224705" y="2973429"/>
                <a:ext cx="4086746" cy="2988613"/>
              </a:xfrm>
              <a:custGeom>
                <a:avLst/>
                <a:gdLst>
                  <a:gd name="connsiteX0" fmla="*/ 3021857 w 4086746"/>
                  <a:gd name="connsiteY0" fmla="*/ 21082 h 2988613"/>
                  <a:gd name="connsiteX1" fmla="*/ 1949714 w 4086746"/>
                  <a:gd name="connsiteY1" fmla="*/ 140561 h 2988613"/>
                  <a:gd name="connsiteX2" fmla="*/ 17620 w 4086746"/>
                  <a:gd name="connsiteY2" fmla="*/ 326759 h 2988613"/>
                  <a:gd name="connsiteX3" fmla="*/ 1162808 w 4086746"/>
                  <a:gd name="connsiteY3" fmla="*/ 2051134 h 2988613"/>
                  <a:gd name="connsiteX4" fmla="*/ 2164991 w 4086746"/>
                  <a:gd name="connsiteY4" fmla="*/ 2546943 h 2988613"/>
                  <a:gd name="connsiteX5" fmla="*/ 3449172 w 4086746"/>
                  <a:gd name="connsiteY5" fmla="*/ 2922733 h 2988613"/>
                  <a:gd name="connsiteX6" fmla="*/ 3803596 w 4086746"/>
                  <a:gd name="connsiteY6" fmla="*/ 1748620 h 2988613"/>
                  <a:gd name="connsiteX7" fmla="*/ 3997970 w 4086746"/>
                  <a:gd name="connsiteY7" fmla="*/ 855117 h 2988613"/>
                  <a:gd name="connsiteX8" fmla="*/ 3021857 w 4086746"/>
                  <a:gd name="connsiteY8" fmla="*/ 21160 h 2988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6746" h="2988613">
                    <a:moveTo>
                      <a:pt x="3021857" y="21082"/>
                    </a:moveTo>
                    <a:cubicBezTo>
                      <a:pt x="2524275" y="34658"/>
                      <a:pt x="2338926" y="-88523"/>
                      <a:pt x="1949714" y="140561"/>
                    </a:cubicBezTo>
                    <a:cubicBezTo>
                      <a:pt x="1650594" y="316654"/>
                      <a:pt x="147126" y="-24349"/>
                      <a:pt x="17620" y="326759"/>
                    </a:cubicBezTo>
                    <a:cubicBezTo>
                      <a:pt x="-151995" y="786777"/>
                      <a:pt x="953624" y="1647191"/>
                      <a:pt x="1162808" y="2051134"/>
                    </a:cubicBezTo>
                    <a:cubicBezTo>
                      <a:pt x="1489850" y="2682542"/>
                      <a:pt x="1817123" y="2418671"/>
                      <a:pt x="2164991" y="2546943"/>
                    </a:cubicBezTo>
                    <a:cubicBezTo>
                      <a:pt x="2623313" y="2715940"/>
                      <a:pt x="3059267" y="3153822"/>
                      <a:pt x="3449172" y="2922733"/>
                    </a:cubicBezTo>
                    <a:cubicBezTo>
                      <a:pt x="3746441" y="2746562"/>
                      <a:pt x="3674708" y="2098108"/>
                      <a:pt x="3803596" y="1748620"/>
                    </a:cubicBezTo>
                    <a:cubicBezTo>
                      <a:pt x="3970588" y="1295698"/>
                      <a:pt x="4222272" y="1242631"/>
                      <a:pt x="3997970" y="855117"/>
                    </a:cubicBezTo>
                    <a:cubicBezTo>
                      <a:pt x="3822185" y="551446"/>
                      <a:pt x="3400038" y="10824"/>
                      <a:pt x="3021857" y="211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53" name="Freeform: Shape 1052">
                <a:extLst>
                  <a:ext uri="{FF2B5EF4-FFF2-40B4-BE49-F238E27FC236}">
                    <a16:creationId xmlns:a16="http://schemas.microsoft.com/office/drawing/2014/main" id="{7E539FB7-E61C-1C4E-3958-09DADE5A3E62}"/>
                  </a:ext>
                </a:extLst>
              </p:cNvPr>
              <p:cNvSpPr/>
              <p:nvPr/>
            </p:nvSpPr>
            <p:spPr>
              <a:xfrm>
                <a:off x="3285345" y="2945042"/>
                <a:ext cx="4163768" cy="2979360"/>
              </a:xfrm>
              <a:custGeom>
                <a:avLst/>
                <a:gdLst>
                  <a:gd name="connsiteX0" fmla="*/ 3793170 w 4163768"/>
                  <a:gd name="connsiteY0" fmla="*/ 1782639 h 2979360"/>
                  <a:gd name="connsiteX1" fmla="*/ 4094681 w 4163768"/>
                  <a:gd name="connsiteY1" fmla="*/ 868155 h 2979360"/>
                  <a:gd name="connsiteX2" fmla="*/ 2987366 w 4163768"/>
                  <a:gd name="connsiteY2" fmla="*/ 28 h 2979360"/>
                  <a:gd name="connsiteX3" fmla="*/ 1885912 w 4163768"/>
                  <a:gd name="connsiteY3" fmla="*/ 197641 h 2979360"/>
                  <a:gd name="connsiteX4" fmla="*/ 15678 w 4163768"/>
                  <a:gd name="connsiteY4" fmla="*/ 437446 h 2979360"/>
                  <a:gd name="connsiteX5" fmla="*/ 1132404 w 4163768"/>
                  <a:gd name="connsiteY5" fmla="*/ 2066409 h 2979360"/>
                  <a:gd name="connsiteX6" fmla="*/ 2140990 w 4163768"/>
                  <a:gd name="connsiteY6" fmla="*/ 2635648 h 2979360"/>
                  <a:gd name="connsiteX7" fmla="*/ 3375266 w 4163768"/>
                  <a:gd name="connsiteY7" fmla="*/ 2903143 h 2979360"/>
                  <a:gd name="connsiteX8" fmla="*/ 3793247 w 4163768"/>
                  <a:gd name="connsiteY8" fmla="*/ 1782639 h 2979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63768" h="2979360">
                    <a:moveTo>
                      <a:pt x="3793170" y="1782639"/>
                    </a:moveTo>
                    <a:cubicBezTo>
                      <a:pt x="3948438" y="1338818"/>
                      <a:pt x="4315975" y="1250115"/>
                      <a:pt x="4094681" y="868155"/>
                    </a:cubicBezTo>
                    <a:cubicBezTo>
                      <a:pt x="3912417" y="553917"/>
                      <a:pt x="3371717" y="-4523"/>
                      <a:pt x="2987366" y="28"/>
                    </a:cubicBezTo>
                    <a:cubicBezTo>
                      <a:pt x="2503822" y="5735"/>
                      <a:pt x="2269030" y="-27894"/>
                      <a:pt x="1885912" y="197641"/>
                    </a:cubicBezTo>
                    <a:cubicBezTo>
                      <a:pt x="1575531" y="380291"/>
                      <a:pt x="141019" y="77932"/>
                      <a:pt x="15678" y="437446"/>
                    </a:cubicBezTo>
                    <a:cubicBezTo>
                      <a:pt x="-141132" y="887207"/>
                      <a:pt x="925072" y="1670179"/>
                      <a:pt x="1132404" y="2066409"/>
                    </a:cubicBezTo>
                    <a:cubicBezTo>
                      <a:pt x="1452196" y="2678688"/>
                      <a:pt x="1784560" y="2511310"/>
                      <a:pt x="2140990" y="2635648"/>
                    </a:cubicBezTo>
                    <a:cubicBezTo>
                      <a:pt x="2589439" y="2792072"/>
                      <a:pt x="2991608" y="3130376"/>
                      <a:pt x="3375266" y="2903143"/>
                    </a:cubicBezTo>
                    <a:cubicBezTo>
                      <a:pt x="3683333" y="2720725"/>
                      <a:pt x="3668215" y="2140071"/>
                      <a:pt x="3793247" y="178263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56" name="Freeform: Shape 1055">
                <a:extLst>
                  <a:ext uri="{FF2B5EF4-FFF2-40B4-BE49-F238E27FC236}">
                    <a16:creationId xmlns:a16="http://schemas.microsoft.com/office/drawing/2014/main" id="{86BFD1F1-5CBB-F0C3-0442-51B8AED2AD24}"/>
                  </a:ext>
                </a:extLst>
              </p:cNvPr>
              <p:cNvSpPr/>
              <p:nvPr/>
            </p:nvSpPr>
            <p:spPr>
              <a:xfrm>
                <a:off x="3345777" y="2895587"/>
                <a:ext cx="4247432" cy="2996098"/>
              </a:xfrm>
              <a:custGeom>
                <a:avLst/>
                <a:gdLst>
                  <a:gd name="connsiteX0" fmla="*/ 3783028 w 4247432"/>
                  <a:gd name="connsiteY0" fmla="*/ 1837724 h 2996098"/>
                  <a:gd name="connsiteX1" fmla="*/ 4191599 w 4247432"/>
                  <a:gd name="connsiteY1" fmla="*/ 902338 h 2996098"/>
                  <a:gd name="connsiteX2" fmla="*/ 2953081 w 4247432"/>
                  <a:gd name="connsiteY2" fmla="*/ 41 h 2996098"/>
                  <a:gd name="connsiteX3" fmla="*/ 1822318 w 4247432"/>
                  <a:gd name="connsiteY3" fmla="*/ 275790 h 2996098"/>
                  <a:gd name="connsiteX4" fmla="*/ 13867 w 4247432"/>
                  <a:gd name="connsiteY4" fmla="*/ 569202 h 2996098"/>
                  <a:gd name="connsiteX5" fmla="*/ 1102053 w 4247432"/>
                  <a:gd name="connsiteY5" fmla="*/ 2102675 h 2996098"/>
                  <a:gd name="connsiteX6" fmla="*/ 2117041 w 4247432"/>
                  <a:gd name="connsiteY6" fmla="*/ 2745420 h 2996098"/>
                  <a:gd name="connsiteX7" fmla="*/ 3301335 w 4247432"/>
                  <a:gd name="connsiteY7" fmla="*/ 2904699 h 2996098"/>
                  <a:gd name="connsiteX8" fmla="*/ 3782951 w 4247432"/>
                  <a:gd name="connsiteY8" fmla="*/ 1837724 h 299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47432" h="2996098">
                    <a:moveTo>
                      <a:pt x="3783028" y="1837724"/>
                    </a:moveTo>
                    <a:cubicBezTo>
                      <a:pt x="3926880" y="1403159"/>
                      <a:pt x="4410039" y="1278667"/>
                      <a:pt x="4191599" y="902338"/>
                    </a:cubicBezTo>
                    <a:cubicBezTo>
                      <a:pt x="4002856" y="577532"/>
                      <a:pt x="3343681" y="1506"/>
                      <a:pt x="2953081" y="41"/>
                    </a:cubicBezTo>
                    <a:cubicBezTo>
                      <a:pt x="2483575" y="-1733"/>
                      <a:pt x="2199342" y="53802"/>
                      <a:pt x="1822318" y="275790"/>
                    </a:cubicBezTo>
                    <a:cubicBezTo>
                      <a:pt x="1500752" y="465073"/>
                      <a:pt x="134888" y="201125"/>
                      <a:pt x="13867" y="569202"/>
                    </a:cubicBezTo>
                    <a:cubicBezTo>
                      <a:pt x="-130603" y="1008626"/>
                      <a:pt x="896726" y="1714158"/>
                      <a:pt x="1102053" y="2102675"/>
                    </a:cubicBezTo>
                    <a:cubicBezTo>
                      <a:pt x="1414672" y="2695824"/>
                      <a:pt x="1751896" y="2625171"/>
                      <a:pt x="2117041" y="2745420"/>
                    </a:cubicBezTo>
                    <a:cubicBezTo>
                      <a:pt x="2555309" y="2889658"/>
                      <a:pt x="2924002" y="3128075"/>
                      <a:pt x="3301335" y="2904699"/>
                    </a:cubicBezTo>
                    <a:cubicBezTo>
                      <a:pt x="3620201" y="2716033"/>
                      <a:pt x="3661930" y="2203256"/>
                      <a:pt x="3782951" y="183772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57" name="Freeform: Shape 1056">
                <a:extLst>
                  <a:ext uri="{FF2B5EF4-FFF2-40B4-BE49-F238E27FC236}">
                    <a16:creationId xmlns:a16="http://schemas.microsoft.com/office/drawing/2014/main" id="{1641196B-9363-CB0D-92BF-C5074B7C3254}"/>
                  </a:ext>
                </a:extLst>
              </p:cNvPr>
              <p:cNvSpPr/>
              <p:nvPr/>
            </p:nvSpPr>
            <p:spPr>
              <a:xfrm>
                <a:off x="3406170" y="2845727"/>
                <a:ext cx="4334890" cy="3021757"/>
              </a:xfrm>
              <a:custGeom>
                <a:avLst/>
                <a:gdLst>
                  <a:gd name="connsiteX0" fmla="*/ 3772848 w 4334890"/>
                  <a:gd name="connsiteY0" fmla="*/ 1893214 h 3021757"/>
                  <a:gd name="connsiteX1" fmla="*/ 4288557 w 4334890"/>
                  <a:gd name="connsiteY1" fmla="*/ 936924 h 3021757"/>
                  <a:gd name="connsiteX2" fmla="*/ 2918837 w 4334890"/>
                  <a:gd name="connsiteY2" fmla="*/ 381 h 3021757"/>
                  <a:gd name="connsiteX3" fmla="*/ 1758762 w 4334890"/>
                  <a:gd name="connsiteY3" fmla="*/ 354188 h 3021757"/>
                  <a:gd name="connsiteX4" fmla="*/ 12172 w 4334890"/>
                  <a:gd name="connsiteY4" fmla="*/ 701207 h 3021757"/>
                  <a:gd name="connsiteX5" fmla="*/ 1071897 w 4334890"/>
                  <a:gd name="connsiteY5" fmla="*/ 2139267 h 3021757"/>
                  <a:gd name="connsiteX6" fmla="*/ 2093286 w 4334890"/>
                  <a:gd name="connsiteY6" fmla="*/ 2855443 h 3021757"/>
                  <a:gd name="connsiteX7" fmla="*/ 3227676 w 4334890"/>
                  <a:gd name="connsiteY7" fmla="*/ 2906427 h 3021757"/>
                  <a:gd name="connsiteX8" fmla="*/ 3772926 w 4334890"/>
                  <a:gd name="connsiteY8" fmla="*/ 1893060 h 3021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34890" h="3021757">
                    <a:moveTo>
                      <a:pt x="3772848" y="1893214"/>
                    </a:moveTo>
                    <a:cubicBezTo>
                      <a:pt x="3905671" y="1468137"/>
                      <a:pt x="4503989" y="1307701"/>
                      <a:pt x="4288557" y="936924"/>
                    </a:cubicBezTo>
                    <a:cubicBezTo>
                      <a:pt x="4093411" y="601629"/>
                      <a:pt x="3315684" y="8094"/>
                      <a:pt x="2918837" y="381"/>
                    </a:cubicBezTo>
                    <a:cubicBezTo>
                      <a:pt x="2463446" y="-8412"/>
                      <a:pt x="2129770" y="135826"/>
                      <a:pt x="1758762" y="354188"/>
                    </a:cubicBezTo>
                    <a:cubicBezTo>
                      <a:pt x="1425935" y="550027"/>
                      <a:pt x="128642" y="324415"/>
                      <a:pt x="12172" y="701207"/>
                    </a:cubicBezTo>
                    <a:cubicBezTo>
                      <a:pt x="-120342" y="1129987"/>
                      <a:pt x="868421" y="1758386"/>
                      <a:pt x="1071897" y="2139267"/>
                    </a:cubicBezTo>
                    <a:cubicBezTo>
                      <a:pt x="1377265" y="2713288"/>
                      <a:pt x="1719270" y="2739667"/>
                      <a:pt x="2093286" y="2855443"/>
                    </a:cubicBezTo>
                    <a:cubicBezTo>
                      <a:pt x="2521218" y="2987957"/>
                      <a:pt x="2856591" y="3126024"/>
                      <a:pt x="3227676" y="2906427"/>
                    </a:cubicBezTo>
                    <a:cubicBezTo>
                      <a:pt x="3557340" y="2711514"/>
                      <a:pt x="3656147" y="2266690"/>
                      <a:pt x="3772926" y="18930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58" name="Freeform: Shape 1057">
                <a:extLst>
                  <a:ext uri="{FF2B5EF4-FFF2-40B4-BE49-F238E27FC236}">
                    <a16:creationId xmlns:a16="http://schemas.microsoft.com/office/drawing/2014/main" id="{2315CD25-C670-9F92-4442-9A405A99C2E2}"/>
                  </a:ext>
                </a:extLst>
              </p:cNvPr>
              <p:cNvSpPr/>
              <p:nvPr/>
            </p:nvSpPr>
            <p:spPr>
              <a:xfrm>
                <a:off x="3466359" y="2795931"/>
                <a:ext cx="4425026" cy="3063471"/>
              </a:xfrm>
              <a:custGeom>
                <a:avLst/>
                <a:gdLst>
                  <a:gd name="connsiteX0" fmla="*/ 3762949 w 4425026"/>
                  <a:gd name="connsiteY0" fmla="*/ 1948641 h 3063471"/>
                  <a:gd name="connsiteX1" fmla="*/ 4385718 w 4425026"/>
                  <a:gd name="connsiteY1" fmla="*/ 971448 h 3063471"/>
                  <a:gd name="connsiteX2" fmla="*/ 2884795 w 4425026"/>
                  <a:gd name="connsiteY2" fmla="*/ 735 h 3063471"/>
                  <a:gd name="connsiteX3" fmla="*/ 1695410 w 4425026"/>
                  <a:gd name="connsiteY3" fmla="*/ 432677 h 3063471"/>
                  <a:gd name="connsiteX4" fmla="*/ 10603 w 4425026"/>
                  <a:gd name="connsiteY4" fmla="*/ 833304 h 3063471"/>
                  <a:gd name="connsiteX5" fmla="*/ 1041789 w 4425026"/>
                  <a:gd name="connsiteY5" fmla="*/ 2175951 h 3063471"/>
                  <a:gd name="connsiteX6" fmla="*/ 2069581 w 4425026"/>
                  <a:gd name="connsiteY6" fmla="*/ 2965634 h 3063471"/>
                  <a:gd name="connsiteX7" fmla="*/ 3154065 w 4425026"/>
                  <a:gd name="connsiteY7" fmla="*/ 2908401 h 3063471"/>
                  <a:gd name="connsiteX8" fmla="*/ 3762949 w 4425026"/>
                  <a:gd name="connsiteY8" fmla="*/ 1948564 h 3063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25026" h="3063471">
                    <a:moveTo>
                      <a:pt x="3762949" y="1948641"/>
                    </a:moveTo>
                    <a:cubicBezTo>
                      <a:pt x="3885128" y="1533127"/>
                      <a:pt x="4598295" y="1336594"/>
                      <a:pt x="4385718" y="971448"/>
                    </a:cubicBezTo>
                    <a:cubicBezTo>
                      <a:pt x="4184094" y="625586"/>
                      <a:pt x="3287967" y="14927"/>
                      <a:pt x="2884795" y="735"/>
                    </a:cubicBezTo>
                    <a:cubicBezTo>
                      <a:pt x="2443596" y="-14769"/>
                      <a:pt x="2060325" y="217863"/>
                      <a:pt x="1695410" y="432677"/>
                    </a:cubicBezTo>
                    <a:cubicBezTo>
                      <a:pt x="1351399" y="635150"/>
                      <a:pt x="122214" y="447718"/>
                      <a:pt x="10603" y="833304"/>
                    </a:cubicBezTo>
                    <a:cubicBezTo>
                      <a:pt x="-110418" y="1251362"/>
                      <a:pt x="840318" y="1802706"/>
                      <a:pt x="1041789" y="2175951"/>
                    </a:cubicBezTo>
                    <a:cubicBezTo>
                      <a:pt x="1339983" y="2730842"/>
                      <a:pt x="1686617" y="2854485"/>
                      <a:pt x="2069581" y="2965634"/>
                    </a:cubicBezTo>
                    <a:cubicBezTo>
                      <a:pt x="2487022" y="3086809"/>
                      <a:pt x="2789228" y="3124141"/>
                      <a:pt x="3154065" y="2908401"/>
                    </a:cubicBezTo>
                    <a:cubicBezTo>
                      <a:pt x="3494528" y="2707240"/>
                      <a:pt x="3650644" y="2330524"/>
                      <a:pt x="3762949" y="19485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59" name="Freeform: Shape 1058">
                <a:extLst>
                  <a:ext uri="{FF2B5EF4-FFF2-40B4-BE49-F238E27FC236}">
                    <a16:creationId xmlns:a16="http://schemas.microsoft.com/office/drawing/2014/main" id="{302D9F51-21EF-97F3-BD3E-B0F8503E3B5B}"/>
                  </a:ext>
                </a:extLst>
              </p:cNvPr>
              <p:cNvSpPr/>
              <p:nvPr/>
            </p:nvSpPr>
            <p:spPr>
              <a:xfrm>
                <a:off x="3526436" y="2746166"/>
                <a:ext cx="4516838" cy="3129085"/>
              </a:xfrm>
              <a:custGeom>
                <a:avLst/>
                <a:gdLst>
                  <a:gd name="connsiteX0" fmla="*/ 3753086 w 4516838"/>
                  <a:gd name="connsiteY0" fmla="*/ 2004037 h 3129085"/>
                  <a:gd name="connsiteX1" fmla="*/ 4482992 w 4516838"/>
                  <a:gd name="connsiteY1" fmla="*/ 1005942 h 3129085"/>
                  <a:gd name="connsiteX2" fmla="*/ 2850866 w 4516838"/>
                  <a:gd name="connsiteY2" fmla="*/ 1059 h 3129085"/>
                  <a:gd name="connsiteX3" fmla="*/ 1632171 w 4516838"/>
                  <a:gd name="connsiteY3" fmla="*/ 511136 h 3129085"/>
                  <a:gd name="connsiteX4" fmla="*/ 9147 w 4516838"/>
                  <a:gd name="connsiteY4" fmla="*/ 965447 h 3129085"/>
                  <a:gd name="connsiteX5" fmla="*/ 1011871 w 4516838"/>
                  <a:gd name="connsiteY5" fmla="*/ 2212681 h 3129085"/>
                  <a:gd name="connsiteX6" fmla="*/ 2046065 w 4516838"/>
                  <a:gd name="connsiteY6" fmla="*/ 3075871 h 3129085"/>
                  <a:gd name="connsiteX7" fmla="*/ 3080644 w 4516838"/>
                  <a:gd name="connsiteY7" fmla="*/ 2910345 h 3129085"/>
                  <a:gd name="connsiteX8" fmla="*/ 3753163 w 4516838"/>
                  <a:gd name="connsiteY8" fmla="*/ 2004114 h 3129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16838" h="3129085">
                    <a:moveTo>
                      <a:pt x="3753086" y="2004037"/>
                    </a:moveTo>
                    <a:cubicBezTo>
                      <a:pt x="3864928" y="1598166"/>
                      <a:pt x="4692561" y="1365534"/>
                      <a:pt x="4482992" y="1005942"/>
                    </a:cubicBezTo>
                    <a:cubicBezTo>
                      <a:pt x="4274888" y="649589"/>
                      <a:pt x="3260286" y="21962"/>
                      <a:pt x="2850866" y="1059"/>
                    </a:cubicBezTo>
                    <a:cubicBezTo>
                      <a:pt x="2423783" y="-20770"/>
                      <a:pt x="1990992" y="299870"/>
                      <a:pt x="1632171" y="511136"/>
                    </a:cubicBezTo>
                    <a:cubicBezTo>
                      <a:pt x="1276976" y="720166"/>
                      <a:pt x="115667" y="570837"/>
                      <a:pt x="9147" y="965447"/>
                    </a:cubicBezTo>
                    <a:cubicBezTo>
                      <a:pt x="-100767" y="1372553"/>
                      <a:pt x="812252" y="1847149"/>
                      <a:pt x="1011871" y="2212681"/>
                    </a:cubicBezTo>
                    <a:cubicBezTo>
                      <a:pt x="1302892" y="2748444"/>
                      <a:pt x="1654000" y="2969583"/>
                      <a:pt x="2046065" y="3075871"/>
                    </a:cubicBezTo>
                    <a:cubicBezTo>
                      <a:pt x="2452939" y="3186094"/>
                      <a:pt x="2721978" y="3122305"/>
                      <a:pt x="3080644" y="2910345"/>
                    </a:cubicBezTo>
                    <a:cubicBezTo>
                      <a:pt x="3431906" y="2702935"/>
                      <a:pt x="3645563" y="2394405"/>
                      <a:pt x="3753163" y="20041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60" name="Freeform: Shape 1059">
                <a:extLst>
                  <a:ext uri="{FF2B5EF4-FFF2-40B4-BE49-F238E27FC236}">
                    <a16:creationId xmlns:a16="http://schemas.microsoft.com/office/drawing/2014/main" id="{94EE167D-8F24-15B1-F067-1831504B6173}"/>
                  </a:ext>
                </a:extLst>
              </p:cNvPr>
              <p:cNvSpPr/>
              <p:nvPr/>
            </p:nvSpPr>
            <p:spPr>
              <a:xfrm>
                <a:off x="3586413" y="2696421"/>
                <a:ext cx="4609879" cy="3215724"/>
              </a:xfrm>
              <a:custGeom>
                <a:avLst/>
                <a:gdLst>
                  <a:gd name="connsiteX0" fmla="*/ 3743322 w 4609879"/>
                  <a:gd name="connsiteY0" fmla="*/ 2059413 h 3215724"/>
                  <a:gd name="connsiteX1" fmla="*/ 4580365 w 4609879"/>
                  <a:gd name="connsiteY1" fmla="*/ 1040414 h 3215724"/>
                  <a:gd name="connsiteX2" fmla="*/ 2817037 w 4609879"/>
                  <a:gd name="connsiteY2" fmla="*/ 1361 h 3215724"/>
                  <a:gd name="connsiteX3" fmla="*/ 1568955 w 4609879"/>
                  <a:gd name="connsiteY3" fmla="*/ 589575 h 3215724"/>
                  <a:gd name="connsiteX4" fmla="*/ 7791 w 4609879"/>
                  <a:gd name="connsiteY4" fmla="*/ 1097493 h 3215724"/>
                  <a:gd name="connsiteX5" fmla="*/ 981976 w 4609879"/>
                  <a:gd name="connsiteY5" fmla="*/ 2249313 h 3215724"/>
                  <a:gd name="connsiteX6" fmla="*/ 2022571 w 4609879"/>
                  <a:gd name="connsiteY6" fmla="*/ 3185934 h 3215724"/>
                  <a:gd name="connsiteX7" fmla="*/ 3007169 w 4609879"/>
                  <a:gd name="connsiteY7" fmla="*/ 2912190 h 3215724"/>
                  <a:gd name="connsiteX8" fmla="*/ 3743322 w 4609879"/>
                  <a:gd name="connsiteY8" fmla="*/ 2059567 h 3215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09879" h="3215724">
                    <a:moveTo>
                      <a:pt x="3743322" y="2059413"/>
                    </a:moveTo>
                    <a:cubicBezTo>
                      <a:pt x="3845138" y="1663337"/>
                      <a:pt x="4786926" y="1394376"/>
                      <a:pt x="4580365" y="1040414"/>
                    </a:cubicBezTo>
                    <a:cubicBezTo>
                      <a:pt x="4365783" y="673495"/>
                      <a:pt x="3232782" y="29284"/>
                      <a:pt x="2817037" y="1361"/>
                    </a:cubicBezTo>
                    <a:cubicBezTo>
                      <a:pt x="2401292" y="-26560"/>
                      <a:pt x="1921836" y="381934"/>
                      <a:pt x="1568955" y="589575"/>
                    </a:cubicBezTo>
                    <a:cubicBezTo>
                      <a:pt x="1202498" y="805237"/>
                      <a:pt x="108757" y="693858"/>
                      <a:pt x="7791" y="1097493"/>
                    </a:cubicBezTo>
                    <a:cubicBezTo>
                      <a:pt x="-91324" y="1493568"/>
                      <a:pt x="784362" y="1891418"/>
                      <a:pt x="981976" y="2249313"/>
                    </a:cubicBezTo>
                    <a:cubicBezTo>
                      <a:pt x="1265746" y="2765947"/>
                      <a:pt x="1621328" y="3084968"/>
                      <a:pt x="2022571" y="3185934"/>
                    </a:cubicBezTo>
                    <a:cubicBezTo>
                      <a:pt x="2418724" y="3285589"/>
                      <a:pt x="2654827" y="3120217"/>
                      <a:pt x="3007169" y="2912190"/>
                    </a:cubicBezTo>
                    <a:cubicBezTo>
                      <a:pt x="3369229" y="2698533"/>
                      <a:pt x="3640813" y="2458265"/>
                      <a:pt x="3743322" y="205956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61" name="Freeform: Shape 1060">
                <a:extLst>
                  <a:ext uri="{FF2B5EF4-FFF2-40B4-BE49-F238E27FC236}">
                    <a16:creationId xmlns:a16="http://schemas.microsoft.com/office/drawing/2014/main" id="{0F24DF47-81AB-0457-33B7-B286568D6D87}"/>
                  </a:ext>
                </a:extLst>
              </p:cNvPr>
              <p:cNvSpPr/>
              <p:nvPr/>
            </p:nvSpPr>
            <p:spPr>
              <a:xfrm>
                <a:off x="3646345" y="2646648"/>
                <a:ext cx="4703818" cy="3313713"/>
              </a:xfrm>
              <a:custGeom>
                <a:avLst/>
                <a:gdLst>
                  <a:gd name="connsiteX0" fmla="*/ 3733681 w 4703818"/>
                  <a:gd name="connsiteY0" fmla="*/ 2114893 h 3313713"/>
                  <a:gd name="connsiteX1" fmla="*/ 4677784 w 4703818"/>
                  <a:gd name="connsiteY1" fmla="*/ 1074915 h 3313713"/>
                  <a:gd name="connsiteX2" fmla="*/ 2783330 w 4703818"/>
                  <a:gd name="connsiteY2" fmla="*/ 1615 h 3313713"/>
                  <a:gd name="connsiteX3" fmla="*/ 1505937 w 4703818"/>
                  <a:gd name="connsiteY3" fmla="*/ 667886 h 3313713"/>
                  <a:gd name="connsiteX4" fmla="*/ 6557 w 4703818"/>
                  <a:gd name="connsiteY4" fmla="*/ 1229411 h 3313713"/>
                  <a:gd name="connsiteX5" fmla="*/ 952280 w 4703818"/>
                  <a:gd name="connsiteY5" fmla="*/ 2285819 h 3313713"/>
                  <a:gd name="connsiteX6" fmla="*/ 1999200 w 4703818"/>
                  <a:gd name="connsiteY6" fmla="*/ 3295947 h 3313713"/>
                  <a:gd name="connsiteX7" fmla="*/ 2933893 w 4703818"/>
                  <a:gd name="connsiteY7" fmla="*/ 2913910 h 3313713"/>
                  <a:gd name="connsiteX8" fmla="*/ 3733681 w 4703818"/>
                  <a:gd name="connsiteY8" fmla="*/ 2114816 h 3313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03818" h="3313713">
                    <a:moveTo>
                      <a:pt x="3733681" y="2114893"/>
                    </a:moveTo>
                    <a:cubicBezTo>
                      <a:pt x="3825777" y="1728690"/>
                      <a:pt x="4881491" y="1423323"/>
                      <a:pt x="4677784" y="1074915"/>
                    </a:cubicBezTo>
                    <a:cubicBezTo>
                      <a:pt x="4456722" y="697428"/>
                      <a:pt x="3205245" y="37019"/>
                      <a:pt x="2783330" y="1615"/>
                    </a:cubicBezTo>
                    <a:cubicBezTo>
                      <a:pt x="2384478" y="-31860"/>
                      <a:pt x="1852725" y="463871"/>
                      <a:pt x="1505937" y="667886"/>
                    </a:cubicBezTo>
                    <a:cubicBezTo>
                      <a:pt x="1128296" y="890105"/>
                      <a:pt x="101738" y="816675"/>
                      <a:pt x="6557" y="1229411"/>
                    </a:cubicBezTo>
                    <a:cubicBezTo>
                      <a:pt x="-82223" y="1614457"/>
                      <a:pt x="756517" y="1935560"/>
                      <a:pt x="952280" y="2285819"/>
                    </a:cubicBezTo>
                    <a:cubicBezTo>
                      <a:pt x="1228877" y="2783324"/>
                      <a:pt x="1588778" y="3200611"/>
                      <a:pt x="1999200" y="3295947"/>
                    </a:cubicBezTo>
                    <a:cubicBezTo>
                      <a:pt x="2384478" y="3385421"/>
                      <a:pt x="2587799" y="3118157"/>
                      <a:pt x="2933893" y="2913910"/>
                    </a:cubicBezTo>
                    <a:cubicBezTo>
                      <a:pt x="3306752" y="2694082"/>
                      <a:pt x="3636494" y="2522076"/>
                      <a:pt x="3733681" y="2114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62" name="Freeform: Shape 1061">
                <a:extLst>
                  <a:ext uri="{FF2B5EF4-FFF2-40B4-BE49-F238E27FC236}">
                    <a16:creationId xmlns:a16="http://schemas.microsoft.com/office/drawing/2014/main" id="{9E6B4BD3-5F16-28BC-6F14-511C7BACFE56}"/>
                  </a:ext>
                </a:extLst>
              </p:cNvPr>
              <p:cNvSpPr/>
              <p:nvPr/>
            </p:nvSpPr>
            <p:spPr>
              <a:xfrm>
                <a:off x="3706188" y="2596973"/>
                <a:ext cx="4798420" cy="3416920"/>
              </a:xfrm>
              <a:custGeom>
                <a:avLst/>
                <a:gdLst>
                  <a:gd name="connsiteX0" fmla="*/ 3724051 w 4798420"/>
                  <a:gd name="connsiteY0" fmla="*/ 2170199 h 3416920"/>
                  <a:gd name="connsiteX1" fmla="*/ 4775292 w 4798420"/>
                  <a:gd name="connsiteY1" fmla="*/ 1109318 h 3416920"/>
                  <a:gd name="connsiteX2" fmla="*/ 2749635 w 4798420"/>
                  <a:gd name="connsiteY2" fmla="*/ 1848 h 3416920"/>
                  <a:gd name="connsiteX3" fmla="*/ 1442932 w 4798420"/>
                  <a:gd name="connsiteY3" fmla="*/ 746255 h 3416920"/>
                  <a:gd name="connsiteX4" fmla="*/ 5412 w 4798420"/>
                  <a:gd name="connsiteY4" fmla="*/ 1361387 h 3416920"/>
                  <a:gd name="connsiteX5" fmla="*/ 922596 w 4798420"/>
                  <a:gd name="connsiteY5" fmla="*/ 2322304 h 3416920"/>
                  <a:gd name="connsiteX6" fmla="*/ 1975918 w 4798420"/>
                  <a:gd name="connsiteY6" fmla="*/ 3405863 h 3416920"/>
                  <a:gd name="connsiteX7" fmla="*/ 2860706 w 4798420"/>
                  <a:gd name="connsiteY7" fmla="*/ 2915608 h 3416920"/>
                  <a:gd name="connsiteX8" fmla="*/ 3724129 w 4798420"/>
                  <a:gd name="connsiteY8" fmla="*/ 2170122 h 3416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98420" h="3416920">
                    <a:moveTo>
                      <a:pt x="3724051" y="2170199"/>
                    </a:moveTo>
                    <a:cubicBezTo>
                      <a:pt x="3806815" y="1793946"/>
                      <a:pt x="4975991" y="1452172"/>
                      <a:pt x="4775292" y="1109318"/>
                    </a:cubicBezTo>
                    <a:cubicBezTo>
                      <a:pt x="4547751" y="721341"/>
                      <a:pt x="3177798" y="45042"/>
                      <a:pt x="2749635" y="1848"/>
                    </a:cubicBezTo>
                    <a:cubicBezTo>
                      <a:pt x="2364821" y="-36950"/>
                      <a:pt x="1783627" y="545787"/>
                      <a:pt x="1442932" y="746255"/>
                    </a:cubicBezTo>
                    <a:cubicBezTo>
                      <a:pt x="1054030" y="975107"/>
                      <a:pt x="94192" y="939472"/>
                      <a:pt x="5412" y="1361387"/>
                    </a:cubicBezTo>
                    <a:cubicBezTo>
                      <a:pt x="-73263" y="1735248"/>
                      <a:pt x="728761" y="1979759"/>
                      <a:pt x="922596" y="2322304"/>
                    </a:cubicBezTo>
                    <a:cubicBezTo>
                      <a:pt x="1191943" y="2800681"/>
                      <a:pt x="1556163" y="3316697"/>
                      <a:pt x="1975918" y="3405863"/>
                    </a:cubicBezTo>
                    <a:cubicBezTo>
                      <a:pt x="2350320" y="3485463"/>
                      <a:pt x="2520860" y="3115999"/>
                      <a:pt x="2860706" y="2915608"/>
                    </a:cubicBezTo>
                    <a:cubicBezTo>
                      <a:pt x="3244364" y="2689532"/>
                      <a:pt x="3632649" y="2585944"/>
                      <a:pt x="3724129" y="217012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63" name="Freeform: Shape 1062">
                <a:extLst>
                  <a:ext uri="{FF2B5EF4-FFF2-40B4-BE49-F238E27FC236}">
                    <a16:creationId xmlns:a16="http://schemas.microsoft.com/office/drawing/2014/main" id="{EE0A54DA-8F56-F3FE-7ABD-24A6280008CB}"/>
                  </a:ext>
                </a:extLst>
              </p:cNvPr>
              <p:cNvSpPr/>
              <p:nvPr/>
            </p:nvSpPr>
            <p:spPr>
              <a:xfrm>
                <a:off x="3765757" y="2547325"/>
                <a:ext cx="4893698" cy="3522930"/>
              </a:xfrm>
              <a:custGeom>
                <a:avLst/>
                <a:gdLst>
                  <a:gd name="connsiteX0" fmla="*/ 3714695 w 4893698"/>
                  <a:gd name="connsiteY0" fmla="*/ 2225478 h 3522930"/>
                  <a:gd name="connsiteX1" fmla="*/ 4872995 w 4893698"/>
                  <a:gd name="connsiteY1" fmla="*/ 1143693 h 3522930"/>
                  <a:gd name="connsiteX2" fmla="*/ 2716137 w 4893698"/>
                  <a:gd name="connsiteY2" fmla="*/ 2054 h 3522930"/>
                  <a:gd name="connsiteX3" fmla="*/ 1380123 w 4893698"/>
                  <a:gd name="connsiteY3" fmla="*/ 824596 h 3522930"/>
                  <a:gd name="connsiteX4" fmla="*/ 4386 w 4893698"/>
                  <a:gd name="connsiteY4" fmla="*/ 1493335 h 3522930"/>
                  <a:gd name="connsiteX5" fmla="*/ 893031 w 4893698"/>
                  <a:gd name="connsiteY5" fmla="*/ 2358840 h 3522930"/>
                  <a:gd name="connsiteX6" fmla="*/ 1952756 w 4893698"/>
                  <a:gd name="connsiteY6" fmla="*/ 3515905 h 3522930"/>
                  <a:gd name="connsiteX7" fmla="*/ 2787562 w 4893698"/>
                  <a:gd name="connsiteY7" fmla="*/ 2917357 h 3522930"/>
                  <a:gd name="connsiteX8" fmla="*/ 3714541 w 4893698"/>
                  <a:gd name="connsiteY8" fmla="*/ 2225478 h 3522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93698" h="3522930">
                    <a:moveTo>
                      <a:pt x="3714695" y="2225478"/>
                    </a:moveTo>
                    <a:cubicBezTo>
                      <a:pt x="3788357" y="1859175"/>
                      <a:pt x="5070764" y="1480917"/>
                      <a:pt x="4872995" y="1143693"/>
                    </a:cubicBezTo>
                    <a:cubicBezTo>
                      <a:pt x="4639053" y="745149"/>
                      <a:pt x="3150470" y="53347"/>
                      <a:pt x="2716137" y="2054"/>
                    </a:cubicBezTo>
                    <a:cubicBezTo>
                      <a:pt x="2345360" y="-41757"/>
                      <a:pt x="1714801" y="627676"/>
                      <a:pt x="1380123" y="824596"/>
                    </a:cubicBezTo>
                    <a:cubicBezTo>
                      <a:pt x="980036" y="1060081"/>
                      <a:pt x="86455" y="1062164"/>
                      <a:pt x="4386" y="1493335"/>
                    </a:cubicBezTo>
                    <a:cubicBezTo>
                      <a:pt x="-64647" y="1856012"/>
                      <a:pt x="701202" y="2023930"/>
                      <a:pt x="893031" y="2358840"/>
                    </a:cubicBezTo>
                    <a:cubicBezTo>
                      <a:pt x="1155205" y="2818087"/>
                      <a:pt x="1523590" y="3433219"/>
                      <a:pt x="1952756" y="3515905"/>
                    </a:cubicBezTo>
                    <a:cubicBezTo>
                      <a:pt x="2316282" y="3585942"/>
                      <a:pt x="2454040" y="3113968"/>
                      <a:pt x="2787562" y="2917357"/>
                    </a:cubicBezTo>
                    <a:cubicBezTo>
                      <a:pt x="3182018" y="2685033"/>
                      <a:pt x="3629232" y="2649938"/>
                      <a:pt x="3714541" y="22254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64" name="Freeform: Shape 1063">
                <a:extLst>
                  <a:ext uri="{FF2B5EF4-FFF2-40B4-BE49-F238E27FC236}">
                    <a16:creationId xmlns:a16="http://schemas.microsoft.com/office/drawing/2014/main" id="{14E45E4D-5352-1916-CC94-B0D3E376802A}"/>
                  </a:ext>
                </a:extLst>
              </p:cNvPr>
              <p:cNvSpPr/>
              <p:nvPr/>
            </p:nvSpPr>
            <p:spPr>
              <a:xfrm>
                <a:off x="3825389" y="2497697"/>
                <a:ext cx="4989429" cy="3630406"/>
              </a:xfrm>
              <a:custGeom>
                <a:avLst/>
                <a:gdLst>
                  <a:gd name="connsiteX0" fmla="*/ 3705354 w 4989429"/>
                  <a:gd name="connsiteY0" fmla="*/ 2280737 h 3630406"/>
                  <a:gd name="connsiteX1" fmla="*/ 4970792 w 4989429"/>
                  <a:gd name="connsiteY1" fmla="*/ 1178049 h 3630406"/>
                  <a:gd name="connsiteX2" fmla="*/ 2682730 w 4989429"/>
                  <a:gd name="connsiteY2" fmla="*/ 2241 h 3630406"/>
                  <a:gd name="connsiteX3" fmla="*/ 1317406 w 4989429"/>
                  <a:gd name="connsiteY3" fmla="*/ 902918 h 3630406"/>
                  <a:gd name="connsiteX4" fmla="*/ 3453 w 4989429"/>
                  <a:gd name="connsiteY4" fmla="*/ 1625341 h 3630406"/>
                  <a:gd name="connsiteX5" fmla="*/ 863635 w 4989429"/>
                  <a:gd name="connsiteY5" fmla="*/ 2395433 h 3630406"/>
                  <a:gd name="connsiteX6" fmla="*/ 1929762 w 4989429"/>
                  <a:gd name="connsiteY6" fmla="*/ 3625929 h 3630406"/>
                  <a:gd name="connsiteX7" fmla="*/ 2714663 w 4989429"/>
                  <a:gd name="connsiteY7" fmla="*/ 2919163 h 3630406"/>
                  <a:gd name="connsiteX8" fmla="*/ 3705277 w 4989429"/>
                  <a:gd name="connsiteY8" fmla="*/ 2280814 h 3630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89429" h="3630406">
                    <a:moveTo>
                      <a:pt x="3705354" y="2280737"/>
                    </a:moveTo>
                    <a:cubicBezTo>
                      <a:pt x="3770145" y="1924384"/>
                      <a:pt x="5165629" y="1509720"/>
                      <a:pt x="4970792" y="1178049"/>
                    </a:cubicBezTo>
                    <a:cubicBezTo>
                      <a:pt x="4730370" y="769015"/>
                      <a:pt x="3123080" y="62173"/>
                      <a:pt x="2682730" y="2241"/>
                    </a:cubicBezTo>
                    <a:cubicBezTo>
                      <a:pt x="2325838" y="-46353"/>
                      <a:pt x="1645991" y="709546"/>
                      <a:pt x="1317406" y="902918"/>
                    </a:cubicBezTo>
                    <a:cubicBezTo>
                      <a:pt x="906058" y="1144960"/>
                      <a:pt x="78271" y="1184760"/>
                      <a:pt x="3453" y="1625341"/>
                    </a:cubicBezTo>
                    <a:cubicBezTo>
                      <a:pt x="-56171" y="1976757"/>
                      <a:pt x="673658" y="2068236"/>
                      <a:pt x="863635" y="2395433"/>
                    </a:cubicBezTo>
                    <a:cubicBezTo>
                      <a:pt x="1118636" y="2835628"/>
                      <a:pt x="1491186" y="3550339"/>
                      <a:pt x="1929762" y="3625929"/>
                    </a:cubicBezTo>
                    <a:cubicBezTo>
                      <a:pt x="2282335" y="3686709"/>
                      <a:pt x="2387313" y="3111917"/>
                      <a:pt x="2714663" y="2919163"/>
                    </a:cubicBezTo>
                    <a:cubicBezTo>
                      <a:pt x="3119918" y="2680592"/>
                      <a:pt x="3626525" y="2714067"/>
                      <a:pt x="3705277" y="22808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66" name="Freeform: Shape 1065">
                <a:extLst>
                  <a:ext uri="{FF2B5EF4-FFF2-40B4-BE49-F238E27FC236}">
                    <a16:creationId xmlns:a16="http://schemas.microsoft.com/office/drawing/2014/main" id="{0AB39998-BBAB-CC7D-BFB0-772CD9F60EA8}"/>
                  </a:ext>
                </a:extLst>
              </p:cNvPr>
              <p:cNvSpPr/>
              <p:nvPr/>
            </p:nvSpPr>
            <p:spPr>
              <a:xfrm>
                <a:off x="3884910" y="2448010"/>
                <a:ext cx="5085470" cy="3738674"/>
              </a:xfrm>
              <a:custGeom>
                <a:avLst/>
                <a:gdLst>
                  <a:gd name="connsiteX0" fmla="*/ 5068621 w 5085470"/>
                  <a:gd name="connsiteY0" fmla="*/ 1212464 h 3738674"/>
                  <a:gd name="connsiteX1" fmla="*/ 2649357 w 5085470"/>
                  <a:gd name="connsiteY1" fmla="*/ 2408 h 3738674"/>
                  <a:gd name="connsiteX2" fmla="*/ 1254723 w 5085470"/>
                  <a:gd name="connsiteY2" fmla="*/ 981143 h 3738674"/>
                  <a:gd name="connsiteX3" fmla="*/ 2629 w 5085470"/>
                  <a:gd name="connsiteY3" fmla="*/ 1757174 h 3738674"/>
                  <a:gd name="connsiteX4" fmla="*/ 834273 w 5085470"/>
                  <a:gd name="connsiteY4" fmla="*/ 2431853 h 3738674"/>
                  <a:gd name="connsiteX5" fmla="*/ 1906801 w 5085470"/>
                  <a:gd name="connsiteY5" fmla="*/ 3735856 h 3738674"/>
                  <a:gd name="connsiteX6" fmla="*/ 2641798 w 5085470"/>
                  <a:gd name="connsiteY6" fmla="*/ 2920796 h 3738674"/>
                  <a:gd name="connsiteX7" fmla="*/ 3696046 w 5085470"/>
                  <a:gd name="connsiteY7" fmla="*/ 2336054 h 3738674"/>
                  <a:gd name="connsiteX8" fmla="*/ 5068621 w 5085470"/>
                  <a:gd name="connsiteY8" fmla="*/ 1212464 h 373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5470" h="3738674">
                    <a:moveTo>
                      <a:pt x="5068621" y="1212464"/>
                    </a:moveTo>
                    <a:cubicBezTo>
                      <a:pt x="4821720" y="792863"/>
                      <a:pt x="3095646" y="71519"/>
                      <a:pt x="2649357" y="2408"/>
                    </a:cubicBezTo>
                    <a:cubicBezTo>
                      <a:pt x="2306348" y="-50736"/>
                      <a:pt x="1577214" y="791397"/>
                      <a:pt x="1254723" y="981143"/>
                    </a:cubicBezTo>
                    <a:cubicBezTo>
                      <a:pt x="832190" y="1229819"/>
                      <a:pt x="69503" y="1307260"/>
                      <a:pt x="2629" y="1757174"/>
                    </a:cubicBezTo>
                    <a:cubicBezTo>
                      <a:pt x="-47970" y="2097406"/>
                      <a:pt x="646301" y="2112292"/>
                      <a:pt x="834273" y="2431853"/>
                    </a:cubicBezTo>
                    <a:cubicBezTo>
                      <a:pt x="1082023" y="2852919"/>
                      <a:pt x="1458738" y="3667825"/>
                      <a:pt x="1906801" y="3735856"/>
                    </a:cubicBezTo>
                    <a:cubicBezTo>
                      <a:pt x="2248499" y="3787689"/>
                      <a:pt x="2320695" y="3109771"/>
                      <a:pt x="2641798" y="2920796"/>
                    </a:cubicBezTo>
                    <a:cubicBezTo>
                      <a:pt x="3057851" y="2675977"/>
                      <a:pt x="3624313" y="2778024"/>
                      <a:pt x="3696046" y="2336054"/>
                    </a:cubicBezTo>
                    <a:cubicBezTo>
                      <a:pt x="3752276" y="1989652"/>
                      <a:pt x="5260450" y="1538503"/>
                      <a:pt x="5068621" y="12124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1032" name="Graphic 5">
              <a:extLst>
                <a:ext uri="{FF2B5EF4-FFF2-40B4-BE49-F238E27FC236}">
                  <a16:creationId xmlns:a16="http://schemas.microsoft.com/office/drawing/2014/main" id="{EB69CDAD-DFEB-EDBD-8B1C-F4001B7A161F}"/>
                </a:ext>
              </a:extLst>
            </p:cNvPr>
            <p:cNvGrpSpPr/>
            <p:nvPr/>
          </p:nvGrpSpPr>
          <p:grpSpPr>
            <a:xfrm rot="753948">
              <a:off x="-682780" y="-299489"/>
              <a:ext cx="5854605" cy="7484643"/>
              <a:chOff x="4061078" y="1549502"/>
              <a:chExt cx="3873961" cy="4952549"/>
            </a:xfrm>
            <a:noFill/>
          </p:grpSpPr>
          <p:sp>
            <p:nvSpPr>
              <p:cNvPr id="1034" name="Freeform: Shape 1033">
                <a:extLst>
                  <a:ext uri="{FF2B5EF4-FFF2-40B4-BE49-F238E27FC236}">
                    <a16:creationId xmlns:a16="http://schemas.microsoft.com/office/drawing/2014/main" id="{FCB31434-978D-A23F-5818-D6ACF3C17C5A}"/>
                  </a:ext>
                </a:extLst>
              </p:cNvPr>
              <p:cNvSpPr/>
              <p:nvPr/>
            </p:nvSpPr>
            <p:spPr>
              <a:xfrm>
                <a:off x="4475868" y="1549502"/>
                <a:ext cx="3007008" cy="4952549"/>
              </a:xfrm>
              <a:custGeom>
                <a:avLst/>
                <a:gdLst>
                  <a:gd name="connsiteX0" fmla="*/ 2976817 w 3007008"/>
                  <a:gd name="connsiteY0" fmla="*/ 2669180 h 4952549"/>
                  <a:gd name="connsiteX1" fmla="*/ 2432801 w 3007008"/>
                  <a:gd name="connsiteY1" fmla="*/ 1308330 h 4952549"/>
                  <a:gd name="connsiteX2" fmla="*/ 1795840 w 3007008"/>
                  <a:gd name="connsiteY2" fmla="*/ 7 h 4952549"/>
                  <a:gd name="connsiteX3" fmla="*/ 437072 w 3007008"/>
                  <a:gd name="connsiteY3" fmla="*/ 1607682 h 4952549"/>
                  <a:gd name="connsiteX4" fmla="*/ 310112 w 3007008"/>
                  <a:gd name="connsiteY4" fmla="*/ 2718545 h 4952549"/>
                  <a:gd name="connsiteX5" fmla="*/ 413007 w 3007008"/>
                  <a:gd name="connsiteY5" fmla="*/ 3875302 h 4952549"/>
                  <a:gd name="connsiteX6" fmla="*/ 1776248 w 3007008"/>
                  <a:gd name="connsiteY6" fmla="*/ 4952536 h 4952549"/>
                  <a:gd name="connsiteX7" fmla="*/ 2522815 w 3007008"/>
                  <a:gd name="connsiteY7" fmla="*/ 3870057 h 4952549"/>
                  <a:gd name="connsiteX8" fmla="*/ 2976817 w 3007008"/>
                  <a:gd name="connsiteY8" fmla="*/ 2669180 h 4952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07008" h="4952549">
                    <a:moveTo>
                      <a:pt x="2976817" y="2669180"/>
                    </a:moveTo>
                    <a:cubicBezTo>
                      <a:pt x="2795478" y="2205613"/>
                      <a:pt x="2780206" y="1596883"/>
                      <a:pt x="2432801" y="1308330"/>
                    </a:cubicBezTo>
                    <a:cubicBezTo>
                      <a:pt x="2165768" y="1086497"/>
                      <a:pt x="2170087" y="2861"/>
                      <a:pt x="1795840" y="7"/>
                    </a:cubicBezTo>
                    <a:cubicBezTo>
                      <a:pt x="1305585" y="-3772"/>
                      <a:pt x="857599" y="1434442"/>
                      <a:pt x="437072" y="1607682"/>
                    </a:cubicBezTo>
                    <a:cubicBezTo>
                      <a:pt x="-439463" y="1968739"/>
                      <a:pt x="265838" y="2328563"/>
                      <a:pt x="310112" y="2718545"/>
                    </a:cubicBezTo>
                    <a:cubicBezTo>
                      <a:pt x="365185" y="3203940"/>
                      <a:pt x="63519" y="3586749"/>
                      <a:pt x="413007" y="3875302"/>
                    </a:cubicBezTo>
                    <a:cubicBezTo>
                      <a:pt x="679500" y="4095361"/>
                      <a:pt x="1403775" y="4949682"/>
                      <a:pt x="1776248" y="4952536"/>
                    </a:cubicBezTo>
                    <a:cubicBezTo>
                      <a:pt x="2258944" y="4956238"/>
                      <a:pt x="2234184" y="4212294"/>
                      <a:pt x="2522815" y="3870057"/>
                    </a:cubicBezTo>
                    <a:cubicBezTo>
                      <a:pt x="2749045" y="3601790"/>
                      <a:pt x="3114576" y="3021444"/>
                      <a:pt x="2976817" y="266918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37" name="Freeform: Shape 1036">
                <a:extLst>
                  <a:ext uri="{FF2B5EF4-FFF2-40B4-BE49-F238E27FC236}">
                    <a16:creationId xmlns:a16="http://schemas.microsoft.com/office/drawing/2014/main" id="{BE347247-5100-B820-76A3-190996B13F19}"/>
                  </a:ext>
                </a:extLst>
              </p:cNvPr>
              <p:cNvSpPr/>
              <p:nvPr/>
            </p:nvSpPr>
            <p:spPr>
              <a:xfrm>
                <a:off x="4482456" y="1627788"/>
                <a:ext cx="3018571" cy="4778052"/>
              </a:xfrm>
              <a:custGeom>
                <a:avLst/>
                <a:gdLst>
                  <a:gd name="connsiteX0" fmla="*/ 1752691 w 3018571"/>
                  <a:gd name="connsiteY0" fmla="*/ 4776677 h 4778052"/>
                  <a:gd name="connsiteX1" fmla="*/ 2591277 w 3018571"/>
                  <a:gd name="connsiteY1" fmla="*/ 3811826 h 4778052"/>
                  <a:gd name="connsiteX2" fmla="*/ 2984730 w 3018571"/>
                  <a:gd name="connsiteY2" fmla="*/ 2584107 h 4778052"/>
                  <a:gd name="connsiteX3" fmla="*/ 2466168 w 3018571"/>
                  <a:gd name="connsiteY3" fmla="*/ 1202817 h 4778052"/>
                  <a:gd name="connsiteX4" fmla="*/ 1720373 w 3018571"/>
                  <a:gd name="connsiteY4" fmla="*/ 11 h 4778052"/>
                  <a:gd name="connsiteX5" fmla="*/ 440974 w 3018571"/>
                  <a:gd name="connsiteY5" fmla="*/ 1547522 h 4778052"/>
                  <a:gd name="connsiteX6" fmla="*/ 238116 w 3018571"/>
                  <a:gd name="connsiteY6" fmla="*/ 2690858 h 4778052"/>
                  <a:gd name="connsiteX7" fmla="*/ 359985 w 3018571"/>
                  <a:gd name="connsiteY7" fmla="*/ 3853863 h 4778052"/>
                  <a:gd name="connsiteX8" fmla="*/ 1752691 w 3018571"/>
                  <a:gd name="connsiteY8" fmla="*/ 4776754 h 4778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18571" h="4778052">
                    <a:moveTo>
                      <a:pt x="1752691" y="4776677"/>
                    </a:moveTo>
                    <a:cubicBezTo>
                      <a:pt x="2216181" y="4812235"/>
                      <a:pt x="2306966" y="4149435"/>
                      <a:pt x="2591277" y="3811826"/>
                    </a:cubicBezTo>
                    <a:cubicBezTo>
                      <a:pt x="2825220" y="3533917"/>
                      <a:pt x="3119172" y="2944162"/>
                      <a:pt x="2984730" y="2584107"/>
                    </a:cubicBezTo>
                    <a:cubicBezTo>
                      <a:pt x="2815579" y="2131107"/>
                      <a:pt x="2808174" y="1486896"/>
                      <a:pt x="2466168" y="1202817"/>
                    </a:cubicBezTo>
                    <a:cubicBezTo>
                      <a:pt x="2189185" y="972730"/>
                      <a:pt x="2101099" y="-3845"/>
                      <a:pt x="1720373" y="11"/>
                    </a:cubicBezTo>
                    <a:cubicBezTo>
                      <a:pt x="1244079" y="4794"/>
                      <a:pt x="830648" y="1354614"/>
                      <a:pt x="440974" y="1547522"/>
                    </a:cubicBezTo>
                    <a:cubicBezTo>
                      <a:pt x="-382030" y="1955091"/>
                      <a:pt x="190216" y="2298408"/>
                      <a:pt x="238116" y="2690858"/>
                    </a:cubicBezTo>
                    <a:cubicBezTo>
                      <a:pt x="294422" y="3162909"/>
                      <a:pt x="16205" y="3569861"/>
                      <a:pt x="359985" y="3853863"/>
                    </a:cubicBezTo>
                    <a:cubicBezTo>
                      <a:pt x="635965" y="4081944"/>
                      <a:pt x="1362169" y="4746827"/>
                      <a:pt x="1752691" y="47767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38" name="Freeform: Shape 1037">
                <a:extLst>
                  <a:ext uri="{FF2B5EF4-FFF2-40B4-BE49-F238E27FC236}">
                    <a16:creationId xmlns:a16="http://schemas.microsoft.com/office/drawing/2014/main" id="{6BEBBCA7-CEEB-6BC3-FD03-94DC7180838D}"/>
                  </a:ext>
                </a:extLst>
              </p:cNvPr>
              <p:cNvSpPr/>
              <p:nvPr/>
            </p:nvSpPr>
            <p:spPr>
              <a:xfrm>
                <a:off x="4484173" y="1705758"/>
                <a:ext cx="3036493" cy="4605873"/>
              </a:xfrm>
              <a:custGeom>
                <a:avLst/>
                <a:gdLst>
                  <a:gd name="connsiteX0" fmla="*/ 1734082 w 3036493"/>
                  <a:gd name="connsiteY0" fmla="*/ 4601058 h 4605873"/>
                  <a:gd name="connsiteX1" fmla="*/ 2664764 w 3036493"/>
                  <a:gd name="connsiteY1" fmla="*/ 3753833 h 4605873"/>
                  <a:gd name="connsiteX2" fmla="*/ 2997591 w 3036493"/>
                  <a:gd name="connsiteY2" fmla="*/ 2499272 h 4605873"/>
                  <a:gd name="connsiteX3" fmla="*/ 2504559 w 3036493"/>
                  <a:gd name="connsiteY3" fmla="*/ 1097465 h 4605873"/>
                  <a:gd name="connsiteX4" fmla="*/ 1649930 w 3036493"/>
                  <a:gd name="connsiteY4" fmla="*/ 100 h 4605873"/>
                  <a:gd name="connsiteX5" fmla="*/ 449901 w 3036493"/>
                  <a:gd name="connsiteY5" fmla="*/ 1487524 h 4605873"/>
                  <a:gd name="connsiteX6" fmla="*/ 171221 w 3036493"/>
                  <a:gd name="connsiteY6" fmla="*/ 2663410 h 4605873"/>
                  <a:gd name="connsiteX7" fmla="*/ 311988 w 3036493"/>
                  <a:gd name="connsiteY7" fmla="*/ 3832586 h 4605873"/>
                  <a:gd name="connsiteX8" fmla="*/ 1734159 w 3036493"/>
                  <a:gd name="connsiteY8" fmla="*/ 4601135 h 46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36493" h="4605873">
                    <a:moveTo>
                      <a:pt x="1734082" y="4601058"/>
                    </a:moveTo>
                    <a:cubicBezTo>
                      <a:pt x="2177440" y="4664460"/>
                      <a:pt x="2384618" y="4086814"/>
                      <a:pt x="2664764" y="3753833"/>
                    </a:cubicBezTo>
                    <a:cubicBezTo>
                      <a:pt x="2906420" y="3466283"/>
                      <a:pt x="3128562" y="2867271"/>
                      <a:pt x="2997591" y="2499272"/>
                    </a:cubicBezTo>
                    <a:cubicBezTo>
                      <a:pt x="2840240" y="2056917"/>
                      <a:pt x="2841089" y="1377070"/>
                      <a:pt x="2504559" y="1097465"/>
                    </a:cubicBezTo>
                    <a:cubicBezTo>
                      <a:pt x="2217549" y="859048"/>
                      <a:pt x="2037290" y="-10699"/>
                      <a:pt x="1649930" y="100"/>
                    </a:cubicBezTo>
                    <a:cubicBezTo>
                      <a:pt x="1187597" y="12981"/>
                      <a:pt x="808491" y="1275410"/>
                      <a:pt x="449901" y="1487524"/>
                    </a:cubicBezTo>
                    <a:cubicBezTo>
                      <a:pt x="-320113" y="1942838"/>
                      <a:pt x="120622" y="2268337"/>
                      <a:pt x="171221" y="2663410"/>
                    </a:cubicBezTo>
                    <a:cubicBezTo>
                      <a:pt x="229996" y="3121963"/>
                      <a:pt x="-26007" y="3553212"/>
                      <a:pt x="311988" y="3832586"/>
                    </a:cubicBezTo>
                    <a:cubicBezTo>
                      <a:pt x="597533" y="4068688"/>
                      <a:pt x="1324122" y="4542514"/>
                      <a:pt x="1734159" y="460113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40" name="Freeform: Shape 1039">
                <a:extLst>
                  <a:ext uri="{FF2B5EF4-FFF2-40B4-BE49-F238E27FC236}">
                    <a16:creationId xmlns:a16="http://schemas.microsoft.com/office/drawing/2014/main" id="{4518DFED-18A2-0814-E31F-A7892B5B4BA1}"/>
                  </a:ext>
                </a:extLst>
              </p:cNvPr>
              <p:cNvSpPr/>
              <p:nvPr/>
            </p:nvSpPr>
            <p:spPr>
              <a:xfrm>
                <a:off x="4477865" y="1783678"/>
                <a:ext cx="3064583" cy="4435839"/>
              </a:xfrm>
              <a:custGeom>
                <a:avLst/>
                <a:gdLst>
                  <a:gd name="connsiteX0" fmla="*/ 1723421 w 3064583"/>
                  <a:gd name="connsiteY0" fmla="*/ 4425487 h 4435839"/>
                  <a:gd name="connsiteX1" fmla="*/ 2746122 w 3064583"/>
                  <a:gd name="connsiteY1" fmla="*/ 3695890 h 4435839"/>
                  <a:gd name="connsiteX2" fmla="*/ 3018400 w 3064583"/>
                  <a:gd name="connsiteY2" fmla="*/ 2414487 h 4435839"/>
                  <a:gd name="connsiteX3" fmla="*/ 2550822 w 3064583"/>
                  <a:gd name="connsiteY3" fmla="*/ 992240 h 4435839"/>
                  <a:gd name="connsiteX4" fmla="*/ 1587359 w 3064583"/>
                  <a:gd name="connsiteY4" fmla="*/ 315 h 4435839"/>
                  <a:gd name="connsiteX5" fmla="*/ 466700 w 3064583"/>
                  <a:gd name="connsiteY5" fmla="*/ 1427576 h 4435839"/>
                  <a:gd name="connsiteX6" fmla="*/ 112198 w 3064583"/>
                  <a:gd name="connsiteY6" fmla="*/ 2635935 h 4435839"/>
                  <a:gd name="connsiteX7" fmla="*/ 271940 w 3064583"/>
                  <a:gd name="connsiteY7" fmla="*/ 3811281 h 4435839"/>
                  <a:gd name="connsiteX8" fmla="*/ 1723498 w 3064583"/>
                  <a:gd name="connsiteY8" fmla="*/ 4425487 h 4435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64583" h="4435839">
                    <a:moveTo>
                      <a:pt x="1723421" y="4425487"/>
                    </a:moveTo>
                    <a:cubicBezTo>
                      <a:pt x="2146185" y="4513187"/>
                      <a:pt x="2470296" y="4024167"/>
                      <a:pt x="2746122" y="3695890"/>
                    </a:cubicBezTo>
                    <a:cubicBezTo>
                      <a:pt x="2995492" y="3398699"/>
                      <a:pt x="3145592" y="2790508"/>
                      <a:pt x="3018400" y="2414487"/>
                    </a:cubicBezTo>
                    <a:cubicBezTo>
                      <a:pt x="2872465" y="1983084"/>
                      <a:pt x="2881952" y="1267371"/>
                      <a:pt x="2550822" y="992240"/>
                    </a:cubicBezTo>
                    <a:cubicBezTo>
                      <a:pt x="2253785" y="745493"/>
                      <a:pt x="1981275" y="-17734"/>
                      <a:pt x="1587359" y="315"/>
                    </a:cubicBezTo>
                    <a:cubicBezTo>
                      <a:pt x="1138987" y="20832"/>
                      <a:pt x="794205" y="1197181"/>
                      <a:pt x="466700" y="1427576"/>
                    </a:cubicBezTo>
                    <a:cubicBezTo>
                      <a:pt x="-250479" y="1932100"/>
                      <a:pt x="58205" y="2238316"/>
                      <a:pt x="112198" y="2635935"/>
                    </a:cubicBezTo>
                    <a:cubicBezTo>
                      <a:pt x="172593" y="3081144"/>
                      <a:pt x="-60347" y="3536534"/>
                      <a:pt x="271940" y="3811281"/>
                    </a:cubicBezTo>
                    <a:cubicBezTo>
                      <a:pt x="566972" y="4055483"/>
                      <a:pt x="1293253" y="4336245"/>
                      <a:pt x="1723498" y="442548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41" name="Freeform: Shape 1040">
                <a:extLst>
                  <a:ext uri="{FF2B5EF4-FFF2-40B4-BE49-F238E27FC236}">
                    <a16:creationId xmlns:a16="http://schemas.microsoft.com/office/drawing/2014/main" id="{79BEF89B-8AB3-2593-2756-2AB85B77AF19}"/>
                  </a:ext>
                </a:extLst>
              </p:cNvPr>
              <p:cNvSpPr/>
              <p:nvPr/>
            </p:nvSpPr>
            <p:spPr>
              <a:xfrm>
                <a:off x="4460130" y="1861400"/>
                <a:ext cx="3107969" cy="4268490"/>
              </a:xfrm>
              <a:custGeom>
                <a:avLst/>
                <a:gdLst>
                  <a:gd name="connsiteX0" fmla="*/ 1724263 w 3107969"/>
                  <a:gd name="connsiteY0" fmla="*/ 4250116 h 4268490"/>
                  <a:gd name="connsiteX1" fmla="*/ 2838983 w 3107969"/>
                  <a:gd name="connsiteY1" fmla="*/ 3638145 h 4268490"/>
                  <a:gd name="connsiteX2" fmla="*/ 3050712 w 3107969"/>
                  <a:gd name="connsiteY2" fmla="*/ 2329900 h 4268490"/>
                  <a:gd name="connsiteX3" fmla="*/ 2608666 w 3107969"/>
                  <a:gd name="connsiteY3" fmla="*/ 887212 h 4268490"/>
                  <a:gd name="connsiteX4" fmla="*/ 1536291 w 3107969"/>
                  <a:gd name="connsiteY4" fmla="*/ 728 h 4268490"/>
                  <a:gd name="connsiteX5" fmla="*/ 495001 w 3107969"/>
                  <a:gd name="connsiteY5" fmla="*/ 1367826 h 4268490"/>
                  <a:gd name="connsiteX6" fmla="*/ 64601 w 3107969"/>
                  <a:gd name="connsiteY6" fmla="*/ 2608657 h 4268490"/>
                  <a:gd name="connsiteX7" fmla="*/ 243317 w 3107969"/>
                  <a:gd name="connsiteY7" fmla="*/ 3790251 h 4268490"/>
                  <a:gd name="connsiteX8" fmla="*/ 1724340 w 3107969"/>
                  <a:gd name="connsiteY8" fmla="*/ 4250116 h 4268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07969" h="4268490">
                    <a:moveTo>
                      <a:pt x="1724263" y="4250116"/>
                    </a:moveTo>
                    <a:cubicBezTo>
                      <a:pt x="2126510" y="4359027"/>
                      <a:pt x="2567400" y="3961794"/>
                      <a:pt x="2838983" y="3638145"/>
                    </a:cubicBezTo>
                    <a:cubicBezTo>
                      <a:pt x="3096066" y="3331235"/>
                      <a:pt x="3173893" y="2714020"/>
                      <a:pt x="3050712" y="2329900"/>
                    </a:cubicBezTo>
                    <a:cubicBezTo>
                      <a:pt x="2915808" y="1909528"/>
                      <a:pt x="2934396" y="1157793"/>
                      <a:pt x="2608666" y="887212"/>
                    </a:cubicBezTo>
                    <a:cubicBezTo>
                      <a:pt x="2301601" y="632135"/>
                      <a:pt x="1936918" y="-24880"/>
                      <a:pt x="1536291" y="728"/>
                    </a:cubicBezTo>
                    <a:cubicBezTo>
                      <a:pt x="1101957" y="28496"/>
                      <a:pt x="791576" y="1119844"/>
                      <a:pt x="495001" y="1367826"/>
                    </a:cubicBezTo>
                    <a:cubicBezTo>
                      <a:pt x="-169265" y="1923180"/>
                      <a:pt x="7215" y="2208570"/>
                      <a:pt x="64601" y="2608657"/>
                    </a:cubicBezTo>
                    <a:cubicBezTo>
                      <a:pt x="126539" y="3040445"/>
                      <a:pt x="-83262" y="3520055"/>
                      <a:pt x="243317" y="3790251"/>
                    </a:cubicBezTo>
                    <a:cubicBezTo>
                      <a:pt x="547914" y="4042475"/>
                      <a:pt x="1273500" y="4128092"/>
                      <a:pt x="1724340" y="42501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43" name="Freeform: Shape 1042">
                <a:extLst>
                  <a:ext uri="{FF2B5EF4-FFF2-40B4-BE49-F238E27FC236}">
                    <a16:creationId xmlns:a16="http://schemas.microsoft.com/office/drawing/2014/main" id="{114BBEDD-A215-7B68-73C3-8A4CA710FA3E}"/>
                  </a:ext>
                </a:extLst>
              </p:cNvPr>
              <p:cNvSpPr/>
              <p:nvPr/>
            </p:nvSpPr>
            <p:spPr>
              <a:xfrm>
                <a:off x="4426209" y="1938811"/>
                <a:ext cx="3173562" cy="4104897"/>
              </a:xfrm>
              <a:custGeom>
                <a:avLst/>
                <a:gdLst>
                  <a:gd name="connsiteX0" fmla="*/ 1741215 w 3173562"/>
                  <a:gd name="connsiteY0" fmla="*/ 4075055 h 4104897"/>
                  <a:gd name="connsiteX1" fmla="*/ 2947955 w 3173562"/>
                  <a:gd name="connsiteY1" fmla="*/ 3580712 h 4104897"/>
                  <a:gd name="connsiteX2" fmla="*/ 3099057 w 3173562"/>
                  <a:gd name="connsiteY2" fmla="*/ 2245625 h 4104897"/>
                  <a:gd name="connsiteX3" fmla="*/ 2682464 w 3173562"/>
                  <a:gd name="connsiteY3" fmla="*/ 782497 h 4104897"/>
                  <a:gd name="connsiteX4" fmla="*/ 1501255 w 3173562"/>
                  <a:gd name="connsiteY4" fmla="*/ 1452 h 4104897"/>
                  <a:gd name="connsiteX5" fmla="*/ 539335 w 3173562"/>
                  <a:gd name="connsiteY5" fmla="*/ 1308387 h 4104897"/>
                  <a:gd name="connsiteX6" fmla="*/ 33114 w 3173562"/>
                  <a:gd name="connsiteY6" fmla="*/ 2581691 h 4104897"/>
                  <a:gd name="connsiteX7" fmla="*/ 230727 w 3173562"/>
                  <a:gd name="connsiteY7" fmla="*/ 3769455 h 4104897"/>
                  <a:gd name="connsiteX8" fmla="*/ 1741215 w 3173562"/>
                  <a:gd name="connsiteY8" fmla="*/ 4074978 h 4104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73562" h="4104897">
                    <a:moveTo>
                      <a:pt x="1741215" y="4075055"/>
                    </a:moveTo>
                    <a:cubicBezTo>
                      <a:pt x="2123407" y="4202555"/>
                      <a:pt x="2680613" y="3899655"/>
                      <a:pt x="2947955" y="3580712"/>
                    </a:cubicBezTo>
                    <a:cubicBezTo>
                      <a:pt x="3212750" y="3264160"/>
                      <a:pt x="3218073" y="2637921"/>
                      <a:pt x="3099057" y="2245625"/>
                    </a:cubicBezTo>
                    <a:cubicBezTo>
                      <a:pt x="2974874" y="1836359"/>
                      <a:pt x="3002796" y="1048604"/>
                      <a:pt x="2682464" y="782497"/>
                    </a:cubicBezTo>
                    <a:cubicBezTo>
                      <a:pt x="2365449" y="519089"/>
                      <a:pt x="1908516" y="-31946"/>
                      <a:pt x="1501255" y="1452"/>
                    </a:cubicBezTo>
                    <a:cubicBezTo>
                      <a:pt x="1080960" y="36008"/>
                      <a:pt x="805288" y="1043668"/>
                      <a:pt x="539335" y="1308387"/>
                    </a:cubicBezTo>
                    <a:cubicBezTo>
                      <a:pt x="-71324" y="1916191"/>
                      <a:pt x="-27821" y="2179059"/>
                      <a:pt x="33114" y="2581691"/>
                    </a:cubicBezTo>
                    <a:cubicBezTo>
                      <a:pt x="96440" y="3000135"/>
                      <a:pt x="-90144" y="3503888"/>
                      <a:pt x="230727" y="3769455"/>
                    </a:cubicBezTo>
                    <a:cubicBezTo>
                      <a:pt x="544811" y="4029701"/>
                      <a:pt x="1270089" y="3917782"/>
                      <a:pt x="1741215" y="40749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45" name="Freeform: Shape 1044">
                <a:extLst>
                  <a:ext uri="{FF2B5EF4-FFF2-40B4-BE49-F238E27FC236}">
                    <a16:creationId xmlns:a16="http://schemas.microsoft.com/office/drawing/2014/main" id="{6C911309-CB0D-093F-3D49-1637AD4EDA50}"/>
                  </a:ext>
                </a:extLst>
              </p:cNvPr>
              <p:cNvSpPr/>
              <p:nvPr/>
            </p:nvSpPr>
            <p:spPr>
              <a:xfrm>
                <a:off x="4376099" y="2015664"/>
                <a:ext cx="3263713" cy="3947335"/>
              </a:xfrm>
              <a:custGeom>
                <a:avLst/>
                <a:gdLst>
                  <a:gd name="connsiteX0" fmla="*/ 1774433 w 3263713"/>
                  <a:gd name="connsiteY0" fmla="*/ 3900552 h 3947335"/>
                  <a:gd name="connsiteX1" fmla="*/ 3073192 w 3263713"/>
                  <a:gd name="connsiteY1" fmla="*/ 3523836 h 3947335"/>
                  <a:gd name="connsiteX2" fmla="*/ 3163745 w 3263713"/>
                  <a:gd name="connsiteY2" fmla="*/ 2161907 h 3947335"/>
                  <a:gd name="connsiteX3" fmla="*/ 2772683 w 3263713"/>
                  <a:gd name="connsiteY3" fmla="*/ 678262 h 3947335"/>
                  <a:gd name="connsiteX4" fmla="*/ 1482563 w 3263713"/>
                  <a:gd name="connsiteY4" fmla="*/ 2735 h 3947335"/>
                  <a:gd name="connsiteX5" fmla="*/ 600012 w 3263713"/>
                  <a:gd name="connsiteY5" fmla="*/ 1249583 h 3947335"/>
                  <a:gd name="connsiteX6" fmla="*/ 17970 w 3263713"/>
                  <a:gd name="connsiteY6" fmla="*/ 2555437 h 3947335"/>
                  <a:gd name="connsiteX7" fmla="*/ 234558 w 3263713"/>
                  <a:gd name="connsiteY7" fmla="*/ 3749449 h 3947335"/>
                  <a:gd name="connsiteX8" fmla="*/ 1774433 w 3263713"/>
                  <a:gd name="connsiteY8" fmla="*/ 3900629 h 394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3713" h="3947335">
                    <a:moveTo>
                      <a:pt x="1774433" y="3900552"/>
                    </a:moveTo>
                    <a:cubicBezTo>
                      <a:pt x="2137188" y="4044635"/>
                      <a:pt x="2810169" y="3838151"/>
                      <a:pt x="3073192" y="3523836"/>
                    </a:cubicBezTo>
                    <a:cubicBezTo>
                      <a:pt x="3345701" y="3197643"/>
                      <a:pt x="3278210" y="2562533"/>
                      <a:pt x="3163745" y="2161907"/>
                    </a:cubicBezTo>
                    <a:cubicBezTo>
                      <a:pt x="3049975" y="1763902"/>
                      <a:pt x="3087538" y="939895"/>
                      <a:pt x="2772683" y="678262"/>
                    </a:cubicBezTo>
                    <a:cubicBezTo>
                      <a:pt x="2445641" y="406524"/>
                      <a:pt x="1896534" y="-38994"/>
                      <a:pt x="1482563" y="2735"/>
                    </a:cubicBezTo>
                    <a:cubicBezTo>
                      <a:pt x="1068593" y="44463"/>
                      <a:pt x="835884" y="968666"/>
                      <a:pt x="600012" y="1249583"/>
                    </a:cubicBezTo>
                    <a:cubicBezTo>
                      <a:pt x="44118" y="1911380"/>
                      <a:pt x="-46590" y="2150260"/>
                      <a:pt x="17970" y="2555437"/>
                    </a:cubicBezTo>
                    <a:cubicBezTo>
                      <a:pt x="82530" y="2960460"/>
                      <a:pt x="-80606" y="3488355"/>
                      <a:pt x="234558" y="3749449"/>
                    </a:cubicBezTo>
                    <a:cubicBezTo>
                      <a:pt x="558206" y="4017716"/>
                      <a:pt x="1283870" y="3705792"/>
                      <a:pt x="1774433" y="39006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46" name="Freeform: Shape 1045">
                <a:extLst>
                  <a:ext uri="{FF2B5EF4-FFF2-40B4-BE49-F238E27FC236}">
                    <a16:creationId xmlns:a16="http://schemas.microsoft.com/office/drawing/2014/main" id="{F309310C-C630-9F8A-3246-F3CBCCF3763A}"/>
                  </a:ext>
                </a:extLst>
              </p:cNvPr>
              <p:cNvSpPr/>
              <p:nvPr/>
            </p:nvSpPr>
            <p:spPr>
              <a:xfrm>
                <a:off x="4316854" y="2091550"/>
                <a:ext cx="3371549" cy="3814147"/>
              </a:xfrm>
              <a:custGeom>
                <a:avLst/>
                <a:gdLst>
                  <a:gd name="connsiteX0" fmla="*/ 1816709 w 3371549"/>
                  <a:gd name="connsiteY0" fmla="*/ 3727016 h 3814147"/>
                  <a:gd name="connsiteX1" fmla="*/ 3207564 w 3371549"/>
                  <a:gd name="connsiteY1" fmla="*/ 3467928 h 3814147"/>
                  <a:gd name="connsiteX2" fmla="*/ 3237568 w 3371549"/>
                  <a:gd name="connsiteY2" fmla="*/ 2079156 h 3814147"/>
                  <a:gd name="connsiteX3" fmla="*/ 2871960 w 3371549"/>
                  <a:gd name="connsiteY3" fmla="*/ 575071 h 3814147"/>
                  <a:gd name="connsiteX4" fmla="*/ 1473006 w 3371549"/>
                  <a:gd name="connsiteY4" fmla="*/ 4984 h 3814147"/>
                  <a:gd name="connsiteX5" fmla="*/ 669824 w 3371549"/>
                  <a:gd name="connsiteY5" fmla="*/ 1191668 h 3814147"/>
                  <a:gd name="connsiteX6" fmla="*/ 11883 w 3371549"/>
                  <a:gd name="connsiteY6" fmla="*/ 2529996 h 3814147"/>
                  <a:gd name="connsiteX7" fmla="*/ 247369 w 3371549"/>
                  <a:gd name="connsiteY7" fmla="*/ 3730178 h 3814147"/>
                  <a:gd name="connsiteX8" fmla="*/ 1816709 w 3371549"/>
                  <a:gd name="connsiteY8" fmla="*/ 3727016 h 3814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1549" h="3814147">
                    <a:moveTo>
                      <a:pt x="1816709" y="3727016"/>
                    </a:moveTo>
                    <a:cubicBezTo>
                      <a:pt x="2160874" y="3886063"/>
                      <a:pt x="2948707" y="3777615"/>
                      <a:pt x="3207564" y="3467928"/>
                    </a:cubicBezTo>
                    <a:cubicBezTo>
                      <a:pt x="3487786" y="3132092"/>
                      <a:pt x="3347173" y="2488190"/>
                      <a:pt x="3237568" y="2079156"/>
                    </a:cubicBezTo>
                    <a:cubicBezTo>
                      <a:pt x="3133902" y="1692567"/>
                      <a:pt x="3181416" y="832231"/>
                      <a:pt x="2871960" y="575071"/>
                    </a:cubicBezTo>
                    <a:cubicBezTo>
                      <a:pt x="2534890" y="295002"/>
                      <a:pt x="1893533" y="-45307"/>
                      <a:pt x="1473006" y="4984"/>
                    </a:cubicBezTo>
                    <a:cubicBezTo>
                      <a:pt x="1080710" y="51880"/>
                      <a:pt x="876308" y="895248"/>
                      <a:pt x="669824" y="1191668"/>
                    </a:cubicBezTo>
                    <a:cubicBezTo>
                      <a:pt x="170313" y="1908693"/>
                      <a:pt x="-56379" y="2122427"/>
                      <a:pt x="11883" y="2529996"/>
                    </a:cubicBezTo>
                    <a:cubicBezTo>
                      <a:pt x="80145" y="2937564"/>
                      <a:pt x="-62010" y="3473713"/>
                      <a:pt x="247369" y="3730178"/>
                    </a:cubicBezTo>
                    <a:cubicBezTo>
                      <a:pt x="580505" y="4006544"/>
                      <a:pt x="1307942" y="3491916"/>
                      <a:pt x="1816709" y="37270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47" name="Freeform: Shape 1046">
                <a:extLst>
                  <a:ext uri="{FF2B5EF4-FFF2-40B4-BE49-F238E27FC236}">
                    <a16:creationId xmlns:a16="http://schemas.microsoft.com/office/drawing/2014/main" id="{7A2E81AD-B45E-F2B2-702C-1663B569CD86}"/>
                  </a:ext>
                </a:extLst>
              </p:cNvPr>
              <p:cNvSpPr/>
              <p:nvPr/>
            </p:nvSpPr>
            <p:spPr>
              <a:xfrm>
                <a:off x="4254170" y="2165535"/>
                <a:ext cx="3489733" cy="3780696"/>
              </a:xfrm>
              <a:custGeom>
                <a:avLst/>
                <a:gdLst>
                  <a:gd name="connsiteX0" fmla="*/ 1862424 w 3489733"/>
                  <a:gd name="connsiteY0" fmla="*/ 3555381 h 3780696"/>
                  <a:gd name="connsiteX1" fmla="*/ 3345298 w 3489733"/>
                  <a:gd name="connsiteY1" fmla="*/ 3413920 h 3780696"/>
                  <a:gd name="connsiteX2" fmla="*/ 3314677 w 3489733"/>
                  <a:gd name="connsiteY2" fmla="*/ 1998383 h 3780696"/>
                  <a:gd name="connsiteX3" fmla="*/ 2974599 w 3489733"/>
                  <a:gd name="connsiteY3" fmla="*/ 473858 h 3780696"/>
                  <a:gd name="connsiteX4" fmla="*/ 1466734 w 3489733"/>
                  <a:gd name="connsiteY4" fmla="*/ 9211 h 3780696"/>
                  <a:gd name="connsiteX5" fmla="*/ 742922 w 3489733"/>
                  <a:gd name="connsiteY5" fmla="*/ 1135733 h 3780696"/>
                  <a:gd name="connsiteX6" fmla="*/ 9159 w 3489733"/>
                  <a:gd name="connsiteY6" fmla="*/ 2506532 h 3780696"/>
                  <a:gd name="connsiteX7" fmla="*/ 263620 w 3489733"/>
                  <a:gd name="connsiteY7" fmla="*/ 3712886 h 3780696"/>
                  <a:gd name="connsiteX8" fmla="*/ 1862424 w 3489733"/>
                  <a:gd name="connsiteY8" fmla="*/ 3555381 h 3780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9733" h="3780696">
                    <a:moveTo>
                      <a:pt x="1862424" y="3555381"/>
                    </a:moveTo>
                    <a:cubicBezTo>
                      <a:pt x="2188927" y="3728158"/>
                      <a:pt x="3090761" y="3718902"/>
                      <a:pt x="3345298" y="3413920"/>
                    </a:cubicBezTo>
                    <a:cubicBezTo>
                      <a:pt x="3633311" y="3068443"/>
                      <a:pt x="3419114" y="2415825"/>
                      <a:pt x="3314677" y="1998383"/>
                    </a:cubicBezTo>
                    <a:cubicBezTo>
                      <a:pt x="3220807" y="1623210"/>
                      <a:pt x="3278656" y="726467"/>
                      <a:pt x="2974599" y="473858"/>
                    </a:cubicBezTo>
                    <a:cubicBezTo>
                      <a:pt x="2627580" y="185459"/>
                      <a:pt x="1893894" y="-50104"/>
                      <a:pt x="1466734" y="9211"/>
                    </a:cubicBezTo>
                    <a:cubicBezTo>
                      <a:pt x="1088321" y="61816"/>
                      <a:pt x="920789" y="824040"/>
                      <a:pt x="742922" y="1135733"/>
                    </a:cubicBezTo>
                    <a:cubicBezTo>
                      <a:pt x="301800" y="1908755"/>
                      <a:pt x="-63037" y="2096496"/>
                      <a:pt x="9159" y="2506532"/>
                    </a:cubicBezTo>
                    <a:cubicBezTo>
                      <a:pt x="75802" y="2884945"/>
                      <a:pt x="-40051" y="3461048"/>
                      <a:pt x="263620" y="3712886"/>
                    </a:cubicBezTo>
                    <a:cubicBezTo>
                      <a:pt x="606320" y="3997273"/>
                      <a:pt x="1337228" y="3277473"/>
                      <a:pt x="1862424" y="355538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48" name="Freeform: Shape 1047">
                <a:extLst>
                  <a:ext uri="{FF2B5EF4-FFF2-40B4-BE49-F238E27FC236}">
                    <a16:creationId xmlns:a16="http://schemas.microsoft.com/office/drawing/2014/main" id="{BB86796E-C3A7-E395-5F41-65CBBA6B0903}"/>
                  </a:ext>
                </a:extLst>
              </p:cNvPr>
              <p:cNvSpPr/>
              <p:nvPr/>
            </p:nvSpPr>
            <p:spPr>
              <a:xfrm>
                <a:off x="4190357" y="2234963"/>
                <a:ext cx="3614123" cy="3758010"/>
              </a:xfrm>
              <a:custGeom>
                <a:avLst/>
                <a:gdLst>
                  <a:gd name="connsiteX0" fmla="*/ 1909345 w 3614123"/>
                  <a:gd name="connsiteY0" fmla="*/ 3388303 h 3758010"/>
                  <a:gd name="connsiteX1" fmla="*/ 3484238 w 3614123"/>
                  <a:gd name="connsiteY1" fmla="*/ 3364469 h 3758010"/>
                  <a:gd name="connsiteX2" fmla="*/ 3393067 w 3614123"/>
                  <a:gd name="connsiteY2" fmla="*/ 1922090 h 3758010"/>
                  <a:gd name="connsiteX3" fmla="*/ 3078443 w 3614123"/>
                  <a:gd name="connsiteY3" fmla="*/ 377125 h 3758010"/>
                  <a:gd name="connsiteX4" fmla="*/ 1461744 w 3614123"/>
                  <a:gd name="connsiteY4" fmla="*/ 17919 h 3758010"/>
                  <a:gd name="connsiteX5" fmla="*/ 817301 w 3614123"/>
                  <a:gd name="connsiteY5" fmla="*/ 1084276 h 3758010"/>
                  <a:gd name="connsiteX6" fmla="*/ 7718 w 3614123"/>
                  <a:gd name="connsiteY6" fmla="*/ 2487549 h 3758010"/>
                  <a:gd name="connsiteX7" fmla="*/ 281153 w 3614123"/>
                  <a:gd name="connsiteY7" fmla="*/ 3700150 h 3758010"/>
                  <a:gd name="connsiteX8" fmla="*/ 1909345 w 3614123"/>
                  <a:gd name="connsiteY8" fmla="*/ 3388303 h 3758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14123" h="3758010">
                    <a:moveTo>
                      <a:pt x="1909345" y="3388303"/>
                    </a:moveTo>
                    <a:cubicBezTo>
                      <a:pt x="2219418" y="3574116"/>
                      <a:pt x="3233943" y="3664824"/>
                      <a:pt x="3484238" y="3364469"/>
                    </a:cubicBezTo>
                    <a:cubicBezTo>
                      <a:pt x="3779964" y="3009351"/>
                      <a:pt x="3491874" y="2348094"/>
                      <a:pt x="3393067" y="1922090"/>
                    </a:cubicBezTo>
                    <a:cubicBezTo>
                      <a:pt x="3308684" y="1558333"/>
                      <a:pt x="3377101" y="625260"/>
                      <a:pt x="3078443" y="377125"/>
                    </a:cubicBezTo>
                    <a:cubicBezTo>
                      <a:pt x="2721397" y="80473"/>
                      <a:pt x="1895307" y="-50884"/>
                      <a:pt x="1461744" y="17919"/>
                    </a:cubicBezTo>
                    <a:cubicBezTo>
                      <a:pt x="1097138" y="75845"/>
                      <a:pt x="967324" y="757388"/>
                      <a:pt x="817301" y="1084276"/>
                    </a:cubicBezTo>
                    <a:cubicBezTo>
                      <a:pt x="436652" y="1913683"/>
                      <a:pt x="-68566" y="2075121"/>
                      <a:pt x="7718" y="2487549"/>
                    </a:cubicBezTo>
                    <a:cubicBezTo>
                      <a:pt x="75286" y="2852695"/>
                      <a:pt x="-16810" y="3452863"/>
                      <a:pt x="281153" y="3700150"/>
                    </a:cubicBezTo>
                    <a:cubicBezTo>
                      <a:pt x="633340" y="3992560"/>
                      <a:pt x="1370034" y="3065041"/>
                      <a:pt x="1909345" y="3388303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49" name="Freeform: Shape 1048">
                <a:extLst>
                  <a:ext uri="{FF2B5EF4-FFF2-40B4-BE49-F238E27FC236}">
                    <a16:creationId xmlns:a16="http://schemas.microsoft.com/office/drawing/2014/main" id="{55694A15-26C9-D52C-683D-44FCB160EEBE}"/>
                  </a:ext>
                </a:extLst>
              </p:cNvPr>
              <p:cNvSpPr/>
              <p:nvPr/>
            </p:nvSpPr>
            <p:spPr>
              <a:xfrm>
                <a:off x="4125770" y="2293347"/>
                <a:ext cx="3742715" cy="3749606"/>
              </a:xfrm>
              <a:custGeom>
                <a:avLst/>
                <a:gdLst>
                  <a:gd name="connsiteX0" fmla="*/ 1956963 w 3742715"/>
                  <a:gd name="connsiteY0" fmla="*/ 3232269 h 3749606"/>
                  <a:gd name="connsiteX1" fmla="*/ 3623876 w 3742715"/>
                  <a:gd name="connsiteY1" fmla="*/ 3326063 h 3749606"/>
                  <a:gd name="connsiteX2" fmla="*/ 3472155 w 3742715"/>
                  <a:gd name="connsiteY2" fmla="*/ 1856842 h 3749606"/>
                  <a:gd name="connsiteX3" fmla="*/ 3183063 w 3742715"/>
                  <a:gd name="connsiteY3" fmla="*/ 291359 h 3749606"/>
                  <a:gd name="connsiteX4" fmla="*/ 1457529 w 3742715"/>
                  <a:gd name="connsiteY4" fmla="*/ 37593 h 3749606"/>
                  <a:gd name="connsiteX5" fmla="*/ 892456 w 3742715"/>
                  <a:gd name="connsiteY5" fmla="*/ 1043864 h 3749606"/>
                  <a:gd name="connsiteX6" fmla="*/ 6974 w 3742715"/>
                  <a:gd name="connsiteY6" fmla="*/ 2479687 h 3749606"/>
                  <a:gd name="connsiteX7" fmla="*/ 299306 w 3742715"/>
                  <a:gd name="connsiteY7" fmla="*/ 3698459 h 3749606"/>
                  <a:gd name="connsiteX8" fmla="*/ 1956963 w 3742715"/>
                  <a:gd name="connsiteY8" fmla="*/ 3232269 h 3749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42715" h="3749606">
                    <a:moveTo>
                      <a:pt x="1956963" y="3232269"/>
                    </a:moveTo>
                    <a:cubicBezTo>
                      <a:pt x="2251687" y="3430655"/>
                      <a:pt x="3377822" y="3621712"/>
                      <a:pt x="3623876" y="3326063"/>
                    </a:cubicBezTo>
                    <a:cubicBezTo>
                      <a:pt x="3927315" y="2961226"/>
                      <a:pt x="3564869" y="2291484"/>
                      <a:pt x="3472155" y="1856842"/>
                    </a:cubicBezTo>
                    <a:cubicBezTo>
                      <a:pt x="3397028" y="1504577"/>
                      <a:pt x="3476244" y="535021"/>
                      <a:pt x="3183063" y="291359"/>
                    </a:cubicBezTo>
                    <a:cubicBezTo>
                      <a:pt x="2815989" y="-13623"/>
                      <a:pt x="1897339" y="-41237"/>
                      <a:pt x="1457529" y="37593"/>
                    </a:cubicBezTo>
                    <a:cubicBezTo>
                      <a:pt x="1106653" y="100533"/>
                      <a:pt x="1015405" y="701550"/>
                      <a:pt x="892456" y="1043864"/>
                    </a:cubicBezTo>
                    <a:cubicBezTo>
                      <a:pt x="574361" y="1929346"/>
                      <a:pt x="-74247" y="2064945"/>
                      <a:pt x="6974" y="2479687"/>
                    </a:cubicBezTo>
                    <a:cubicBezTo>
                      <a:pt x="74696" y="2831643"/>
                      <a:pt x="7128" y="3455800"/>
                      <a:pt x="299306" y="3698459"/>
                    </a:cubicBezTo>
                    <a:cubicBezTo>
                      <a:pt x="661058" y="3998967"/>
                      <a:pt x="1405928" y="2861262"/>
                      <a:pt x="1956963" y="323226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50" name="Freeform: Shape 1049">
                <a:extLst>
                  <a:ext uri="{FF2B5EF4-FFF2-40B4-BE49-F238E27FC236}">
                    <a16:creationId xmlns:a16="http://schemas.microsoft.com/office/drawing/2014/main" id="{B49F6621-A044-8444-8C17-F5922D317D75}"/>
                  </a:ext>
                </a:extLst>
              </p:cNvPr>
              <p:cNvSpPr/>
              <p:nvPr/>
            </p:nvSpPr>
            <p:spPr>
              <a:xfrm>
                <a:off x="4061078" y="2330966"/>
                <a:ext cx="3873961" cy="3763840"/>
              </a:xfrm>
              <a:custGeom>
                <a:avLst/>
                <a:gdLst>
                  <a:gd name="connsiteX0" fmla="*/ 3763695 w 3873961"/>
                  <a:gd name="connsiteY0" fmla="*/ 3308421 h 3763840"/>
                  <a:gd name="connsiteX1" fmla="*/ 3551425 w 3873961"/>
                  <a:gd name="connsiteY1" fmla="*/ 1812358 h 3763840"/>
                  <a:gd name="connsiteX2" fmla="*/ 3287786 w 3873961"/>
                  <a:gd name="connsiteY2" fmla="*/ 226435 h 3763840"/>
                  <a:gd name="connsiteX3" fmla="*/ 1453342 w 3873961"/>
                  <a:gd name="connsiteY3" fmla="*/ 78186 h 3763840"/>
                  <a:gd name="connsiteX4" fmla="*/ 967638 w 3873961"/>
                  <a:gd name="connsiteY4" fmla="*/ 1024294 h 3763840"/>
                  <a:gd name="connsiteX5" fmla="*/ 6334 w 3873961"/>
                  <a:gd name="connsiteY5" fmla="*/ 2492590 h 3763840"/>
                  <a:gd name="connsiteX6" fmla="*/ 317642 w 3873961"/>
                  <a:gd name="connsiteY6" fmla="*/ 3717532 h 3763840"/>
                  <a:gd name="connsiteX7" fmla="*/ 2004763 w 3873961"/>
                  <a:gd name="connsiteY7" fmla="*/ 3096923 h 3763840"/>
                  <a:gd name="connsiteX8" fmla="*/ 3763772 w 3873961"/>
                  <a:gd name="connsiteY8" fmla="*/ 3308421 h 3763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73961" h="3763840">
                    <a:moveTo>
                      <a:pt x="3763695" y="3308421"/>
                    </a:moveTo>
                    <a:cubicBezTo>
                      <a:pt x="4074847" y="2933942"/>
                      <a:pt x="3637583" y="2255716"/>
                      <a:pt x="3551425" y="1812358"/>
                    </a:cubicBezTo>
                    <a:cubicBezTo>
                      <a:pt x="3485169" y="1471586"/>
                      <a:pt x="3575568" y="465623"/>
                      <a:pt x="3287786" y="226435"/>
                    </a:cubicBezTo>
                    <a:cubicBezTo>
                      <a:pt x="2910685" y="-86878"/>
                      <a:pt x="1899323" y="-11288"/>
                      <a:pt x="1453342" y="78186"/>
                    </a:cubicBezTo>
                    <a:cubicBezTo>
                      <a:pt x="1116041" y="145831"/>
                      <a:pt x="1064131" y="666245"/>
                      <a:pt x="967638" y="1024294"/>
                    </a:cubicBezTo>
                    <a:cubicBezTo>
                      <a:pt x="714026" y="1965311"/>
                      <a:pt x="-78589" y="2075380"/>
                      <a:pt x="6334" y="2492590"/>
                    </a:cubicBezTo>
                    <a:cubicBezTo>
                      <a:pt x="75291" y="2831202"/>
                      <a:pt x="31094" y="3479501"/>
                      <a:pt x="317642" y="3717532"/>
                    </a:cubicBezTo>
                    <a:cubicBezTo>
                      <a:pt x="688958" y="4026062"/>
                      <a:pt x="1444780" y="2676242"/>
                      <a:pt x="2004763" y="3096923"/>
                    </a:cubicBezTo>
                    <a:cubicBezTo>
                      <a:pt x="2285294" y="3307727"/>
                      <a:pt x="3521961" y="3599365"/>
                      <a:pt x="3763772" y="330842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</p:grpSp>
      <p:sp>
        <p:nvSpPr>
          <p:cNvPr id="90" name="Rectangle: Rounded Corners 4">
            <a:extLst>
              <a:ext uri="{FF2B5EF4-FFF2-40B4-BE49-F238E27FC236}">
                <a16:creationId xmlns:a16="http://schemas.microsoft.com/office/drawing/2014/main" id="{7D0BAA98-AB3A-0908-465B-5CAC5C6E6C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 rot="10800000">
            <a:off x="7108854" y="1126336"/>
            <a:ext cx="2216415" cy="4897977"/>
          </a:xfrm>
          <a:prstGeom prst="roundRect">
            <a:avLst>
              <a:gd name="adj" fmla="val 11776"/>
            </a:avLst>
          </a:prstGeom>
          <a:solidFill>
            <a:schemeClr val="tx2">
              <a:lumMod val="25000"/>
              <a:lumOff val="75000"/>
              <a:alpha val="2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635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59553ECE-DEF1-74A1-EEC0-9082CB7DB2E6}"/>
              </a:ext>
            </a:extLst>
          </p:cNvPr>
          <p:cNvSpPr txBox="1">
            <a:spLocks/>
          </p:cNvSpPr>
          <p:nvPr/>
        </p:nvSpPr>
        <p:spPr>
          <a:xfrm>
            <a:off x="780620" y="71978"/>
            <a:ext cx="11018520" cy="861774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900" dirty="0">
                <a:solidFill>
                  <a:srgbClr val="8661C5"/>
                </a:solidFill>
              </a:rPr>
              <a:t>Multi-Agent Agentic RAG System</a:t>
            </a:r>
            <a:br>
              <a:rPr lang="en-US" dirty="0"/>
            </a:br>
            <a:r>
              <a:rPr lang="en-US" sz="2000" dirty="0">
                <a:latin typeface="+mn-lt"/>
              </a:rPr>
              <a:t>R+D Intelligent Assistant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6B62DB7-1A0B-B994-96CA-A2D19414BA5C}"/>
              </a:ext>
            </a:extLst>
          </p:cNvPr>
          <p:cNvSpPr/>
          <p:nvPr/>
        </p:nvSpPr>
        <p:spPr>
          <a:xfrm>
            <a:off x="7520877" y="4693467"/>
            <a:ext cx="1363960" cy="824270"/>
          </a:xfrm>
          <a:prstGeom prst="round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190500" dist="38100" dir="2700000" algn="tl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72000" tIns="146304" rIns="18288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endParaRPr kumimoji="0" lang="en-CA" sz="10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F7884CA-5736-6A7D-19F4-58C5F48AA998}"/>
              </a:ext>
            </a:extLst>
          </p:cNvPr>
          <p:cNvGrpSpPr/>
          <p:nvPr/>
        </p:nvGrpSpPr>
        <p:grpSpPr>
          <a:xfrm>
            <a:off x="7525137" y="4468231"/>
            <a:ext cx="1532689" cy="326669"/>
            <a:chOff x="1011594" y="1491259"/>
            <a:chExt cx="2359118" cy="502809"/>
          </a:xfrm>
        </p:grpSpPr>
        <p:sp>
          <p:nvSpPr>
            <p:cNvPr id="7" name="!! purple box">
              <a:extLst>
                <a:ext uri="{FF2B5EF4-FFF2-40B4-BE49-F238E27FC236}">
                  <a16:creationId xmlns:a16="http://schemas.microsoft.com/office/drawing/2014/main" id="{F03965E2-8B30-C4CF-9171-9D645A9EC89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011594" y="1491259"/>
              <a:ext cx="2099411" cy="502809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146304" rIns="18288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2B19067-46C6-39BA-BF52-CE183AE211DF}"/>
                </a:ext>
              </a:extLst>
            </p:cNvPr>
            <p:cNvSpPr txBox="1"/>
            <p:nvPr/>
          </p:nvSpPr>
          <p:spPr>
            <a:xfrm>
              <a:off x="1039006" y="1554482"/>
              <a:ext cx="2331706" cy="40267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 Web Retriever</a:t>
              </a: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218C586-7A69-F559-128F-632B796C0B5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lum bright="70000" contrast="-70000"/>
            </a:blip>
            <a:stretch>
              <a:fillRect/>
            </a:stretch>
          </p:blipFill>
          <p:spPr>
            <a:xfrm>
              <a:off x="1181830" y="1588089"/>
              <a:ext cx="306883" cy="306883"/>
            </a:xfrm>
            <a:prstGeom prst="rect">
              <a:avLst/>
            </a:prstGeom>
          </p:spPr>
        </p:pic>
      </p:grpSp>
      <p:sp>
        <p:nvSpPr>
          <p:cNvPr id="12" name="!! Purple box">
            <a:extLst>
              <a:ext uri="{FF2B5EF4-FFF2-40B4-BE49-F238E27FC236}">
                <a16:creationId xmlns:a16="http://schemas.microsoft.com/office/drawing/2014/main" id="{72D7628D-9CFC-C3DB-AFA5-45D9E5E374C1}"/>
              </a:ext>
            </a:extLst>
          </p:cNvPr>
          <p:cNvSpPr txBox="1"/>
          <p:nvPr/>
        </p:nvSpPr>
        <p:spPr>
          <a:xfrm>
            <a:off x="1748229" y="2881612"/>
            <a:ext cx="1115964" cy="367229"/>
          </a:xfrm>
          <a:prstGeom prst="roundRect">
            <a:avLst>
              <a:gd name="adj" fmla="val 16667"/>
            </a:avLst>
          </a:prstGeom>
          <a:solidFill>
            <a:srgbClr val="8661C5"/>
          </a:solidFill>
          <a:ln w="15875">
            <a:noFill/>
            <a:headEnd type="none" w="med" len="med"/>
            <a:tailEnd type="none" w="med" len="med"/>
          </a:ln>
          <a:effectLst>
            <a:outerShdw blurRad="101600" dist="1270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72000" rIns="179285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14102" fontAlgn="base">
              <a:spcBef>
                <a:spcPct val="0"/>
              </a:spcBef>
              <a:spcAft>
                <a:spcPct val="0"/>
              </a:spcAft>
              <a:defRPr sz="196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1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Sans Text Semibold"/>
                <a:ea typeface="+mn-ea"/>
                <a:cs typeface="Segoe UI" pitchFamily="34" charset="0"/>
              </a:rPr>
              <a:t>Search Query</a:t>
            </a:r>
          </a:p>
        </p:txBody>
      </p:sp>
      <p:sp>
        <p:nvSpPr>
          <p:cNvPr id="16" name="Rectangle: Rounded Corners 2">
            <a:extLst>
              <a:ext uri="{FF2B5EF4-FFF2-40B4-BE49-F238E27FC236}">
                <a16:creationId xmlns:a16="http://schemas.microsoft.com/office/drawing/2014/main" id="{DC16B3BD-C478-1560-E19D-FDAA244F616F}"/>
              </a:ext>
            </a:extLst>
          </p:cNvPr>
          <p:cNvSpPr/>
          <p:nvPr/>
        </p:nvSpPr>
        <p:spPr>
          <a:xfrm>
            <a:off x="7518096" y="1659309"/>
            <a:ext cx="1363960" cy="934116"/>
          </a:xfrm>
          <a:prstGeom prst="round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190500" dist="38100" dir="2700000" algn="tl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72000" tIns="146304" rIns="18288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endParaRPr kumimoji="0" lang="en-CA" sz="10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29B3B1E-8551-2706-9EC8-5224B788BC87}"/>
              </a:ext>
            </a:extLst>
          </p:cNvPr>
          <p:cNvGrpSpPr/>
          <p:nvPr/>
        </p:nvGrpSpPr>
        <p:grpSpPr>
          <a:xfrm>
            <a:off x="7518095" y="1472875"/>
            <a:ext cx="1514880" cy="430887"/>
            <a:chOff x="1011592" y="1429831"/>
            <a:chExt cx="2331706" cy="663221"/>
          </a:xfrm>
        </p:grpSpPr>
        <p:sp>
          <p:nvSpPr>
            <p:cNvPr id="18" name="!! purple box">
              <a:extLst>
                <a:ext uri="{FF2B5EF4-FFF2-40B4-BE49-F238E27FC236}">
                  <a16:creationId xmlns:a16="http://schemas.microsoft.com/office/drawing/2014/main" id="{E4904E14-7455-086C-57D8-818F9E66FA7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011594" y="1491259"/>
              <a:ext cx="2099411" cy="502809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FB9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146304" rIns="18288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E2B987D-0390-68A8-AEB8-67CAB18BF439}"/>
                </a:ext>
              </a:extLst>
            </p:cNvPr>
            <p:cNvSpPr txBox="1"/>
            <p:nvPr/>
          </p:nvSpPr>
          <p:spPr>
            <a:xfrm>
              <a:off x="1011592" y="1429831"/>
              <a:ext cx="2331706" cy="663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SharePoint</a:t>
              </a:r>
            </a:p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Retriever</a:t>
              </a: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658C3ED6-9EEC-2091-FA94-CAA2A12F67F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58103" y="1583577"/>
              <a:ext cx="306883" cy="306883"/>
            </a:xfrm>
            <a:prstGeom prst="rect">
              <a:avLst/>
            </a:prstGeom>
          </p:spPr>
        </p:pic>
      </p:grpSp>
      <p:sp>
        <p:nvSpPr>
          <p:cNvPr id="27" name="Rectangle: Rounded Corners 2">
            <a:extLst>
              <a:ext uri="{FF2B5EF4-FFF2-40B4-BE49-F238E27FC236}">
                <a16:creationId xmlns:a16="http://schemas.microsoft.com/office/drawing/2014/main" id="{465BD105-93B4-9345-132E-614381A271E6}"/>
              </a:ext>
            </a:extLst>
          </p:cNvPr>
          <p:cNvSpPr/>
          <p:nvPr/>
        </p:nvSpPr>
        <p:spPr>
          <a:xfrm>
            <a:off x="4060405" y="4640397"/>
            <a:ext cx="1392282" cy="903804"/>
          </a:xfrm>
          <a:prstGeom prst="round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190500" dist="38100" dir="2700000" algn="tl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72000" tIns="146304" rIns="18288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endParaRPr kumimoji="0" lang="en-CA" sz="10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6696992-E71E-D2C5-0976-58930392924B}"/>
              </a:ext>
            </a:extLst>
          </p:cNvPr>
          <p:cNvGrpSpPr/>
          <p:nvPr/>
        </p:nvGrpSpPr>
        <p:grpSpPr>
          <a:xfrm>
            <a:off x="4061956" y="4631611"/>
            <a:ext cx="1385744" cy="370147"/>
            <a:chOff x="1005474" y="1470457"/>
            <a:chExt cx="2106608" cy="502809"/>
          </a:xfrm>
        </p:grpSpPr>
        <p:sp>
          <p:nvSpPr>
            <p:cNvPr id="29" name="!! purple box">
              <a:extLst>
                <a:ext uri="{FF2B5EF4-FFF2-40B4-BE49-F238E27FC236}">
                  <a16:creationId xmlns:a16="http://schemas.microsoft.com/office/drawing/2014/main" id="{A5E3797A-8F18-EC51-706B-AA012C4484E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005474" y="1470457"/>
              <a:ext cx="2099411" cy="502809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4364C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146304" rIns="18288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B0B7045-FB41-04D6-8330-B89A48FEDC91}"/>
                </a:ext>
              </a:extLst>
            </p:cNvPr>
            <p:cNvSpPr txBox="1"/>
            <p:nvPr/>
          </p:nvSpPr>
          <p:spPr>
            <a:xfrm>
              <a:off x="1039006" y="1554482"/>
              <a:ext cx="2073076" cy="40267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Verifier</a:t>
              </a:r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A28F08BA-F1B7-9844-3E26-081BF3865D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lum bright="70000" contrast="-70000"/>
            </a:blip>
            <a:stretch>
              <a:fillRect/>
            </a:stretch>
          </p:blipFill>
          <p:spPr>
            <a:xfrm>
              <a:off x="1072548" y="1593256"/>
              <a:ext cx="306883" cy="306883"/>
            </a:xfrm>
            <a:prstGeom prst="rect">
              <a:avLst/>
            </a:prstGeom>
          </p:spPr>
        </p:pic>
      </p:grpSp>
      <p:sp>
        <p:nvSpPr>
          <p:cNvPr id="32" name="Round Same Side Corner Rectangle 7178">
            <a:extLst>
              <a:ext uri="{FF2B5EF4-FFF2-40B4-BE49-F238E27FC236}">
                <a16:creationId xmlns:a16="http://schemas.microsoft.com/office/drawing/2014/main" id="{AEF83674-857C-BE98-3F05-C8CD1C7B808B}"/>
              </a:ext>
            </a:extLst>
          </p:cNvPr>
          <p:cNvSpPr/>
          <p:nvPr/>
        </p:nvSpPr>
        <p:spPr bwMode="auto">
          <a:xfrm rot="10800000">
            <a:off x="4068479" y="5511062"/>
            <a:ext cx="743288" cy="300385"/>
          </a:xfrm>
          <a:prstGeom prst="round2SameRect">
            <a:avLst/>
          </a:prstGeom>
          <a:solidFill>
            <a:srgbClr val="9BA0D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3" name="Round Same Side Corner Rectangle 7179">
            <a:extLst>
              <a:ext uri="{FF2B5EF4-FFF2-40B4-BE49-F238E27FC236}">
                <a16:creationId xmlns:a16="http://schemas.microsoft.com/office/drawing/2014/main" id="{FFDF19DA-283A-384F-A3A5-3B084581518D}"/>
              </a:ext>
            </a:extLst>
          </p:cNvPr>
          <p:cNvSpPr/>
          <p:nvPr/>
        </p:nvSpPr>
        <p:spPr bwMode="auto">
          <a:xfrm rot="10800000">
            <a:off x="4709399" y="5511062"/>
            <a:ext cx="743288" cy="300385"/>
          </a:xfrm>
          <a:prstGeom prst="round2SameRect">
            <a:avLst/>
          </a:prstGeom>
          <a:solidFill>
            <a:srgbClr val="C1DDE9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DDC0F56-C261-ECA5-DF50-5B5E0C557CFE}"/>
              </a:ext>
            </a:extLst>
          </p:cNvPr>
          <p:cNvSpPr txBox="1"/>
          <p:nvPr/>
        </p:nvSpPr>
        <p:spPr>
          <a:xfrm>
            <a:off x="4096800" y="5544202"/>
            <a:ext cx="71496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mory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643F23-25DD-0382-19BB-65B33DB5708A}"/>
              </a:ext>
            </a:extLst>
          </p:cNvPr>
          <p:cNvSpPr txBox="1"/>
          <p:nvPr/>
        </p:nvSpPr>
        <p:spPr>
          <a:xfrm>
            <a:off x="4709398" y="5544201"/>
            <a:ext cx="72244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oughts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D97586FA-F3AF-D5AB-211D-C0609178F8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04161" y="5479763"/>
            <a:ext cx="1011299" cy="49258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190500" dist="38100" dir="2700000" algn="tl" rotWithShape="0">
              <a:schemeClr val="tx1">
                <a:alpha val="20000"/>
              </a:schemeClr>
            </a:outerShdw>
          </a:effectLst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5B3834D7-DDEF-0F68-BC73-01501665143A}"/>
              </a:ext>
            </a:extLst>
          </p:cNvPr>
          <p:cNvSpPr txBox="1"/>
          <p:nvPr/>
        </p:nvSpPr>
        <p:spPr>
          <a:xfrm>
            <a:off x="10645454" y="5979573"/>
            <a:ext cx="5958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ea typeface="+mn-ea"/>
                <a:cs typeface="+mn-cs"/>
              </a:rPr>
              <a:t>Page 1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A386022-3505-2824-3EBE-4F8EB7B31CA4}"/>
              </a:ext>
            </a:extLst>
          </p:cNvPr>
          <p:cNvSpPr txBox="1"/>
          <p:nvPr/>
        </p:nvSpPr>
        <p:spPr>
          <a:xfrm>
            <a:off x="10580194" y="5194315"/>
            <a:ext cx="62884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ea typeface="+mn-ea"/>
                <a:cs typeface="+mn-cs"/>
              </a:rPr>
              <a:t>Page 2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cxnSp>
        <p:nvCxnSpPr>
          <p:cNvPr id="45" name="Elbow Connector 7200">
            <a:extLst>
              <a:ext uri="{FF2B5EF4-FFF2-40B4-BE49-F238E27FC236}">
                <a16:creationId xmlns:a16="http://schemas.microsoft.com/office/drawing/2014/main" id="{ABCAFD4F-5269-9C3A-C413-C3AC36C5DDA3}"/>
              </a:ext>
            </a:extLst>
          </p:cNvPr>
          <p:cNvCxnSpPr>
            <a:cxnSpLocks/>
          </p:cNvCxnSpPr>
          <p:nvPr/>
        </p:nvCxnSpPr>
        <p:spPr>
          <a:xfrm>
            <a:off x="2958059" y="3065226"/>
            <a:ext cx="1049407" cy="171597"/>
          </a:xfrm>
          <a:prstGeom prst="bentConnector3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none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Picture 4" descr="Bing Search logo">
            <a:extLst>
              <a:ext uri="{FF2B5EF4-FFF2-40B4-BE49-F238E27FC236}">
                <a16:creationId xmlns:a16="http://schemas.microsoft.com/office/drawing/2014/main" id="{607796D2-F37C-B9D1-B2F9-61A74D31D3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0030" y="4980257"/>
            <a:ext cx="243262" cy="367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A565F585-BC32-4968-EE9B-598CB78D44FF}"/>
              </a:ext>
            </a:extLst>
          </p:cNvPr>
          <p:cNvSpPr txBox="1"/>
          <p:nvPr/>
        </p:nvSpPr>
        <p:spPr>
          <a:xfrm>
            <a:off x="8241270" y="1990544"/>
            <a:ext cx="743289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zure AI Agent Service</a:t>
            </a:r>
          </a:p>
        </p:txBody>
      </p:sp>
      <p:pic>
        <p:nvPicPr>
          <p:cNvPr id="62" name="Picture 61" descr="A colorful hexagon with stars&#10;&#10;Description automatically generated">
            <a:extLst>
              <a:ext uri="{FF2B5EF4-FFF2-40B4-BE49-F238E27FC236}">
                <a16:creationId xmlns:a16="http://schemas.microsoft.com/office/drawing/2014/main" id="{9050BB70-A182-CD1C-887A-765968C9C15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5837" y="1992529"/>
            <a:ext cx="459568" cy="459568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393645A2-4805-9579-1B15-7AF1F0E06813}"/>
              </a:ext>
            </a:extLst>
          </p:cNvPr>
          <p:cNvSpPr txBox="1"/>
          <p:nvPr/>
        </p:nvSpPr>
        <p:spPr>
          <a:xfrm>
            <a:off x="4603442" y="5003576"/>
            <a:ext cx="743289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zure OpenAI Agent</a:t>
            </a:r>
          </a:p>
        </p:txBody>
      </p:sp>
      <p:pic>
        <p:nvPicPr>
          <p:cNvPr id="65" name="Picture 64" descr="A colorful hexagon with stars&#10;&#10;Description automatically generated">
            <a:extLst>
              <a:ext uri="{FF2B5EF4-FFF2-40B4-BE49-F238E27FC236}">
                <a16:creationId xmlns:a16="http://schemas.microsoft.com/office/drawing/2014/main" id="{FCF14561-4485-5875-FD9F-7BA0CFE524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517" y="4945682"/>
            <a:ext cx="459568" cy="459568"/>
          </a:xfrm>
          <a:prstGeom prst="rect">
            <a:avLst/>
          </a:prstGeo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A850BAC6-1FBD-3FEE-EC81-727F5ED204CA}"/>
              </a:ext>
            </a:extLst>
          </p:cNvPr>
          <p:cNvSpPr txBox="1"/>
          <p:nvPr/>
        </p:nvSpPr>
        <p:spPr>
          <a:xfrm>
            <a:off x="8289686" y="4904465"/>
            <a:ext cx="743289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zure AI Agent Service</a:t>
            </a:r>
          </a:p>
        </p:txBody>
      </p:sp>
      <p:sp>
        <p:nvSpPr>
          <p:cNvPr id="76" name="Rectangle: Rounded Corners 2">
            <a:extLst>
              <a:ext uri="{FF2B5EF4-FFF2-40B4-BE49-F238E27FC236}">
                <a16:creationId xmlns:a16="http://schemas.microsoft.com/office/drawing/2014/main" id="{E2ABFE96-5C47-D045-78F3-E37B400D6EF4}"/>
              </a:ext>
            </a:extLst>
          </p:cNvPr>
          <p:cNvSpPr/>
          <p:nvPr/>
        </p:nvSpPr>
        <p:spPr>
          <a:xfrm>
            <a:off x="7515837" y="3242334"/>
            <a:ext cx="1363960" cy="824270"/>
          </a:xfrm>
          <a:prstGeom prst="round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190500" dist="38100" dir="2700000" algn="tl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72000" tIns="146304" rIns="18288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endParaRPr kumimoji="0" lang="en-CA" sz="10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650616E-B0C2-B4F3-50E1-1CB9407CA0E7}"/>
              </a:ext>
            </a:extLst>
          </p:cNvPr>
          <p:cNvGrpSpPr/>
          <p:nvPr/>
        </p:nvGrpSpPr>
        <p:grpSpPr>
          <a:xfrm>
            <a:off x="7515836" y="2998234"/>
            <a:ext cx="1363961" cy="387921"/>
            <a:chOff x="1057232" y="1455237"/>
            <a:chExt cx="2075528" cy="679527"/>
          </a:xfrm>
        </p:grpSpPr>
        <p:sp>
          <p:nvSpPr>
            <p:cNvPr id="78" name="!! purple box">
              <a:extLst>
                <a:ext uri="{FF2B5EF4-FFF2-40B4-BE49-F238E27FC236}">
                  <a16:creationId xmlns:a16="http://schemas.microsoft.com/office/drawing/2014/main" id="{339AC790-ABDF-1EFE-CE99-09BB697A4C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057232" y="1455237"/>
              <a:ext cx="2075528" cy="67952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>
                <a:lumMod val="7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146304" rIns="18288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lang="en-US" sz="1100" kern="0" dirty="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lang="en-US" sz="1100" kern="0" dirty="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Fabric </a:t>
              </a:r>
            </a:p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 Retriever </a:t>
              </a:r>
            </a:p>
          </p:txBody>
        </p:sp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09D7114B-FF01-424A-511D-2B1246AEE04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lum bright="70000" contrast="-70000"/>
            </a:blip>
            <a:stretch>
              <a:fillRect/>
            </a:stretch>
          </p:blipFill>
          <p:spPr>
            <a:xfrm>
              <a:off x="1100240" y="1588089"/>
              <a:ext cx="306883" cy="306883"/>
            </a:xfrm>
            <a:prstGeom prst="rect">
              <a:avLst/>
            </a:prstGeom>
          </p:spPr>
        </p:pic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BD409178-028F-351D-5585-453919B2D5BD}"/>
              </a:ext>
            </a:extLst>
          </p:cNvPr>
          <p:cNvSpPr txBox="1"/>
          <p:nvPr/>
        </p:nvSpPr>
        <p:spPr>
          <a:xfrm>
            <a:off x="8284647" y="3491596"/>
            <a:ext cx="743289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Azure AI Ag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rvice</a:t>
            </a:r>
            <a:endParaRPr kumimoji="0" lang="en-US" sz="9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82" name="Picture 81" descr="A colorful hexagon with stars&#10;&#10;Description automatically generated">
            <a:extLst>
              <a:ext uri="{FF2B5EF4-FFF2-40B4-BE49-F238E27FC236}">
                <a16:creationId xmlns:a16="http://schemas.microsoft.com/office/drawing/2014/main" id="{EAF02FB8-47BF-D110-B59A-A53BF4CD972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1710" y="3497127"/>
            <a:ext cx="459568" cy="459568"/>
          </a:xfrm>
          <a:prstGeom prst="rect">
            <a:avLst/>
          </a:prstGeom>
        </p:spPr>
      </p:pic>
      <p:sp>
        <p:nvSpPr>
          <p:cNvPr id="83" name="Rectangle: Rounded Corners 2">
            <a:extLst>
              <a:ext uri="{FF2B5EF4-FFF2-40B4-BE49-F238E27FC236}">
                <a16:creationId xmlns:a16="http://schemas.microsoft.com/office/drawing/2014/main" id="{E76635AD-64A9-C03D-0787-CFEAF006A3A7}"/>
              </a:ext>
            </a:extLst>
          </p:cNvPr>
          <p:cNvSpPr/>
          <p:nvPr/>
        </p:nvSpPr>
        <p:spPr>
          <a:xfrm>
            <a:off x="4092085" y="2804141"/>
            <a:ext cx="1363960" cy="824270"/>
          </a:xfrm>
          <a:prstGeom prst="roundRect">
            <a:avLst/>
          </a:prstGeom>
          <a:solidFill>
            <a:srgbClr val="FFFFFF"/>
          </a:solidFill>
          <a:ln w="9525" cap="flat" cmpd="sng" algn="ctr">
            <a:solidFill>
              <a:schemeClr val="tx2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90500" dist="38100" dir="2700000" algn="tl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72000" tIns="146304" rIns="18288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endParaRPr kumimoji="0" lang="en-CA" sz="10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240B0F4-F938-67CF-B264-99C216D52E98}"/>
              </a:ext>
            </a:extLst>
          </p:cNvPr>
          <p:cNvSpPr txBox="1"/>
          <p:nvPr/>
        </p:nvSpPr>
        <p:spPr>
          <a:xfrm>
            <a:off x="4490566" y="2814970"/>
            <a:ext cx="74479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lanner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1070013E-CDE5-0851-8812-6821F5F82E68}"/>
              </a:ext>
            </a:extLst>
          </p:cNvPr>
          <p:cNvSpPr txBox="1"/>
          <p:nvPr/>
        </p:nvSpPr>
        <p:spPr>
          <a:xfrm>
            <a:off x="4684296" y="3008067"/>
            <a:ext cx="865771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900" b="1" kern="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OpenAI Agent</a:t>
            </a:r>
          </a:p>
        </p:txBody>
      </p:sp>
      <p:pic>
        <p:nvPicPr>
          <p:cNvPr id="1026" name="Picture 2" descr="Download Microsoft SharePoint Logo in SVG Vector or PNG File Format ...">
            <a:extLst>
              <a:ext uri="{FF2B5EF4-FFF2-40B4-BE49-F238E27FC236}">
                <a16:creationId xmlns:a16="http://schemas.microsoft.com/office/drawing/2014/main" id="{892D84D7-AFA8-D2DF-7989-14210FCB3D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8881" y="1963740"/>
            <a:ext cx="833021" cy="555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E26513FA-738B-7609-6054-38B3C7ABD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11278" y="3564100"/>
            <a:ext cx="325924" cy="357395"/>
          </a:xfrm>
          <a:prstGeom prst="rect">
            <a:avLst/>
          </a:prstGeom>
        </p:spPr>
      </p:pic>
      <p:pic>
        <p:nvPicPr>
          <p:cNvPr id="95" name="Picture Placeholder 23" descr="Profile image of maker.">
            <a:extLst>
              <a:ext uri="{FF2B5EF4-FFF2-40B4-BE49-F238E27FC236}">
                <a16:creationId xmlns:a16="http://schemas.microsoft.com/office/drawing/2014/main" id="{D1185FE0-BEEB-9698-BCB1-98005A3A3F10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350053" y="3126170"/>
            <a:ext cx="528299" cy="528299"/>
          </a:xfrm>
          <a:prstGeom prst="ellipse">
            <a:avLst/>
          </a:prstGeom>
          <a:ln>
            <a:noFill/>
          </a:ln>
        </p:spPr>
      </p:pic>
      <p:sp>
        <p:nvSpPr>
          <p:cNvPr id="96" name="Text Placeholder 8">
            <a:extLst>
              <a:ext uri="{FF2B5EF4-FFF2-40B4-BE49-F238E27FC236}">
                <a16:creationId xmlns:a16="http://schemas.microsoft.com/office/drawing/2014/main" id="{ADD34B69-52A3-B9C8-E9EB-F5DBFFD896F4}"/>
              </a:ext>
            </a:extLst>
          </p:cNvPr>
          <p:cNvSpPr txBox="1">
            <a:spLocks/>
          </p:cNvSpPr>
          <p:nvPr/>
        </p:nvSpPr>
        <p:spPr>
          <a:xfrm>
            <a:off x="45276" y="3702643"/>
            <a:ext cx="1128224" cy="15388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3pPr>
            <a:lvl4pPr marL="661988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4pPr>
            <a:lvl5pPr marL="855663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A1B45"/>
                </a:solidFill>
                <a:effectLst/>
                <a:uLnTx/>
                <a:uFillTx/>
                <a:latin typeface="Segoe UI Semibold"/>
                <a:ea typeface="+mn-ea"/>
                <a:cs typeface="Segoe UI"/>
              </a:rPr>
              <a:t>Product Manager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A1B45"/>
              </a:solidFill>
              <a:effectLst/>
              <a:uLnTx/>
              <a:uFillTx/>
              <a:latin typeface="Segoe UI Semibold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8A3E2CFD-4623-23D8-7B95-EE6E240672BF}"/>
              </a:ext>
            </a:extLst>
          </p:cNvPr>
          <p:cNvCxnSpPr>
            <a:cxnSpLocks/>
          </p:cNvCxnSpPr>
          <p:nvPr/>
        </p:nvCxnSpPr>
        <p:spPr>
          <a:xfrm>
            <a:off x="4763367" y="3742816"/>
            <a:ext cx="0" cy="752830"/>
          </a:xfrm>
          <a:prstGeom prst="line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arrow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E06B4E42-1B74-623B-43C5-2DA2B498606B}"/>
              </a:ext>
            </a:extLst>
          </p:cNvPr>
          <p:cNvCxnSpPr>
            <a:cxnSpLocks/>
          </p:cNvCxnSpPr>
          <p:nvPr/>
        </p:nvCxnSpPr>
        <p:spPr>
          <a:xfrm>
            <a:off x="5625493" y="3236823"/>
            <a:ext cx="1335222" cy="12018"/>
          </a:xfrm>
          <a:prstGeom prst="line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arrow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!! Purple box">
            <a:extLst>
              <a:ext uri="{FF2B5EF4-FFF2-40B4-BE49-F238E27FC236}">
                <a16:creationId xmlns:a16="http://schemas.microsoft.com/office/drawing/2014/main" id="{29AF27FB-D891-6880-B2BB-4A089FCB970C}"/>
              </a:ext>
            </a:extLst>
          </p:cNvPr>
          <p:cNvSpPr txBox="1"/>
          <p:nvPr/>
        </p:nvSpPr>
        <p:spPr>
          <a:xfrm>
            <a:off x="1777051" y="3904108"/>
            <a:ext cx="1115964" cy="367229"/>
          </a:xfrm>
          <a:prstGeom prst="roundRect">
            <a:avLst>
              <a:gd name="adj" fmla="val 16667"/>
            </a:avLst>
          </a:prstGeom>
          <a:solidFill>
            <a:schemeClr val="accent1">
              <a:lumMod val="60000"/>
              <a:lumOff val="40000"/>
            </a:schemeClr>
          </a:solidFill>
          <a:ln w="15875">
            <a:noFill/>
            <a:headEnd type="none" w="med" len="med"/>
            <a:tailEnd type="none" w="med" len="med"/>
          </a:ln>
          <a:effectLst>
            <a:outerShdw blurRad="101600" dist="1270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72000" rIns="179285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14102" fontAlgn="base">
              <a:spcBef>
                <a:spcPct val="0"/>
              </a:spcBef>
              <a:spcAft>
                <a:spcPct val="0"/>
              </a:spcAft>
              <a:defRPr sz="196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1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Sans Text Semibold"/>
                <a:ea typeface="+mn-ea"/>
                <a:cs typeface="Segoe UI" pitchFamily="34" charset="0"/>
              </a:rPr>
              <a:t>Product</a:t>
            </a:r>
            <a:r>
              <a:rPr lang="en-US" sz="1000" b="1" dirty="0">
                <a:latin typeface="Segoe Sans Text Semibold"/>
              </a:rPr>
              <a:t> Insight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Sans Text Semibold"/>
              <a:ea typeface="+mn-ea"/>
              <a:cs typeface="Segoe UI" pitchFamily="34" charset="0"/>
            </a:endParaRPr>
          </a:p>
        </p:txBody>
      </p:sp>
      <p:cxnSp>
        <p:nvCxnSpPr>
          <p:cNvPr id="109" name="Elbow Connector 7200">
            <a:extLst>
              <a:ext uri="{FF2B5EF4-FFF2-40B4-BE49-F238E27FC236}">
                <a16:creationId xmlns:a16="http://schemas.microsoft.com/office/drawing/2014/main" id="{0AD623D4-B429-288A-CA33-DBF9292008B0}"/>
              </a:ext>
            </a:extLst>
          </p:cNvPr>
          <p:cNvCxnSpPr>
            <a:cxnSpLocks/>
          </p:cNvCxnSpPr>
          <p:nvPr/>
        </p:nvCxnSpPr>
        <p:spPr>
          <a:xfrm flipV="1">
            <a:off x="2942941" y="3392662"/>
            <a:ext cx="1045372" cy="705940"/>
          </a:xfrm>
          <a:prstGeom prst="bentConnector3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arrow" w="lg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Elbow Connector 7200">
            <a:extLst>
              <a:ext uri="{FF2B5EF4-FFF2-40B4-BE49-F238E27FC236}">
                <a16:creationId xmlns:a16="http://schemas.microsoft.com/office/drawing/2014/main" id="{47D62756-C26D-D04A-99AF-02E95F90B0ED}"/>
              </a:ext>
            </a:extLst>
          </p:cNvPr>
          <p:cNvCxnSpPr>
            <a:cxnSpLocks/>
          </p:cNvCxnSpPr>
          <p:nvPr/>
        </p:nvCxnSpPr>
        <p:spPr>
          <a:xfrm flipV="1">
            <a:off x="1002834" y="3080582"/>
            <a:ext cx="660776" cy="328691"/>
          </a:xfrm>
          <a:prstGeom prst="bentConnector3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none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Elbow Connector 7200">
            <a:extLst>
              <a:ext uri="{FF2B5EF4-FFF2-40B4-BE49-F238E27FC236}">
                <a16:creationId xmlns:a16="http://schemas.microsoft.com/office/drawing/2014/main" id="{15D5D542-2426-B468-B8E2-DFA9A11925CB}"/>
              </a:ext>
            </a:extLst>
          </p:cNvPr>
          <p:cNvCxnSpPr>
            <a:cxnSpLocks/>
            <a:stCxn id="96" idx="2"/>
            <a:endCxn id="108" idx="2"/>
          </p:cNvCxnSpPr>
          <p:nvPr/>
        </p:nvCxnSpPr>
        <p:spPr>
          <a:xfrm rot="16200000" flipH="1">
            <a:off x="1264807" y="3201111"/>
            <a:ext cx="414806" cy="1725645"/>
          </a:xfrm>
          <a:prstGeom prst="bentConnector3">
            <a:avLst>
              <a:gd name="adj1" fmla="val 155110"/>
            </a:avLst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arrow" w="lg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4" name="!! Purple box">
            <a:extLst>
              <a:ext uri="{FF2B5EF4-FFF2-40B4-BE49-F238E27FC236}">
                <a16:creationId xmlns:a16="http://schemas.microsoft.com/office/drawing/2014/main" id="{682B4016-DCC3-D9B9-01E6-676FC49AF3A8}"/>
              </a:ext>
            </a:extLst>
          </p:cNvPr>
          <p:cNvSpPr txBox="1"/>
          <p:nvPr/>
        </p:nvSpPr>
        <p:spPr>
          <a:xfrm>
            <a:off x="5050406" y="3963202"/>
            <a:ext cx="1239474" cy="369332"/>
          </a:xfrm>
          <a:prstGeom prst="roundRect">
            <a:avLst>
              <a:gd name="adj" fmla="val 16667"/>
            </a:avLst>
          </a:prstGeom>
          <a:solidFill>
            <a:srgbClr val="C1DDE9"/>
          </a:solidFill>
          <a:ln w="15875">
            <a:noFill/>
            <a:headEnd type="none" w="med" len="med"/>
            <a:tailEnd type="none" w="med" len="med"/>
          </a:ln>
          <a:effectLst>
            <a:outerShdw blurRad="101600" dist="1270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72000" rIns="179285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14102" fontAlgn="base">
              <a:spcBef>
                <a:spcPct val="0"/>
              </a:spcBef>
              <a:spcAft>
                <a:spcPct val="0"/>
              </a:spcAft>
              <a:defRPr sz="196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cs typeface="Segoe UI" pitchFamily="34" charset="0"/>
              </a:rPr>
              <a:t>Reflection</a:t>
            </a:r>
            <a:r>
              <a:rPr lang="en-US" sz="105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cs typeface="Segoe UI" pitchFamily="34" charset="0"/>
              </a:rPr>
              <a:t> Pattern</a:t>
            </a:r>
            <a:endParaRPr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 Semibold"/>
              <a:cs typeface="Segoe UI" pitchFamily="34" charset="0"/>
            </a:endParaRPr>
          </a:p>
        </p:txBody>
      </p:sp>
      <p:sp>
        <p:nvSpPr>
          <p:cNvPr id="1025" name="!! Purple box">
            <a:extLst>
              <a:ext uri="{FF2B5EF4-FFF2-40B4-BE49-F238E27FC236}">
                <a16:creationId xmlns:a16="http://schemas.microsoft.com/office/drawing/2014/main" id="{17A71F9C-63F0-C8B7-B911-82C5A18D03D9}"/>
              </a:ext>
            </a:extLst>
          </p:cNvPr>
          <p:cNvSpPr txBox="1"/>
          <p:nvPr/>
        </p:nvSpPr>
        <p:spPr>
          <a:xfrm>
            <a:off x="5661034" y="2671634"/>
            <a:ext cx="1239474" cy="369332"/>
          </a:xfrm>
          <a:prstGeom prst="roundRect">
            <a:avLst>
              <a:gd name="adj" fmla="val 16667"/>
            </a:avLst>
          </a:prstGeom>
          <a:solidFill>
            <a:srgbClr val="C1DDE9"/>
          </a:solidFill>
          <a:ln w="15875">
            <a:noFill/>
            <a:headEnd type="none" w="med" len="med"/>
            <a:tailEnd type="none" w="med" len="med"/>
          </a:ln>
          <a:effectLst>
            <a:outerShdw blurRad="101600" dist="1270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72000" rIns="179285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14102" fontAlgn="base">
              <a:spcBef>
                <a:spcPct val="0"/>
              </a:spcBef>
              <a:spcAft>
                <a:spcPct val="0"/>
              </a:spcAft>
              <a:defRPr sz="196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lang="en-US" sz="105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cs typeface="Segoe UI" pitchFamily="34" charset="0"/>
              </a:rPr>
              <a:t>Intelligent Router</a:t>
            </a:r>
            <a:endParaRPr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 Semibold"/>
              <a:cs typeface="Segoe UI" pitchFamily="34" charset="0"/>
            </a:endParaRPr>
          </a:p>
        </p:txBody>
      </p:sp>
      <p:cxnSp>
        <p:nvCxnSpPr>
          <p:cNvPr id="1030" name="Straight Connector 1029">
            <a:extLst>
              <a:ext uri="{FF2B5EF4-FFF2-40B4-BE49-F238E27FC236}">
                <a16:creationId xmlns:a16="http://schemas.microsoft.com/office/drawing/2014/main" id="{F722799E-E889-E72D-1DFA-C4AAC638D859}"/>
              </a:ext>
            </a:extLst>
          </p:cNvPr>
          <p:cNvCxnSpPr>
            <a:cxnSpLocks/>
          </p:cNvCxnSpPr>
          <p:nvPr/>
        </p:nvCxnSpPr>
        <p:spPr>
          <a:xfrm>
            <a:off x="4763367" y="5865564"/>
            <a:ext cx="0" cy="424400"/>
          </a:xfrm>
          <a:prstGeom prst="line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arrow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3" name="!! Purple box">
            <a:extLst>
              <a:ext uri="{FF2B5EF4-FFF2-40B4-BE49-F238E27FC236}">
                <a16:creationId xmlns:a16="http://schemas.microsoft.com/office/drawing/2014/main" id="{4B877464-DA53-3688-53CF-A37CFD8EEDBF}"/>
              </a:ext>
            </a:extLst>
          </p:cNvPr>
          <p:cNvSpPr txBox="1"/>
          <p:nvPr/>
        </p:nvSpPr>
        <p:spPr>
          <a:xfrm>
            <a:off x="3230126" y="5991105"/>
            <a:ext cx="1239474" cy="407823"/>
          </a:xfrm>
          <a:prstGeom prst="roundRect">
            <a:avLst>
              <a:gd name="adj" fmla="val 0"/>
            </a:avLst>
          </a:prstGeom>
          <a:solidFill>
            <a:srgbClr val="C1DDE9"/>
          </a:solidFill>
          <a:ln w="15875">
            <a:noFill/>
            <a:headEnd type="none" w="med" len="med"/>
            <a:tailEnd type="none" w="med" len="med"/>
          </a:ln>
          <a:effectLst>
            <a:outerShdw blurRad="101600" dist="1270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72000" rIns="179285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14102" fontAlgn="base">
              <a:spcBef>
                <a:spcPct val="0"/>
              </a:spcBef>
              <a:spcAft>
                <a:spcPct val="0"/>
              </a:spcAft>
              <a:defRPr sz="196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cs typeface="Segoe UI" pitchFamily="34" charset="0"/>
              </a:rPr>
              <a:t>Doc</a:t>
            </a:r>
            <a:r>
              <a:rPr lang="en-US" sz="105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cs typeface="Segoe UI" pitchFamily="34" charset="0"/>
              </a:rPr>
              <a:t> Search</a:t>
            </a:r>
            <a:endParaRPr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 Semibold"/>
              <a:cs typeface="Segoe UI" pitchFamily="34" charset="0"/>
            </a:endParaRPr>
          </a:p>
        </p:txBody>
      </p:sp>
      <p:sp>
        <p:nvSpPr>
          <p:cNvPr id="1035" name="TextBox 1034">
            <a:extLst>
              <a:ext uri="{FF2B5EF4-FFF2-40B4-BE49-F238E27FC236}">
                <a16:creationId xmlns:a16="http://schemas.microsoft.com/office/drawing/2014/main" id="{D137F8BE-D3F3-BFDB-AEB1-099C718B8601}"/>
              </a:ext>
            </a:extLst>
          </p:cNvPr>
          <p:cNvSpPr txBox="1"/>
          <p:nvPr/>
        </p:nvSpPr>
        <p:spPr>
          <a:xfrm>
            <a:off x="5062570" y="6269504"/>
            <a:ext cx="614766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zure AI Search</a:t>
            </a:r>
          </a:p>
        </p:txBody>
      </p:sp>
      <p:pic>
        <p:nvPicPr>
          <p:cNvPr id="1036" name="Picture 6" descr="Pricing - Azure AI Search | Microsoft Azure">
            <a:extLst>
              <a:ext uri="{FF2B5EF4-FFF2-40B4-BE49-F238E27FC236}">
                <a16:creationId xmlns:a16="http://schemas.microsoft.com/office/drawing/2014/main" id="{BFED8481-1925-078E-B0DF-E203C6712A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7948" y="6289964"/>
            <a:ext cx="977816" cy="514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9" name="Picture 1038">
            <a:extLst>
              <a:ext uri="{FF2B5EF4-FFF2-40B4-BE49-F238E27FC236}">
                <a16:creationId xmlns:a16="http://schemas.microsoft.com/office/drawing/2014/main" id="{2F7D922D-1A27-9051-DBF0-07281C82EBB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264714" y="4625911"/>
            <a:ext cx="1011298" cy="601702"/>
          </a:xfrm>
          <a:prstGeom prst="rect">
            <a:avLst/>
          </a:prstGeom>
        </p:spPr>
      </p:pic>
      <p:cxnSp>
        <p:nvCxnSpPr>
          <p:cNvPr id="1042" name="Elbow Connector 7200">
            <a:extLst>
              <a:ext uri="{FF2B5EF4-FFF2-40B4-BE49-F238E27FC236}">
                <a16:creationId xmlns:a16="http://schemas.microsoft.com/office/drawing/2014/main" id="{7C393A2A-173F-327E-880E-341CD99FE234}"/>
              </a:ext>
            </a:extLst>
          </p:cNvPr>
          <p:cNvCxnSpPr>
            <a:cxnSpLocks/>
          </p:cNvCxnSpPr>
          <p:nvPr/>
        </p:nvCxnSpPr>
        <p:spPr>
          <a:xfrm flipV="1">
            <a:off x="8962906" y="4811991"/>
            <a:ext cx="1107758" cy="304876"/>
          </a:xfrm>
          <a:prstGeom prst="bentConnector3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none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Elbow Connector 7200">
            <a:extLst>
              <a:ext uri="{FF2B5EF4-FFF2-40B4-BE49-F238E27FC236}">
                <a16:creationId xmlns:a16="http://schemas.microsoft.com/office/drawing/2014/main" id="{661F2C80-6DD0-74FF-F5C9-85CD8E9434E3}"/>
              </a:ext>
            </a:extLst>
          </p:cNvPr>
          <p:cNvCxnSpPr>
            <a:cxnSpLocks/>
          </p:cNvCxnSpPr>
          <p:nvPr/>
        </p:nvCxnSpPr>
        <p:spPr>
          <a:xfrm>
            <a:off x="9412568" y="5116867"/>
            <a:ext cx="727194" cy="658166"/>
          </a:xfrm>
          <a:prstGeom prst="bentConnector3">
            <a:avLst>
              <a:gd name="adj1" fmla="val 50000"/>
            </a:avLst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none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2" name="Elbow Connector 7200">
            <a:extLst>
              <a:ext uri="{FF2B5EF4-FFF2-40B4-BE49-F238E27FC236}">
                <a16:creationId xmlns:a16="http://schemas.microsoft.com/office/drawing/2014/main" id="{2CD20756-EFC6-E3F8-41A4-0EA77CA37B97}"/>
              </a:ext>
            </a:extLst>
          </p:cNvPr>
          <p:cNvCxnSpPr>
            <a:cxnSpLocks/>
            <a:endCxn id="1054" idx="1"/>
          </p:cNvCxnSpPr>
          <p:nvPr/>
        </p:nvCxnSpPr>
        <p:spPr>
          <a:xfrm flipV="1">
            <a:off x="8984559" y="1641393"/>
            <a:ext cx="969802" cy="367810"/>
          </a:xfrm>
          <a:prstGeom prst="bentConnector3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none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4" name="Picture 1053">
            <a:extLst>
              <a:ext uri="{FF2B5EF4-FFF2-40B4-BE49-F238E27FC236}">
                <a16:creationId xmlns:a16="http://schemas.microsoft.com/office/drawing/2014/main" id="{822C853E-3345-A798-9E09-8D1E1A8CD13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954361" y="1238221"/>
            <a:ext cx="1451287" cy="806343"/>
          </a:xfrm>
          <a:prstGeom prst="rect">
            <a:avLst/>
          </a:prstGeom>
        </p:spPr>
      </p:pic>
      <p:sp>
        <p:nvSpPr>
          <p:cNvPr id="1055" name="TextBox 1054">
            <a:extLst>
              <a:ext uri="{FF2B5EF4-FFF2-40B4-BE49-F238E27FC236}">
                <a16:creationId xmlns:a16="http://schemas.microsoft.com/office/drawing/2014/main" id="{05AB3723-2452-8D01-D2D7-D7FF70B99662}"/>
              </a:ext>
            </a:extLst>
          </p:cNvPr>
          <p:cNvSpPr txBox="1"/>
          <p:nvPr/>
        </p:nvSpPr>
        <p:spPr>
          <a:xfrm>
            <a:off x="10250477" y="1033018"/>
            <a:ext cx="99083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000000"/>
                </a:solidFill>
                <a:latin typeface="Segoe Sans Text"/>
              </a:rPr>
              <a:t>SharePoint Site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cxnSp>
        <p:nvCxnSpPr>
          <p:cNvPr id="1065" name="Elbow Connector 7200">
            <a:extLst>
              <a:ext uri="{FF2B5EF4-FFF2-40B4-BE49-F238E27FC236}">
                <a16:creationId xmlns:a16="http://schemas.microsoft.com/office/drawing/2014/main" id="{5E04ABEC-AFD1-9301-BFA4-A225F4CA4BDD}"/>
              </a:ext>
            </a:extLst>
          </p:cNvPr>
          <p:cNvCxnSpPr>
            <a:cxnSpLocks/>
          </p:cNvCxnSpPr>
          <p:nvPr/>
        </p:nvCxnSpPr>
        <p:spPr>
          <a:xfrm flipV="1">
            <a:off x="8926002" y="2951220"/>
            <a:ext cx="1028359" cy="581452"/>
          </a:xfrm>
          <a:prstGeom prst="bentConnector3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none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7" name="Picture 1066">
            <a:extLst>
              <a:ext uri="{FF2B5EF4-FFF2-40B4-BE49-F238E27FC236}">
                <a16:creationId xmlns:a16="http://schemas.microsoft.com/office/drawing/2014/main" id="{C322C52D-875E-3E90-96F7-FCD1657EB4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/>
          <a:stretch/>
        </p:blipFill>
        <p:spPr>
          <a:xfrm>
            <a:off x="10943385" y="3941079"/>
            <a:ext cx="373077" cy="356179"/>
          </a:xfrm>
          <a:prstGeom prst="rect">
            <a:avLst/>
          </a:prstGeom>
        </p:spPr>
      </p:pic>
      <p:pic>
        <p:nvPicPr>
          <p:cNvPr id="1068" name="Picture 1067" descr="OneLake Logo">
            <a:extLst>
              <a:ext uri="{FF2B5EF4-FFF2-40B4-BE49-F238E27FC236}">
                <a16:creationId xmlns:a16="http://schemas.microsoft.com/office/drawing/2014/main" id="{21A59B94-12FD-1EA0-5D8C-F4B9BB9C4935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/>
          <a:stretch/>
        </p:blipFill>
        <p:spPr>
          <a:xfrm>
            <a:off x="10537976" y="3963202"/>
            <a:ext cx="355483" cy="356179"/>
          </a:xfrm>
          <a:prstGeom prst="rect">
            <a:avLst/>
          </a:prstGeom>
        </p:spPr>
      </p:pic>
      <p:pic>
        <p:nvPicPr>
          <p:cNvPr id="1070" name="Picture 1069">
            <a:extLst>
              <a:ext uri="{FF2B5EF4-FFF2-40B4-BE49-F238E27FC236}">
                <a16:creationId xmlns:a16="http://schemas.microsoft.com/office/drawing/2014/main" id="{52260994-1F0E-B36F-9BBC-DB4B45B1131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070664" y="2547499"/>
            <a:ext cx="1586979" cy="861774"/>
          </a:xfrm>
          <a:prstGeom prst="rect">
            <a:avLst/>
          </a:prstGeom>
        </p:spPr>
      </p:pic>
      <p:sp>
        <p:nvSpPr>
          <p:cNvPr id="1073" name="TextBox 1072">
            <a:extLst>
              <a:ext uri="{FF2B5EF4-FFF2-40B4-BE49-F238E27FC236}">
                <a16:creationId xmlns:a16="http://schemas.microsoft.com/office/drawing/2014/main" id="{75165821-B05F-88A4-4DF9-5E601A995DE7}"/>
              </a:ext>
            </a:extLst>
          </p:cNvPr>
          <p:cNvSpPr txBox="1"/>
          <p:nvPr/>
        </p:nvSpPr>
        <p:spPr>
          <a:xfrm>
            <a:off x="10495737" y="2334109"/>
            <a:ext cx="99083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Data Agent</a:t>
            </a:r>
          </a:p>
        </p:txBody>
      </p:sp>
      <p:sp>
        <p:nvSpPr>
          <p:cNvPr id="1076" name="TextBox 1075">
            <a:extLst>
              <a:ext uri="{FF2B5EF4-FFF2-40B4-BE49-F238E27FC236}">
                <a16:creationId xmlns:a16="http://schemas.microsoft.com/office/drawing/2014/main" id="{0F5E1847-FCF0-87E2-1586-6AC30646D0DE}"/>
              </a:ext>
            </a:extLst>
          </p:cNvPr>
          <p:cNvSpPr txBox="1"/>
          <p:nvPr/>
        </p:nvSpPr>
        <p:spPr>
          <a:xfrm>
            <a:off x="10364860" y="3703689"/>
            <a:ext cx="60960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  <a:t>Access Data Lake</a:t>
            </a:r>
          </a:p>
        </p:txBody>
      </p:sp>
      <p:cxnSp>
        <p:nvCxnSpPr>
          <p:cNvPr id="1077" name="Straight Connector 1076">
            <a:extLst>
              <a:ext uri="{FF2B5EF4-FFF2-40B4-BE49-F238E27FC236}">
                <a16:creationId xmlns:a16="http://schemas.microsoft.com/office/drawing/2014/main" id="{0D6C827F-D659-5B8C-0C87-9BFDEA20330E}"/>
              </a:ext>
            </a:extLst>
          </p:cNvPr>
          <p:cNvCxnSpPr>
            <a:cxnSpLocks/>
          </p:cNvCxnSpPr>
          <p:nvPr/>
        </p:nvCxnSpPr>
        <p:spPr>
          <a:xfrm flipV="1">
            <a:off x="10879735" y="3460701"/>
            <a:ext cx="0" cy="266210"/>
          </a:xfrm>
          <a:prstGeom prst="line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arrow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1D8871F0-6B99-544D-46F1-38E2663A188D}"/>
              </a:ext>
            </a:extLst>
          </p:cNvPr>
          <p:cNvGrpSpPr/>
          <p:nvPr/>
        </p:nvGrpSpPr>
        <p:grpSpPr>
          <a:xfrm>
            <a:off x="4070638" y="1155070"/>
            <a:ext cx="1417232" cy="430886"/>
            <a:chOff x="1005474" y="1410274"/>
            <a:chExt cx="2154476" cy="585318"/>
          </a:xfrm>
        </p:grpSpPr>
        <p:sp>
          <p:nvSpPr>
            <p:cNvPr id="3" name="!! purple box">
              <a:extLst>
                <a:ext uri="{FF2B5EF4-FFF2-40B4-BE49-F238E27FC236}">
                  <a16:creationId xmlns:a16="http://schemas.microsoft.com/office/drawing/2014/main" id="{9181443C-1372-7467-C991-694A49FB2CB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005474" y="1470457"/>
              <a:ext cx="2099411" cy="502809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4364C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146304" rIns="18288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15859B8-572D-885E-32FC-C4EE9AACD812}"/>
                </a:ext>
              </a:extLst>
            </p:cNvPr>
            <p:cNvSpPr txBox="1"/>
            <p:nvPr/>
          </p:nvSpPr>
          <p:spPr>
            <a:xfrm>
              <a:off x="1086875" y="1410274"/>
              <a:ext cx="2073075" cy="5853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Query </a:t>
              </a:r>
            </a:p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Rewriter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58B54F25-DAB2-8436-0E3F-B7227E43B5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lum bright="70000" contrast="-70000"/>
            </a:blip>
            <a:stretch>
              <a:fillRect/>
            </a:stretch>
          </p:blipFill>
          <p:spPr>
            <a:xfrm>
              <a:off x="1072548" y="1593256"/>
              <a:ext cx="306883" cy="306883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8DE9329-BCF5-72EC-D037-B28C5CBC07B5}"/>
              </a:ext>
            </a:extLst>
          </p:cNvPr>
          <p:cNvSpPr txBox="1"/>
          <p:nvPr/>
        </p:nvSpPr>
        <p:spPr>
          <a:xfrm>
            <a:off x="4612124" y="1571341"/>
            <a:ext cx="743289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900" b="1" kern="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OpenAI Ag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DDD095D-9FE3-8C0E-E66E-0C164D14115E}"/>
              </a:ext>
            </a:extLst>
          </p:cNvPr>
          <p:cNvCxnSpPr>
            <a:cxnSpLocks/>
          </p:cNvCxnSpPr>
          <p:nvPr/>
        </p:nvCxnSpPr>
        <p:spPr>
          <a:xfrm>
            <a:off x="4763367" y="2142673"/>
            <a:ext cx="0" cy="528961"/>
          </a:xfrm>
          <a:prstGeom prst="line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arrow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07" name="Picture 1106" descr="A blue square with a white star&#10;&#10;Description automatically generated">
            <a:extLst>
              <a:ext uri="{FF2B5EF4-FFF2-40B4-BE49-F238E27FC236}">
                <a16:creationId xmlns:a16="http://schemas.microsoft.com/office/drawing/2014/main" id="{A792D893-8D84-D635-20CE-17113484316D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4745" y="1586908"/>
            <a:ext cx="472380" cy="472380"/>
          </a:xfrm>
          <a:prstGeom prst="rect">
            <a:avLst/>
          </a:prstGeom>
        </p:spPr>
      </p:pic>
      <p:pic>
        <p:nvPicPr>
          <p:cNvPr id="1108" name="Picture 1107" descr="A blue square with a white star&#10;&#10;Description automatically generated">
            <a:extLst>
              <a:ext uri="{FF2B5EF4-FFF2-40B4-BE49-F238E27FC236}">
                <a16:creationId xmlns:a16="http://schemas.microsoft.com/office/drawing/2014/main" id="{CBEB5A46-F6D5-B839-8EA1-CC9DACDD4A2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7749" y="3069238"/>
            <a:ext cx="494862" cy="494862"/>
          </a:xfrm>
          <a:prstGeom prst="rect">
            <a:avLst/>
          </a:prstGeom>
        </p:spPr>
      </p:pic>
      <p:pic>
        <p:nvPicPr>
          <p:cNvPr id="1109" name="Picture 1108" descr="A blue square with a white star&#10;&#10;Description automatically generated">
            <a:extLst>
              <a:ext uri="{FF2B5EF4-FFF2-40B4-BE49-F238E27FC236}">
                <a16:creationId xmlns:a16="http://schemas.microsoft.com/office/drawing/2014/main" id="{C7ADFDCE-07F1-746B-C342-5CDC3622CE8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2195" y="4987478"/>
            <a:ext cx="527014" cy="527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1894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0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0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2" grpId="0" animBg="1"/>
      <p:bldP spid="16" grpId="0" animBg="1"/>
      <p:bldP spid="27" grpId="0" animBg="1"/>
      <p:bldP spid="76" grpId="0" animBg="1"/>
      <p:bldP spid="83" grpId="0" animBg="1"/>
      <p:bldP spid="108" grpId="0" animBg="1"/>
      <p:bldP spid="1024" grpId="0" animBg="1"/>
      <p:bldP spid="1025" grpId="0" animBg="1"/>
      <p:bldP spid="103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CD0871-5861-A02D-9EE4-4867C79C7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BD36C787-9EE0-784A-F689-1DA94C1579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6981742">
            <a:off x="-5413434" y="-4430150"/>
            <a:ext cx="8334992" cy="7408967"/>
            <a:chOff x="-1641318" y="-299489"/>
            <a:chExt cx="8683276" cy="7718554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CE39127-8573-539B-4226-9075A1B1E133}"/>
                </a:ext>
              </a:extLst>
            </p:cNvPr>
            <p:cNvGrpSpPr/>
            <p:nvPr/>
          </p:nvGrpSpPr>
          <p:grpSpPr>
            <a:xfrm rot="13963223">
              <a:off x="-1235110" y="-252874"/>
              <a:ext cx="7671937" cy="7671942"/>
              <a:chOff x="-13073550" y="260470"/>
              <a:chExt cx="10868115" cy="10868116"/>
            </a:xfrm>
            <a:solidFill>
              <a:schemeClr val="bg1">
                <a:lumMod val="85000"/>
              </a:schemeClr>
            </a:solidFill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92AF4646-A100-214A-319A-88A9FC901B3D}"/>
                  </a:ext>
                </a:extLst>
              </p:cNvPr>
              <p:cNvGrpSpPr/>
              <p:nvPr/>
            </p:nvGrpSpPr>
            <p:grpSpPr>
              <a:xfrm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25" name="Graphic 124">
                  <a:extLst>
                    <a:ext uri="{FF2B5EF4-FFF2-40B4-BE49-F238E27FC236}">
                      <a16:creationId xmlns:a16="http://schemas.microsoft.com/office/drawing/2014/main" id="{131D84F5-D65E-FC8C-7742-88276A44469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26" name="Graphic 125">
                  <a:extLst>
                    <a:ext uri="{FF2B5EF4-FFF2-40B4-BE49-F238E27FC236}">
                      <a16:creationId xmlns:a16="http://schemas.microsoft.com/office/drawing/2014/main" id="{1CA34DAD-4070-2768-F43B-5D989C07A21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9636B3E4-2C2C-B15D-5B9B-D12BDF5B27AD}"/>
                  </a:ext>
                </a:extLst>
              </p:cNvPr>
              <p:cNvGrpSpPr/>
              <p:nvPr/>
            </p:nvGrpSpPr>
            <p:grpSpPr>
              <a:xfrm rot="18000000"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23" name="Graphic 122">
                  <a:extLst>
                    <a:ext uri="{FF2B5EF4-FFF2-40B4-BE49-F238E27FC236}">
                      <a16:creationId xmlns:a16="http://schemas.microsoft.com/office/drawing/2014/main" id="{8F0F85AA-CD48-7D47-2EF0-C94995E454A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24" name="Graphic 123">
                  <a:extLst>
                    <a:ext uri="{FF2B5EF4-FFF2-40B4-BE49-F238E27FC236}">
                      <a16:creationId xmlns:a16="http://schemas.microsoft.com/office/drawing/2014/main" id="{E18CA8F4-6242-BCC6-42EC-E3D17C316E4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8695E243-E79B-BFCC-71E4-68AC9AEB2DFF}"/>
                  </a:ext>
                </a:extLst>
              </p:cNvPr>
              <p:cNvGrpSpPr/>
              <p:nvPr/>
            </p:nvGrpSpPr>
            <p:grpSpPr>
              <a:xfrm rot="3600000">
                <a:off x="-13073550" y="3398291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21" name="Graphic 120">
                  <a:extLst>
                    <a:ext uri="{FF2B5EF4-FFF2-40B4-BE49-F238E27FC236}">
                      <a16:creationId xmlns:a16="http://schemas.microsoft.com/office/drawing/2014/main" id="{11A1B4F6-1AD1-952D-D880-9B8AC02A124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22" name="Graphic 121">
                  <a:extLst>
                    <a:ext uri="{FF2B5EF4-FFF2-40B4-BE49-F238E27FC236}">
                      <a16:creationId xmlns:a16="http://schemas.microsoft.com/office/drawing/2014/main" id="{D77D84FD-AFB4-3F2A-0194-4C026843019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26" name="Graphic 5">
              <a:extLst>
                <a:ext uri="{FF2B5EF4-FFF2-40B4-BE49-F238E27FC236}">
                  <a16:creationId xmlns:a16="http://schemas.microsoft.com/office/drawing/2014/main" id="{439D840F-16EF-506B-AA47-73472041ACD5}"/>
                </a:ext>
              </a:extLst>
            </p:cNvPr>
            <p:cNvGrpSpPr/>
            <p:nvPr/>
          </p:nvGrpSpPr>
          <p:grpSpPr>
            <a:xfrm rot="15746055">
              <a:off x="-177888" y="1123433"/>
              <a:ext cx="5330696" cy="5499097"/>
              <a:chOff x="4071312" y="2489702"/>
              <a:chExt cx="3527293" cy="3638722"/>
            </a:xfrm>
            <a:noFill/>
          </p:grpSpPr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23A6A563-2553-1043-93B5-99084384FF6B}"/>
                  </a:ext>
                </a:extLst>
              </p:cNvPr>
              <p:cNvSpPr/>
              <p:nvPr/>
            </p:nvSpPr>
            <p:spPr>
              <a:xfrm>
                <a:off x="4071312" y="2489702"/>
                <a:ext cx="3259151" cy="3638722"/>
              </a:xfrm>
              <a:custGeom>
                <a:avLst/>
                <a:gdLst>
                  <a:gd name="connsiteX0" fmla="*/ 3079707 w 3259151"/>
                  <a:gd name="connsiteY0" fmla="*/ 3021953 h 3638722"/>
                  <a:gd name="connsiteX1" fmla="*/ 3132080 w 3259151"/>
                  <a:gd name="connsiteY1" fmla="*/ 1787369 h 3638722"/>
                  <a:gd name="connsiteX2" fmla="*/ 3107243 w 3259151"/>
                  <a:gd name="connsiteY2" fmla="*/ 829383 h 3638722"/>
                  <a:gd name="connsiteX3" fmla="*/ 1658848 w 3259151"/>
                  <a:gd name="connsiteY3" fmla="*/ 4990 h 3638722"/>
                  <a:gd name="connsiteX4" fmla="*/ 849418 w 3259151"/>
                  <a:gd name="connsiteY4" fmla="*/ 1005939 h 3638722"/>
                  <a:gd name="connsiteX5" fmla="*/ 4585 w 3259151"/>
                  <a:gd name="connsiteY5" fmla="*/ 2043526 h 3638722"/>
                  <a:gd name="connsiteX6" fmla="*/ 820725 w 3259151"/>
                  <a:gd name="connsiteY6" fmla="*/ 2918441 h 3638722"/>
                  <a:gd name="connsiteX7" fmla="*/ 2033249 w 3259151"/>
                  <a:gd name="connsiteY7" fmla="*/ 3633846 h 3638722"/>
                  <a:gd name="connsiteX8" fmla="*/ 3079785 w 3259151"/>
                  <a:gd name="connsiteY8" fmla="*/ 3022030 h 3638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59151" h="3638722">
                    <a:moveTo>
                      <a:pt x="3079707" y="3021953"/>
                    </a:moveTo>
                    <a:cubicBezTo>
                      <a:pt x="3412226" y="2666372"/>
                      <a:pt x="3192167" y="2234970"/>
                      <a:pt x="3132080" y="1787369"/>
                    </a:cubicBezTo>
                    <a:cubicBezTo>
                      <a:pt x="3085955" y="1443358"/>
                      <a:pt x="3380525" y="1084923"/>
                      <a:pt x="3107243" y="829383"/>
                    </a:cubicBezTo>
                    <a:cubicBezTo>
                      <a:pt x="2749194" y="494473"/>
                      <a:pt x="2109225" y="-58259"/>
                      <a:pt x="1658848" y="4990"/>
                    </a:cubicBezTo>
                    <a:cubicBezTo>
                      <a:pt x="1318153" y="52812"/>
                      <a:pt x="1102645" y="735127"/>
                      <a:pt x="849418" y="1005939"/>
                    </a:cubicBezTo>
                    <a:cubicBezTo>
                      <a:pt x="515743" y="1362755"/>
                      <a:pt x="-56967" y="1594538"/>
                      <a:pt x="4585" y="2043526"/>
                    </a:cubicBezTo>
                    <a:cubicBezTo>
                      <a:pt x="51559" y="2385918"/>
                      <a:pt x="548678" y="2663981"/>
                      <a:pt x="820725" y="2918441"/>
                    </a:cubicBezTo>
                    <a:cubicBezTo>
                      <a:pt x="1173298" y="3248183"/>
                      <a:pt x="1589043" y="3690075"/>
                      <a:pt x="2033249" y="3633846"/>
                    </a:cubicBezTo>
                    <a:cubicBezTo>
                      <a:pt x="2381349" y="3589726"/>
                      <a:pt x="2821390" y="3298397"/>
                      <a:pt x="3079785" y="302203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BF179536-E5D3-B994-1475-4705C574458D}"/>
                  </a:ext>
                </a:extLst>
              </p:cNvPr>
              <p:cNvSpPr/>
              <p:nvPr/>
            </p:nvSpPr>
            <p:spPr>
              <a:xfrm>
                <a:off x="4109618" y="2534620"/>
                <a:ext cx="3220782" cy="3579817"/>
              </a:xfrm>
              <a:custGeom>
                <a:avLst/>
                <a:gdLst>
                  <a:gd name="connsiteX0" fmla="*/ 791058 w 3220782"/>
                  <a:gd name="connsiteY0" fmla="*/ 2907154 h 3579817"/>
                  <a:gd name="connsiteX1" fmla="*/ 2002194 w 3220782"/>
                  <a:gd name="connsiteY1" fmla="*/ 3574659 h 3579817"/>
                  <a:gd name="connsiteX2" fmla="*/ 3028289 w 3220782"/>
                  <a:gd name="connsiteY2" fmla="*/ 2934613 h 3579817"/>
                  <a:gd name="connsiteX3" fmla="*/ 3129333 w 3220782"/>
                  <a:gd name="connsiteY3" fmla="*/ 1743455 h 3579817"/>
                  <a:gd name="connsiteX4" fmla="*/ 3052277 w 3220782"/>
                  <a:gd name="connsiteY4" fmla="*/ 731167 h 3579817"/>
                  <a:gd name="connsiteX5" fmla="*/ 1620928 w 3220782"/>
                  <a:gd name="connsiteY5" fmla="*/ 5581 h 3579817"/>
                  <a:gd name="connsiteX6" fmla="*/ 765913 w 3220782"/>
                  <a:gd name="connsiteY6" fmla="*/ 939888 h 3579817"/>
                  <a:gd name="connsiteX7" fmla="*/ 5000 w 3220782"/>
                  <a:gd name="connsiteY7" fmla="*/ 1991745 h 3579817"/>
                  <a:gd name="connsiteX8" fmla="*/ 791058 w 3220782"/>
                  <a:gd name="connsiteY8" fmla="*/ 2907231 h 3579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782" h="3579817">
                    <a:moveTo>
                      <a:pt x="791058" y="2907154"/>
                    </a:moveTo>
                    <a:cubicBezTo>
                      <a:pt x="1139775" y="3222549"/>
                      <a:pt x="1564312" y="3630426"/>
                      <a:pt x="2002194" y="3574659"/>
                    </a:cubicBezTo>
                    <a:cubicBezTo>
                      <a:pt x="2362558" y="3528688"/>
                      <a:pt x="2770743" y="3219772"/>
                      <a:pt x="3028289" y="2934613"/>
                    </a:cubicBezTo>
                    <a:cubicBezTo>
                      <a:pt x="3345767" y="2583197"/>
                      <a:pt x="3188417" y="2184113"/>
                      <a:pt x="3129333" y="1743455"/>
                    </a:cubicBezTo>
                    <a:cubicBezTo>
                      <a:pt x="3081433" y="1386485"/>
                      <a:pt x="3334968" y="986244"/>
                      <a:pt x="3052277" y="731167"/>
                    </a:cubicBezTo>
                    <a:cubicBezTo>
                      <a:pt x="2698624" y="412069"/>
                      <a:pt x="2063823" y="-56434"/>
                      <a:pt x="1620928" y="5581"/>
                    </a:cubicBezTo>
                    <a:cubicBezTo>
                      <a:pt x="1267198" y="54946"/>
                      <a:pt x="1018908" y="659665"/>
                      <a:pt x="765913" y="939888"/>
                    </a:cubicBezTo>
                    <a:cubicBezTo>
                      <a:pt x="447664" y="1292461"/>
                      <a:pt x="-55549" y="1549929"/>
                      <a:pt x="5000" y="1991745"/>
                    </a:cubicBezTo>
                    <a:cubicBezTo>
                      <a:pt x="53516" y="2346477"/>
                      <a:pt x="510218" y="2653234"/>
                      <a:pt x="791058" y="290723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3906C38B-7890-95A1-31D9-99E8C1CE93B1}"/>
                  </a:ext>
                </a:extLst>
              </p:cNvPr>
              <p:cNvSpPr/>
              <p:nvPr/>
            </p:nvSpPr>
            <p:spPr>
              <a:xfrm>
                <a:off x="4147825" y="2579175"/>
                <a:ext cx="3187979" cy="3521387"/>
              </a:xfrm>
              <a:custGeom>
                <a:avLst/>
                <a:gdLst>
                  <a:gd name="connsiteX0" fmla="*/ 761567 w 3187979"/>
                  <a:gd name="connsiteY0" fmla="*/ 2896229 h 3521387"/>
                  <a:gd name="connsiteX1" fmla="*/ 1971315 w 3187979"/>
                  <a:gd name="connsiteY1" fmla="*/ 3515912 h 3521387"/>
                  <a:gd name="connsiteX2" fmla="*/ 2977047 w 3187979"/>
                  <a:gd name="connsiteY2" fmla="*/ 2847635 h 3521387"/>
                  <a:gd name="connsiteX3" fmla="*/ 3126683 w 3187979"/>
                  <a:gd name="connsiteY3" fmla="*/ 1699825 h 3521387"/>
                  <a:gd name="connsiteX4" fmla="*/ 2997409 w 3187979"/>
                  <a:gd name="connsiteY4" fmla="*/ 633236 h 3521387"/>
                  <a:gd name="connsiteX5" fmla="*/ 1583183 w 3187979"/>
                  <a:gd name="connsiteY5" fmla="*/ 6380 h 3521387"/>
                  <a:gd name="connsiteX6" fmla="*/ 682583 w 3187979"/>
                  <a:gd name="connsiteY6" fmla="*/ 874121 h 3521387"/>
                  <a:gd name="connsiteX7" fmla="*/ 5513 w 3187979"/>
                  <a:gd name="connsiteY7" fmla="*/ 1940171 h 3521387"/>
                  <a:gd name="connsiteX8" fmla="*/ 761567 w 3187979"/>
                  <a:gd name="connsiteY8" fmla="*/ 2896229 h 3521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87979" h="3521387">
                    <a:moveTo>
                      <a:pt x="761567" y="2896229"/>
                    </a:moveTo>
                    <a:cubicBezTo>
                      <a:pt x="1106195" y="3197508"/>
                      <a:pt x="1539681" y="3571139"/>
                      <a:pt x="1971315" y="3515912"/>
                    </a:cubicBezTo>
                    <a:cubicBezTo>
                      <a:pt x="2343865" y="3468090"/>
                      <a:pt x="2720426" y="3141742"/>
                      <a:pt x="2977047" y="2847635"/>
                    </a:cubicBezTo>
                    <a:cubicBezTo>
                      <a:pt x="3279715" y="2500770"/>
                      <a:pt x="3184842" y="2133542"/>
                      <a:pt x="3126683" y="1699825"/>
                    </a:cubicBezTo>
                    <a:cubicBezTo>
                      <a:pt x="3077087" y="1329975"/>
                      <a:pt x="3289665" y="887620"/>
                      <a:pt x="2997409" y="633236"/>
                    </a:cubicBezTo>
                    <a:cubicBezTo>
                      <a:pt x="2648539" y="329565"/>
                      <a:pt x="2018520" y="-54246"/>
                      <a:pt x="1583183" y="6380"/>
                    </a:cubicBezTo>
                    <a:cubicBezTo>
                      <a:pt x="1216418" y="57287"/>
                      <a:pt x="935115" y="584257"/>
                      <a:pt x="682583" y="874121"/>
                    </a:cubicBezTo>
                    <a:cubicBezTo>
                      <a:pt x="379529" y="1222066"/>
                      <a:pt x="-53879" y="1505683"/>
                      <a:pt x="5513" y="1940171"/>
                    </a:cubicBezTo>
                    <a:cubicBezTo>
                      <a:pt x="55572" y="2307322"/>
                      <a:pt x="471703" y="2642848"/>
                      <a:pt x="761567" y="28962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923EC79E-80A6-59DC-58D4-58A12A01096E}"/>
                  </a:ext>
                </a:extLst>
              </p:cNvPr>
              <p:cNvSpPr/>
              <p:nvPr/>
            </p:nvSpPr>
            <p:spPr>
              <a:xfrm>
                <a:off x="4185926" y="2623532"/>
                <a:ext cx="3162650" cy="3463280"/>
              </a:xfrm>
              <a:custGeom>
                <a:avLst/>
                <a:gdLst>
                  <a:gd name="connsiteX0" fmla="*/ 732182 w 3162650"/>
                  <a:gd name="connsiteY0" fmla="*/ 2885579 h 3463280"/>
                  <a:gd name="connsiteX1" fmla="*/ 1940541 w 3162650"/>
                  <a:gd name="connsiteY1" fmla="*/ 3457440 h 3463280"/>
                  <a:gd name="connsiteX2" fmla="*/ 2925910 w 3162650"/>
                  <a:gd name="connsiteY2" fmla="*/ 2760933 h 3463280"/>
                  <a:gd name="connsiteX3" fmla="*/ 3124217 w 3162650"/>
                  <a:gd name="connsiteY3" fmla="*/ 1656549 h 3463280"/>
                  <a:gd name="connsiteX4" fmla="*/ 2942725 w 3162650"/>
                  <a:gd name="connsiteY4" fmla="*/ 535658 h 3463280"/>
                  <a:gd name="connsiteX5" fmla="*/ 1545622 w 3162650"/>
                  <a:gd name="connsiteY5" fmla="*/ 7609 h 3463280"/>
                  <a:gd name="connsiteX6" fmla="*/ 599436 w 3162650"/>
                  <a:gd name="connsiteY6" fmla="*/ 808708 h 3463280"/>
                  <a:gd name="connsiteX7" fmla="*/ 6210 w 3162650"/>
                  <a:gd name="connsiteY7" fmla="*/ 1888949 h 3463280"/>
                  <a:gd name="connsiteX8" fmla="*/ 732182 w 3162650"/>
                  <a:gd name="connsiteY8" fmla="*/ 2885579 h 3463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62650" h="3463280">
                    <a:moveTo>
                      <a:pt x="732182" y="2885579"/>
                    </a:moveTo>
                    <a:cubicBezTo>
                      <a:pt x="1072413" y="3173052"/>
                      <a:pt x="1515232" y="3512050"/>
                      <a:pt x="1940541" y="3457440"/>
                    </a:cubicBezTo>
                    <a:cubicBezTo>
                      <a:pt x="2325355" y="3407689"/>
                      <a:pt x="2670370" y="3064218"/>
                      <a:pt x="2925910" y="2760933"/>
                    </a:cubicBezTo>
                    <a:cubicBezTo>
                      <a:pt x="3214077" y="2418850"/>
                      <a:pt x="3181450" y="2083246"/>
                      <a:pt x="3124217" y="1656549"/>
                    </a:cubicBezTo>
                    <a:cubicBezTo>
                      <a:pt x="3072847" y="1273817"/>
                      <a:pt x="3244776" y="789270"/>
                      <a:pt x="2942725" y="535658"/>
                    </a:cubicBezTo>
                    <a:cubicBezTo>
                      <a:pt x="2599022" y="247105"/>
                      <a:pt x="1973399" y="-51783"/>
                      <a:pt x="1545622" y="7609"/>
                    </a:cubicBezTo>
                    <a:cubicBezTo>
                      <a:pt x="1165821" y="60059"/>
                      <a:pt x="851352" y="508970"/>
                      <a:pt x="599436" y="808708"/>
                    </a:cubicBezTo>
                    <a:cubicBezTo>
                      <a:pt x="311192" y="1151639"/>
                      <a:pt x="-52025" y="1461712"/>
                      <a:pt x="6210" y="1888949"/>
                    </a:cubicBezTo>
                    <a:cubicBezTo>
                      <a:pt x="57888" y="2268441"/>
                      <a:pt x="433139" y="2632970"/>
                      <a:pt x="732182" y="28855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72B00DA1-C603-53F2-596B-22C9910D2EE3}"/>
                  </a:ext>
                </a:extLst>
              </p:cNvPr>
              <p:cNvSpPr/>
              <p:nvPr/>
            </p:nvSpPr>
            <p:spPr>
              <a:xfrm>
                <a:off x="4223622" y="2666959"/>
                <a:ext cx="3145783" cy="3406134"/>
              </a:xfrm>
              <a:custGeom>
                <a:avLst/>
                <a:gdLst>
                  <a:gd name="connsiteX0" fmla="*/ 703202 w 3145783"/>
                  <a:gd name="connsiteY0" fmla="*/ 2875858 h 3406134"/>
                  <a:gd name="connsiteX1" fmla="*/ 1910173 w 3145783"/>
                  <a:gd name="connsiteY1" fmla="*/ 3399820 h 3406134"/>
                  <a:gd name="connsiteX2" fmla="*/ 2875101 w 3145783"/>
                  <a:gd name="connsiteY2" fmla="*/ 2675082 h 3406134"/>
                  <a:gd name="connsiteX3" fmla="*/ 3122003 w 3145783"/>
                  <a:gd name="connsiteY3" fmla="*/ 1614047 h 3406134"/>
                  <a:gd name="connsiteX4" fmla="*/ 2888291 w 3145783"/>
                  <a:gd name="connsiteY4" fmla="*/ 438855 h 3406134"/>
                  <a:gd name="connsiteX5" fmla="*/ 1508312 w 3145783"/>
                  <a:gd name="connsiteY5" fmla="*/ 9612 h 3406134"/>
                  <a:gd name="connsiteX6" fmla="*/ 516541 w 3145783"/>
                  <a:gd name="connsiteY6" fmla="*/ 744146 h 3406134"/>
                  <a:gd name="connsiteX7" fmla="*/ 7234 w 3145783"/>
                  <a:gd name="connsiteY7" fmla="*/ 1838580 h 3406134"/>
                  <a:gd name="connsiteX8" fmla="*/ 703125 w 3145783"/>
                  <a:gd name="connsiteY8" fmla="*/ 2875858 h 340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45783" h="3406134">
                    <a:moveTo>
                      <a:pt x="703202" y="2875858"/>
                    </a:moveTo>
                    <a:cubicBezTo>
                      <a:pt x="1038729" y="3149756"/>
                      <a:pt x="1491188" y="3453967"/>
                      <a:pt x="1910173" y="3399820"/>
                    </a:cubicBezTo>
                    <a:cubicBezTo>
                      <a:pt x="2307174" y="3348218"/>
                      <a:pt x="2620872" y="2987778"/>
                      <a:pt x="2875101" y="2675082"/>
                    </a:cubicBezTo>
                    <a:cubicBezTo>
                      <a:pt x="3149077" y="2338167"/>
                      <a:pt x="3178310" y="2033802"/>
                      <a:pt x="3122003" y="1614047"/>
                    </a:cubicBezTo>
                    <a:cubicBezTo>
                      <a:pt x="3068936" y="1218434"/>
                      <a:pt x="3200369" y="691464"/>
                      <a:pt x="2888291" y="438855"/>
                    </a:cubicBezTo>
                    <a:cubicBezTo>
                      <a:pt x="2549988" y="165034"/>
                      <a:pt x="1928530" y="-48546"/>
                      <a:pt x="1508312" y="9612"/>
                    </a:cubicBezTo>
                    <a:cubicBezTo>
                      <a:pt x="1115476" y="63605"/>
                      <a:pt x="767685" y="434304"/>
                      <a:pt x="516541" y="744146"/>
                    </a:cubicBezTo>
                    <a:cubicBezTo>
                      <a:pt x="242797" y="1081832"/>
                      <a:pt x="-49998" y="1418593"/>
                      <a:pt x="7234" y="1838580"/>
                    </a:cubicBezTo>
                    <a:cubicBezTo>
                      <a:pt x="60456" y="2230413"/>
                      <a:pt x="394749" y="2624098"/>
                      <a:pt x="703125" y="287585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19EC69F7-287F-4158-03E3-198E6E9F20D6}"/>
                  </a:ext>
                </a:extLst>
              </p:cNvPr>
              <p:cNvSpPr/>
              <p:nvPr/>
            </p:nvSpPr>
            <p:spPr>
              <a:xfrm>
                <a:off x="4260986" y="2709255"/>
                <a:ext cx="3135893" cy="3350272"/>
              </a:xfrm>
              <a:custGeom>
                <a:avLst/>
                <a:gdLst>
                  <a:gd name="connsiteX0" fmla="*/ 674554 w 3135893"/>
                  <a:gd name="connsiteY0" fmla="*/ 2867269 h 3350272"/>
                  <a:gd name="connsiteX1" fmla="*/ 1880214 w 3135893"/>
                  <a:gd name="connsiteY1" fmla="*/ 3343408 h 3350272"/>
                  <a:gd name="connsiteX2" fmla="*/ 2824779 w 3135893"/>
                  <a:gd name="connsiteY2" fmla="*/ 2590440 h 3350272"/>
                  <a:gd name="connsiteX3" fmla="*/ 3120352 w 3135893"/>
                  <a:gd name="connsiteY3" fmla="*/ 1572830 h 3350272"/>
                  <a:gd name="connsiteX4" fmla="*/ 2834498 w 3135893"/>
                  <a:gd name="connsiteY4" fmla="*/ 343337 h 3350272"/>
                  <a:gd name="connsiteX5" fmla="*/ 1471565 w 3135893"/>
                  <a:gd name="connsiteY5" fmla="*/ 12824 h 3350272"/>
                  <a:gd name="connsiteX6" fmla="*/ 434209 w 3135893"/>
                  <a:gd name="connsiteY6" fmla="*/ 680715 h 3350272"/>
                  <a:gd name="connsiteX7" fmla="*/ 8746 w 3135893"/>
                  <a:gd name="connsiteY7" fmla="*/ 1789341 h 3350272"/>
                  <a:gd name="connsiteX8" fmla="*/ 674631 w 3135893"/>
                  <a:gd name="connsiteY8" fmla="*/ 2867192 h 3350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893" h="3350272">
                    <a:moveTo>
                      <a:pt x="674554" y="2867269"/>
                    </a:moveTo>
                    <a:cubicBezTo>
                      <a:pt x="1005144" y="3127900"/>
                      <a:pt x="1467477" y="3396938"/>
                      <a:pt x="1880214" y="3343408"/>
                    </a:cubicBezTo>
                    <a:cubicBezTo>
                      <a:pt x="2289402" y="3289956"/>
                      <a:pt x="2572016" y="2912777"/>
                      <a:pt x="2824779" y="2590440"/>
                    </a:cubicBezTo>
                    <a:cubicBezTo>
                      <a:pt x="3084794" y="2258847"/>
                      <a:pt x="3175656" y="1985567"/>
                      <a:pt x="3120352" y="1572830"/>
                    </a:cubicBezTo>
                    <a:cubicBezTo>
                      <a:pt x="3065587" y="1164336"/>
                      <a:pt x="3156758" y="594635"/>
                      <a:pt x="2834498" y="343337"/>
                    </a:cubicBezTo>
                    <a:cubicBezTo>
                      <a:pt x="2512238" y="92039"/>
                      <a:pt x="1884302" y="-44023"/>
                      <a:pt x="1471565" y="12824"/>
                    </a:cubicBezTo>
                    <a:cubicBezTo>
                      <a:pt x="1065694" y="68359"/>
                      <a:pt x="684273" y="360692"/>
                      <a:pt x="434209" y="680715"/>
                    </a:cubicBezTo>
                    <a:cubicBezTo>
                      <a:pt x="174658" y="1012848"/>
                      <a:pt x="-47330" y="1376605"/>
                      <a:pt x="8746" y="1789341"/>
                    </a:cubicBezTo>
                    <a:cubicBezTo>
                      <a:pt x="63510" y="2193593"/>
                      <a:pt x="356691" y="2616588"/>
                      <a:pt x="674631" y="286719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B79E128A-CE0C-E7F8-F7AF-35BBE414F4C5}"/>
                  </a:ext>
                </a:extLst>
              </p:cNvPr>
              <p:cNvSpPr/>
              <p:nvPr/>
            </p:nvSpPr>
            <p:spPr>
              <a:xfrm>
                <a:off x="4297185" y="2745782"/>
                <a:ext cx="3130741" cy="3300265"/>
              </a:xfrm>
              <a:custGeom>
                <a:avLst/>
                <a:gdLst>
                  <a:gd name="connsiteX0" fmla="*/ 647071 w 3130741"/>
                  <a:gd name="connsiteY0" fmla="*/ 2864372 h 3300265"/>
                  <a:gd name="connsiteX1" fmla="*/ 1851342 w 3130741"/>
                  <a:gd name="connsiteY1" fmla="*/ 3292689 h 3300265"/>
                  <a:gd name="connsiteX2" fmla="*/ 2775545 w 3130741"/>
                  <a:gd name="connsiteY2" fmla="*/ 2511491 h 3300265"/>
                  <a:gd name="connsiteX3" fmla="*/ 3119711 w 3130741"/>
                  <a:gd name="connsiteY3" fmla="*/ 1537229 h 3300265"/>
                  <a:gd name="connsiteX4" fmla="*/ 2781639 w 3130741"/>
                  <a:gd name="connsiteY4" fmla="*/ 253435 h 3300265"/>
                  <a:gd name="connsiteX5" fmla="*/ 1435829 w 3130741"/>
                  <a:gd name="connsiteY5" fmla="*/ 21729 h 3300265"/>
                  <a:gd name="connsiteX6" fmla="*/ 352887 w 3130741"/>
                  <a:gd name="connsiteY6" fmla="*/ 622977 h 3300265"/>
                  <a:gd name="connsiteX7" fmla="*/ 11267 w 3130741"/>
                  <a:gd name="connsiteY7" fmla="*/ 1745873 h 3300265"/>
                  <a:gd name="connsiteX8" fmla="*/ 647071 w 3130741"/>
                  <a:gd name="connsiteY8" fmla="*/ 2864295 h 3300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0741" h="3300265">
                    <a:moveTo>
                      <a:pt x="647071" y="2864372"/>
                    </a:moveTo>
                    <a:cubicBezTo>
                      <a:pt x="972571" y="3111968"/>
                      <a:pt x="1444853" y="3345679"/>
                      <a:pt x="1851342" y="3292689"/>
                    </a:cubicBezTo>
                    <a:cubicBezTo>
                      <a:pt x="2272795" y="3237385"/>
                      <a:pt x="2524556" y="2843624"/>
                      <a:pt x="2775545" y="2511491"/>
                    </a:cubicBezTo>
                    <a:cubicBezTo>
                      <a:pt x="3021907" y="2185529"/>
                      <a:pt x="3174166" y="1943024"/>
                      <a:pt x="3119711" y="1537229"/>
                    </a:cubicBezTo>
                    <a:cubicBezTo>
                      <a:pt x="3063172" y="1115777"/>
                      <a:pt x="3114388" y="503190"/>
                      <a:pt x="2781639" y="253435"/>
                    </a:cubicBezTo>
                    <a:cubicBezTo>
                      <a:pt x="2455059" y="8308"/>
                      <a:pt x="1841007" y="-33884"/>
                      <a:pt x="1435829" y="21729"/>
                    </a:cubicBezTo>
                    <a:cubicBezTo>
                      <a:pt x="1016845" y="78884"/>
                      <a:pt x="601640" y="292464"/>
                      <a:pt x="352887" y="622977"/>
                    </a:cubicBezTo>
                    <a:cubicBezTo>
                      <a:pt x="107297" y="949325"/>
                      <a:pt x="-43651" y="1340387"/>
                      <a:pt x="11267" y="1745873"/>
                    </a:cubicBezTo>
                    <a:cubicBezTo>
                      <a:pt x="67574" y="2162466"/>
                      <a:pt x="319412" y="2615080"/>
                      <a:pt x="647071" y="286429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B82569B7-3E62-2C0D-3BFD-EBAE55E84982}"/>
                  </a:ext>
                </a:extLst>
              </p:cNvPr>
              <p:cNvSpPr/>
              <p:nvPr/>
            </p:nvSpPr>
            <p:spPr>
              <a:xfrm>
                <a:off x="4331073" y="2769810"/>
                <a:ext cx="3129679" cy="3263042"/>
              </a:xfrm>
              <a:custGeom>
                <a:avLst/>
                <a:gdLst>
                  <a:gd name="connsiteX0" fmla="*/ 621899 w 3129679"/>
                  <a:gd name="connsiteY0" fmla="*/ 2874051 h 3263042"/>
                  <a:gd name="connsiteX1" fmla="*/ 1824782 w 3129679"/>
                  <a:gd name="connsiteY1" fmla="*/ 3254546 h 3263042"/>
                  <a:gd name="connsiteX2" fmla="*/ 2728544 w 3129679"/>
                  <a:gd name="connsiteY2" fmla="*/ 2445116 h 3263042"/>
                  <a:gd name="connsiteX3" fmla="*/ 3121380 w 3129679"/>
                  <a:gd name="connsiteY3" fmla="*/ 1514281 h 3263042"/>
                  <a:gd name="connsiteX4" fmla="*/ 2731090 w 3129679"/>
                  <a:gd name="connsiteY4" fmla="*/ 176262 h 3263042"/>
                  <a:gd name="connsiteX5" fmla="*/ 1402404 w 3129679"/>
                  <a:gd name="connsiteY5" fmla="*/ 43363 h 3263042"/>
                  <a:gd name="connsiteX6" fmla="*/ 273877 w 3129679"/>
                  <a:gd name="connsiteY6" fmla="*/ 578045 h 3263042"/>
                  <a:gd name="connsiteX7" fmla="*/ 16177 w 3129679"/>
                  <a:gd name="connsiteY7" fmla="*/ 1715134 h 3263042"/>
                  <a:gd name="connsiteX8" fmla="*/ 621899 w 3129679"/>
                  <a:gd name="connsiteY8" fmla="*/ 2874205 h 3263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29679" h="3263042">
                    <a:moveTo>
                      <a:pt x="621899" y="2874051"/>
                    </a:moveTo>
                    <a:cubicBezTo>
                      <a:pt x="941999" y="3108842"/>
                      <a:pt x="1424618" y="3306996"/>
                      <a:pt x="1824782" y="3254546"/>
                    </a:cubicBezTo>
                    <a:cubicBezTo>
                      <a:pt x="2258421" y="3197313"/>
                      <a:pt x="2479637" y="2787277"/>
                      <a:pt x="2728544" y="2445116"/>
                    </a:cubicBezTo>
                    <a:cubicBezTo>
                      <a:pt x="2961485" y="2124939"/>
                      <a:pt x="3174833" y="1913056"/>
                      <a:pt x="3121380" y="1514281"/>
                    </a:cubicBezTo>
                    <a:cubicBezTo>
                      <a:pt x="3063145" y="1079947"/>
                      <a:pt x="3074561" y="424089"/>
                      <a:pt x="2731090" y="176262"/>
                    </a:cubicBezTo>
                    <a:cubicBezTo>
                      <a:pt x="2410681" y="-54982"/>
                      <a:pt x="1800022" y="-10939"/>
                      <a:pt x="1402404" y="43363"/>
                    </a:cubicBezTo>
                    <a:cubicBezTo>
                      <a:pt x="970384" y="102060"/>
                      <a:pt x="521009" y="236734"/>
                      <a:pt x="273877" y="578045"/>
                    </a:cubicBezTo>
                    <a:cubicBezTo>
                      <a:pt x="41862" y="898377"/>
                      <a:pt x="-37739" y="1316898"/>
                      <a:pt x="16177" y="1715134"/>
                    </a:cubicBezTo>
                    <a:cubicBezTo>
                      <a:pt x="74026" y="2144068"/>
                      <a:pt x="284289" y="2626532"/>
                      <a:pt x="621899" y="287420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89417C8D-78A9-C520-9E7C-819FAD06768E}"/>
                  </a:ext>
                </a:extLst>
              </p:cNvPr>
              <p:cNvSpPr/>
              <p:nvPr/>
            </p:nvSpPr>
            <p:spPr>
              <a:xfrm>
                <a:off x="4358871" y="2771233"/>
                <a:ext cx="3135688" cy="3248662"/>
              </a:xfrm>
              <a:custGeom>
                <a:avLst/>
                <a:gdLst>
                  <a:gd name="connsiteX0" fmla="*/ 602817 w 3135688"/>
                  <a:gd name="connsiteY0" fmla="*/ 2906335 h 3248662"/>
                  <a:gd name="connsiteX1" fmla="*/ 1804311 w 3135688"/>
                  <a:gd name="connsiteY1" fmla="*/ 3238930 h 3248662"/>
                  <a:gd name="connsiteX2" fmla="*/ 2687711 w 3135688"/>
                  <a:gd name="connsiteY2" fmla="*/ 2401271 h 3248662"/>
                  <a:gd name="connsiteX3" fmla="*/ 3129140 w 3135688"/>
                  <a:gd name="connsiteY3" fmla="*/ 1513860 h 3248662"/>
                  <a:gd name="connsiteX4" fmla="*/ 2686631 w 3135688"/>
                  <a:gd name="connsiteY4" fmla="*/ 121540 h 3248662"/>
                  <a:gd name="connsiteX5" fmla="*/ 1375068 w 3135688"/>
                  <a:gd name="connsiteY5" fmla="*/ 87448 h 3248662"/>
                  <a:gd name="connsiteX6" fmla="*/ 200956 w 3135688"/>
                  <a:gd name="connsiteY6" fmla="*/ 555488 h 3248662"/>
                  <a:gd name="connsiteX7" fmla="*/ 27099 w 3135688"/>
                  <a:gd name="connsiteY7" fmla="*/ 1706769 h 3248662"/>
                  <a:gd name="connsiteX8" fmla="*/ 602817 w 3135688"/>
                  <a:gd name="connsiteY8" fmla="*/ 2906412 h 3248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688" h="3248662">
                    <a:moveTo>
                      <a:pt x="602817" y="2906335"/>
                    </a:moveTo>
                    <a:cubicBezTo>
                      <a:pt x="917441" y="3128631"/>
                      <a:pt x="1410472" y="3290840"/>
                      <a:pt x="1804311" y="3238930"/>
                    </a:cubicBezTo>
                    <a:cubicBezTo>
                      <a:pt x="2250214" y="3179847"/>
                      <a:pt x="2441195" y="2753612"/>
                      <a:pt x="2687711" y="2401271"/>
                    </a:cubicBezTo>
                    <a:cubicBezTo>
                      <a:pt x="2907538" y="2087032"/>
                      <a:pt x="3181668" y="1905617"/>
                      <a:pt x="3129140" y="1513860"/>
                    </a:cubicBezTo>
                    <a:cubicBezTo>
                      <a:pt x="3069209" y="1066646"/>
                      <a:pt x="3040978" y="367208"/>
                      <a:pt x="2686631" y="121540"/>
                    </a:cubicBezTo>
                    <a:cubicBezTo>
                      <a:pt x="2372624" y="-96128"/>
                      <a:pt x="1765128" y="34381"/>
                      <a:pt x="1375068" y="87448"/>
                    </a:cubicBezTo>
                    <a:cubicBezTo>
                      <a:pt x="930013" y="147688"/>
                      <a:pt x="446083" y="203301"/>
                      <a:pt x="200956" y="555488"/>
                    </a:cubicBezTo>
                    <a:cubicBezTo>
                      <a:pt x="-17715" y="869649"/>
                      <a:pt x="-25660" y="1315784"/>
                      <a:pt x="27099" y="1706769"/>
                    </a:cubicBezTo>
                    <a:cubicBezTo>
                      <a:pt x="86568" y="2148122"/>
                      <a:pt x="255026" y="2660667"/>
                      <a:pt x="602817" y="290641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481CBE50-7C8B-8917-6E1D-BFBA0E723F37}"/>
                  </a:ext>
                </a:extLst>
              </p:cNvPr>
              <p:cNvSpPr/>
              <p:nvPr/>
            </p:nvSpPr>
            <p:spPr>
              <a:xfrm>
                <a:off x="4372952" y="2753381"/>
                <a:ext cx="3156027" cy="3254119"/>
              </a:xfrm>
              <a:custGeom>
                <a:avLst/>
                <a:gdLst>
                  <a:gd name="connsiteX0" fmla="*/ 597452 w 3156027"/>
                  <a:gd name="connsiteY0" fmla="*/ 2957894 h 3254119"/>
                  <a:gd name="connsiteX1" fmla="*/ 1797558 w 3156027"/>
                  <a:gd name="connsiteY1" fmla="*/ 3242667 h 3254119"/>
                  <a:gd name="connsiteX2" fmla="*/ 2660594 w 3156027"/>
                  <a:gd name="connsiteY2" fmla="*/ 2376700 h 3254119"/>
                  <a:gd name="connsiteX3" fmla="*/ 3150695 w 3156027"/>
                  <a:gd name="connsiteY3" fmla="*/ 1532638 h 3254119"/>
                  <a:gd name="connsiteX4" fmla="*/ 2655966 w 3156027"/>
                  <a:gd name="connsiteY4" fmla="*/ 86017 h 3254119"/>
                  <a:gd name="connsiteX5" fmla="*/ 1361450 w 3156027"/>
                  <a:gd name="connsiteY5" fmla="*/ 150654 h 3254119"/>
                  <a:gd name="connsiteX6" fmla="*/ 141752 w 3156027"/>
                  <a:gd name="connsiteY6" fmla="*/ 552129 h 3254119"/>
                  <a:gd name="connsiteX7" fmla="*/ 51738 w 3156027"/>
                  <a:gd name="connsiteY7" fmla="*/ 1717602 h 3254119"/>
                  <a:gd name="connsiteX8" fmla="*/ 597374 w 3156027"/>
                  <a:gd name="connsiteY8" fmla="*/ 2957816 h 3254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56027" h="3254119">
                    <a:moveTo>
                      <a:pt x="597452" y="2957894"/>
                    </a:moveTo>
                    <a:cubicBezTo>
                      <a:pt x="906445" y="3167925"/>
                      <a:pt x="1410044" y="3294037"/>
                      <a:pt x="1797558" y="3242667"/>
                    </a:cubicBezTo>
                    <a:cubicBezTo>
                      <a:pt x="2255648" y="3181732"/>
                      <a:pt x="2416778" y="2739608"/>
                      <a:pt x="2660594" y="2376700"/>
                    </a:cubicBezTo>
                    <a:cubicBezTo>
                      <a:pt x="2867541" y="2068555"/>
                      <a:pt x="3202297" y="1917452"/>
                      <a:pt x="3150695" y="1532638"/>
                    </a:cubicBezTo>
                    <a:cubicBezTo>
                      <a:pt x="3088989" y="1072542"/>
                      <a:pt x="3021574" y="329061"/>
                      <a:pt x="2655966" y="86017"/>
                    </a:cubicBezTo>
                    <a:cubicBezTo>
                      <a:pt x="2348516" y="-118385"/>
                      <a:pt x="1744028" y="98898"/>
                      <a:pt x="1361450" y="150654"/>
                    </a:cubicBezTo>
                    <a:cubicBezTo>
                      <a:pt x="903359" y="212437"/>
                      <a:pt x="384566" y="188680"/>
                      <a:pt x="141752" y="552129"/>
                    </a:cubicBezTo>
                    <a:cubicBezTo>
                      <a:pt x="-63883" y="859965"/>
                      <a:pt x="60" y="1333867"/>
                      <a:pt x="51738" y="1717602"/>
                    </a:cubicBezTo>
                    <a:cubicBezTo>
                      <a:pt x="112750" y="2171296"/>
                      <a:pt x="239248" y="2714386"/>
                      <a:pt x="597374" y="2957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027D2538-A660-ADC9-AA91-103610839EE8}"/>
                  </a:ext>
                </a:extLst>
              </p:cNvPr>
              <p:cNvSpPr/>
              <p:nvPr/>
            </p:nvSpPr>
            <p:spPr>
              <a:xfrm>
                <a:off x="4369454" y="2723578"/>
                <a:ext cx="3194199" cy="3272228"/>
              </a:xfrm>
              <a:custGeom>
                <a:avLst/>
                <a:gdLst>
                  <a:gd name="connsiteX0" fmla="*/ 609666 w 3194199"/>
                  <a:gd name="connsiteY0" fmla="*/ 3021327 h 3272228"/>
                  <a:gd name="connsiteX1" fmla="*/ 1808461 w 3194199"/>
                  <a:gd name="connsiteY1" fmla="*/ 3258278 h 3272228"/>
                  <a:gd name="connsiteX2" fmla="*/ 2651057 w 3194199"/>
                  <a:gd name="connsiteY2" fmla="*/ 2364080 h 3272228"/>
                  <a:gd name="connsiteX3" fmla="*/ 3189751 w 3194199"/>
                  <a:gd name="connsiteY3" fmla="*/ 1563444 h 3272228"/>
                  <a:gd name="connsiteX4" fmla="*/ 2642804 w 3194199"/>
                  <a:gd name="connsiteY4" fmla="*/ 62522 h 3272228"/>
                  <a:gd name="connsiteX5" fmla="*/ 1365411 w 3194199"/>
                  <a:gd name="connsiteY5" fmla="*/ 225965 h 3272228"/>
                  <a:gd name="connsiteX6" fmla="*/ 100128 w 3194199"/>
                  <a:gd name="connsiteY6" fmla="*/ 560798 h 3272228"/>
                  <a:gd name="connsiteX7" fmla="*/ 94034 w 3194199"/>
                  <a:gd name="connsiteY7" fmla="*/ 1740540 h 3272228"/>
                  <a:gd name="connsiteX8" fmla="*/ 609589 w 3194199"/>
                  <a:gd name="connsiteY8" fmla="*/ 3021327 h 3272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94199" h="3272228">
                    <a:moveTo>
                      <a:pt x="609666" y="3021327"/>
                    </a:moveTo>
                    <a:cubicBezTo>
                      <a:pt x="912874" y="3219326"/>
                      <a:pt x="1427194" y="3309031"/>
                      <a:pt x="1808461" y="3258278"/>
                    </a:cubicBezTo>
                    <a:cubicBezTo>
                      <a:pt x="2278815" y="3195492"/>
                      <a:pt x="2410481" y="2737710"/>
                      <a:pt x="2651057" y="2364080"/>
                    </a:cubicBezTo>
                    <a:cubicBezTo>
                      <a:pt x="2845431" y="2062183"/>
                      <a:pt x="3240427" y="1941240"/>
                      <a:pt x="3189751" y="1563444"/>
                    </a:cubicBezTo>
                    <a:cubicBezTo>
                      <a:pt x="3126348" y="1090390"/>
                      <a:pt x="3019828" y="302481"/>
                      <a:pt x="2642804" y="62522"/>
                    </a:cubicBezTo>
                    <a:cubicBezTo>
                      <a:pt x="2342064" y="-128844"/>
                      <a:pt x="1740430" y="175444"/>
                      <a:pt x="1365411" y="225965"/>
                    </a:cubicBezTo>
                    <a:cubicBezTo>
                      <a:pt x="894285" y="289291"/>
                      <a:pt x="340087" y="185934"/>
                      <a:pt x="100128" y="560798"/>
                    </a:cubicBezTo>
                    <a:cubicBezTo>
                      <a:pt x="-92781" y="862155"/>
                      <a:pt x="43435" y="1364056"/>
                      <a:pt x="94034" y="1740540"/>
                    </a:cubicBezTo>
                    <a:cubicBezTo>
                      <a:pt x="156589" y="2206653"/>
                      <a:pt x="240972" y="2780596"/>
                      <a:pt x="609589" y="302132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F3B8C1E7-915C-9249-4FF5-E38F039F853D}"/>
                  </a:ext>
                </a:extLst>
              </p:cNvPr>
              <p:cNvSpPr/>
              <p:nvPr/>
            </p:nvSpPr>
            <p:spPr>
              <a:xfrm>
                <a:off x="4352455" y="2686397"/>
                <a:ext cx="3246150" cy="3299210"/>
              </a:xfrm>
              <a:custGeom>
                <a:avLst/>
                <a:gdLst>
                  <a:gd name="connsiteX0" fmla="*/ 1832787 w 3246150"/>
                  <a:gd name="connsiteY0" fmla="*/ 3281344 h 3299210"/>
                  <a:gd name="connsiteX1" fmla="*/ 2655021 w 3246150"/>
                  <a:gd name="connsiteY1" fmla="*/ 2358915 h 3299210"/>
                  <a:gd name="connsiteX2" fmla="*/ 3242385 w 3246150"/>
                  <a:gd name="connsiteY2" fmla="*/ 1601628 h 3299210"/>
                  <a:gd name="connsiteX3" fmla="*/ 2643296 w 3246150"/>
                  <a:gd name="connsiteY3" fmla="*/ 46404 h 3299210"/>
                  <a:gd name="connsiteX4" fmla="*/ 1383027 w 3246150"/>
                  <a:gd name="connsiteY4" fmla="*/ 308655 h 3299210"/>
                  <a:gd name="connsiteX5" fmla="*/ 72158 w 3246150"/>
                  <a:gd name="connsiteY5" fmla="*/ 576844 h 3299210"/>
                  <a:gd name="connsiteX6" fmla="*/ 149908 w 3246150"/>
                  <a:gd name="connsiteY6" fmla="*/ 1770779 h 3299210"/>
                  <a:gd name="connsiteX7" fmla="*/ 635458 w 3246150"/>
                  <a:gd name="connsiteY7" fmla="*/ 3092214 h 3299210"/>
                  <a:gd name="connsiteX8" fmla="*/ 1832864 w 3246150"/>
                  <a:gd name="connsiteY8" fmla="*/ 3281266 h 3299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6150" h="3299210">
                    <a:moveTo>
                      <a:pt x="1832787" y="3281344"/>
                    </a:moveTo>
                    <a:cubicBezTo>
                      <a:pt x="2315329" y="3216707"/>
                      <a:pt x="2418069" y="2743421"/>
                      <a:pt x="2655021" y="2358915"/>
                    </a:cubicBezTo>
                    <a:cubicBezTo>
                      <a:pt x="2837131" y="2063420"/>
                      <a:pt x="3292059" y="1972558"/>
                      <a:pt x="3242385" y="1601628"/>
                    </a:cubicBezTo>
                    <a:cubicBezTo>
                      <a:pt x="3177285" y="1115693"/>
                      <a:pt x="3031967" y="282661"/>
                      <a:pt x="2643296" y="46404"/>
                    </a:cubicBezTo>
                    <a:cubicBezTo>
                      <a:pt x="2349344" y="-132312"/>
                      <a:pt x="1750487" y="259367"/>
                      <a:pt x="1383027" y="308655"/>
                    </a:cubicBezTo>
                    <a:cubicBezTo>
                      <a:pt x="898866" y="373523"/>
                      <a:pt x="308801" y="190333"/>
                      <a:pt x="72158" y="576844"/>
                    </a:cubicBezTo>
                    <a:cubicBezTo>
                      <a:pt x="-108255" y="871568"/>
                      <a:pt x="100466" y="1401546"/>
                      <a:pt x="149908" y="1770779"/>
                    </a:cubicBezTo>
                    <a:cubicBezTo>
                      <a:pt x="214005" y="2249233"/>
                      <a:pt x="255965" y="2854492"/>
                      <a:pt x="635458" y="3092214"/>
                    </a:cubicBezTo>
                    <a:cubicBezTo>
                      <a:pt x="932804" y="3278490"/>
                      <a:pt x="1457845" y="3331557"/>
                      <a:pt x="1832864" y="328126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37" name="Graphic 5">
              <a:extLst>
                <a:ext uri="{FF2B5EF4-FFF2-40B4-BE49-F238E27FC236}">
                  <a16:creationId xmlns:a16="http://schemas.microsoft.com/office/drawing/2014/main" id="{EC59BAEE-7F7A-D4F7-0483-7D2429C9CE9D}"/>
                </a:ext>
              </a:extLst>
            </p:cNvPr>
            <p:cNvGrpSpPr/>
            <p:nvPr/>
          </p:nvGrpSpPr>
          <p:grpSpPr>
            <a:xfrm rot="180525">
              <a:off x="-597053" y="441139"/>
              <a:ext cx="6472770" cy="6313556"/>
              <a:chOff x="4270587" y="2574268"/>
              <a:chExt cx="3544376" cy="3457192"/>
            </a:xfrm>
            <a:noFill/>
          </p:grpSpPr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0A37F15-AA7E-AC81-D654-323266A9FB34}"/>
                  </a:ext>
                </a:extLst>
              </p:cNvPr>
              <p:cNvSpPr/>
              <p:nvPr/>
            </p:nvSpPr>
            <p:spPr>
              <a:xfrm>
                <a:off x="4270587" y="2606803"/>
                <a:ext cx="3544376" cy="3424657"/>
              </a:xfrm>
              <a:custGeom>
                <a:avLst/>
                <a:gdLst>
                  <a:gd name="connsiteX0" fmla="*/ 3338832 w 3544376"/>
                  <a:gd name="connsiteY0" fmla="*/ 932573 h 3424657"/>
                  <a:gd name="connsiteX1" fmla="*/ 2419102 w 3544376"/>
                  <a:gd name="connsiteY1" fmla="*/ 117205 h 3424657"/>
                  <a:gd name="connsiteX2" fmla="*/ 1318575 w 3544376"/>
                  <a:gd name="connsiteY2" fmla="*/ 80027 h 3424657"/>
                  <a:gd name="connsiteX3" fmla="*/ 8709 w 3544376"/>
                  <a:gd name="connsiteY3" fmla="*/ 1110518 h 3424657"/>
                  <a:gd name="connsiteX4" fmla="*/ 630398 w 3544376"/>
                  <a:gd name="connsiteY4" fmla="*/ 2237733 h 3424657"/>
                  <a:gd name="connsiteX5" fmla="*/ 1272758 w 3544376"/>
                  <a:gd name="connsiteY5" fmla="*/ 3411536 h 3424657"/>
                  <a:gd name="connsiteX6" fmla="*/ 2390872 w 3544376"/>
                  <a:gd name="connsiteY6" fmla="*/ 2985687 h 3424657"/>
                  <a:gd name="connsiteX7" fmla="*/ 3510760 w 3544376"/>
                  <a:gd name="connsiteY7" fmla="*/ 2132601 h 3424657"/>
                  <a:gd name="connsiteX8" fmla="*/ 3338908 w 3544376"/>
                  <a:gd name="connsiteY8" fmla="*/ 932650 h 342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44376" h="3424657">
                    <a:moveTo>
                      <a:pt x="3338832" y="932573"/>
                    </a:moveTo>
                    <a:cubicBezTo>
                      <a:pt x="3134970" y="490449"/>
                      <a:pt x="2856290" y="230435"/>
                      <a:pt x="2419102" y="117205"/>
                    </a:cubicBezTo>
                    <a:cubicBezTo>
                      <a:pt x="2083036" y="30199"/>
                      <a:pt x="1658344" y="-76630"/>
                      <a:pt x="1318575" y="80027"/>
                    </a:cubicBezTo>
                    <a:cubicBezTo>
                      <a:pt x="873365" y="285354"/>
                      <a:pt x="120088" y="669551"/>
                      <a:pt x="8709" y="1110518"/>
                    </a:cubicBezTo>
                    <a:cubicBezTo>
                      <a:pt x="-75520" y="1444039"/>
                      <a:pt x="475130" y="1900972"/>
                      <a:pt x="630398" y="2237733"/>
                    </a:cubicBezTo>
                    <a:cubicBezTo>
                      <a:pt x="834953" y="2681323"/>
                      <a:pt x="833642" y="3299231"/>
                      <a:pt x="1272758" y="3411536"/>
                    </a:cubicBezTo>
                    <a:cubicBezTo>
                      <a:pt x="1607591" y="3497153"/>
                      <a:pt x="2052568" y="3141650"/>
                      <a:pt x="2390872" y="2985687"/>
                    </a:cubicBezTo>
                    <a:cubicBezTo>
                      <a:pt x="2829217" y="2783523"/>
                      <a:pt x="3395293" y="2565161"/>
                      <a:pt x="3510760" y="2132601"/>
                    </a:cubicBezTo>
                    <a:cubicBezTo>
                      <a:pt x="3601236" y="1793527"/>
                      <a:pt x="3497339" y="1276198"/>
                      <a:pt x="3338908" y="93265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C61E3997-C250-8E21-DEDE-099BA47E1468}"/>
                  </a:ext>
                </a:extLst>
              </p:cNvPr>
              <p:cNvSpPr/>
              <p:nvPr/>
            </p:nvSpPr>
            <p:spPr>
              <a:xfrm>
                <a:off x="4311149" y="2610445"/>
                <a:ext cx="3481515" cy="3380560"/>
              </a:xfrm>
              <a:custGeom>
                <a:avLst/>
                <a:gdLst>
                  <a:gd name="connsiteX0" fmla="*/ 2384788 w 3481515"/>
                  <a:gd name="connsiteY0" fmla="*/ 2986674 h 3380560"/>
                  <a:gd name="connsiteX1" fmla="*/ 3435796 w 3481515"/>
                  <a:gd name="connsiteY1" fmla="*/ 2123946 h 3380560"/>
                  <a:gd name="connsiteX2" fmla="*/ 3309068 w 3481515"/>
                  <a:gd name="connsiteY2" fmla="*/ 911268 h 3380560"/>
                  <a:gd name="connsiteX3" fmla="*/ 2359797 w 3481515"/>
                  <a:gd name="connsiteY3" fmla="*/ 156988 h 3380560"/>
                  <a:gd name="connsiteX4" fmla="*/ 1222399 w 3481515"/>
                  <a:gd name="connsiteY4" fmla="*/ 71757 h 3380560"/>
                  <a:gd name="connsiteX5" fmla="*/ 10492 w 3481515"/>
                  <a:gd name="connsiteY5" fmla="*/ 1123691 h 3380560"/>
                  <a:gd name="connsiteX6" fmla="*/ 573097 w 3481515"/>
                  <a:gd name="connsiteY6" fmla="*/ 2302662 h 3380560"/>
                  <a:gd name="connsiteX7" fmla="*/ 1256646 w 3481515"/>
                  <a:gd name="connsiteY7" fmla="*/ 3364546 h 3380560"/>
                  <a:gd name="connsiteX8" fmla="*/ 2384788 w 3481515"/>
                  <a:gd name="connsiteY8" fmla="*/ 2986674 h 3380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1515" h="3380560">
                    <a:moveTo>
                      <a:pt x="2384788" y="2986674"/>
                    </a:moveTo>
                    <a:cubicBezTo>
                      <a:pt x="2808400" y="2782658"/>
                      <a:pt x="3322257" y="2550489"/>
                      <a:pt x="3435796" y="2123946"/>
                    </a:cubicBezTo>
                    <a:cubicBezTo>
                      <a:pt x="3529127" y="1772916"/>
                      <a:pt x="3475983" y="1257439"/>
                      <a:pt x="3309068" y="911268"/>
                    </a:cubicBezTo>
                    <a:cubicBezTo>
                      <a:pt x="3103355" y="484725"/>
                      <a:pt x="2790197" y="268368"/>
                      <a:pt x="2359797" y="156988"/>
                    </a:cubicBezTo>
                    <a:cubicBezTo>
                      <a:pt x="2011157" y="66743"/>
                      <a:pt x="1565254" y="-93770"/>
                      <a:pt x="1222399" y="71757"/>
                    </a:cubicBezTo>
                    <a:cubicBezTo>
                      <a:pt x="793465" y="278935"/>
                      <a:pt x="120175" y="690129"/>
                      <a:pt x="10492" y="1123691"/>
                    </a:cubicBezTo>
                    <a:cubicBezTo>
                      <a:pt x="-77208" y="1469862"/>
                      <a:pt x="408959" y="1962662"/>
                      <a:pt x="573097" y="2302662"/>
                    </a:cubicBezTo>
                    <a:cubicBezTo>
                      <a:pt x="779581" y="2730362"/>
                      <a:pt x="824704" y="3254015"/>
                      <a:pt x="1256646" y="3364546"/>
                    </a:cubicBezTo>
                    <a:cubicBezTo>
                      <a:pt x="1603512" y="3453403"/>
                      <a:pt x="2043630" y="3150966"/>
                      <a:pt x="2384788" y="298667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26D6ACFC-B834-7CB9-DF3A-5E9C6E2A4609}"/>
                  </a:ext>
                </a:extLst>
              </p:cNvPr>
              <p:cNvSpPr/>
              <p:nvPr/>
            </p:nvSpPr>
            <p:spPr>
              <a:xfrm>
                <a:off x="4351228" y="2611075"/>
                <a:ext cx="3424905" cy="3340311"/>
              </a:xfrm>
              <a:custGeom>
                <a:avLst/>
                <a:gdLst>
                  <a:gd name="connsiteX0" fmla="*/ 2379187 w 3424905"/>
                  <a:gd name="connsiteY0" fmla="*/ 2990672 h 3340311"/>
                  <a:gd name="connsiteX1" fmla="*/ 3361317 w 3424905"/>
                  <a:gd name="connsiteY1" fmla="*/ 2118303 h 3340311"/>
                  <a:gd name="connsiteX2" fmla="*/ 3279788 w 3424905"/>
                  <a:gd name="connsiteY2" fmla="*/ 892974 h 3340311"/>
                  <a:gd name="connsiteX3" fmla="*/ 2300975 w 3424905"/>
                  <a:gd name="connsiteY3" fmla="*/ 199707 h 3340311"/>
                  <a:gd name="connsiteX4" fmla="*/ 1126708 w 3424905"/>
                  <a:gd name="connsiteY4" fmla="*/ 66422 h 3340311"/>
                  <a:gd name="connsiteX5" fmla="*/ 12759 w 3424905"/>
                  <a:gd name="connsiteY5" fmla="*/ 1139722 h 3340311"/>
                  <a:gd name="connsiteX6" fmla="*/ 516204 w 3424905"/>
                  <a:gd name="connsiteY6" fmla="*/ 2370449 h 3340311"/>
                  <a:gd name="connsiteX7" fmla="*/ 1241019 w 3424905"/>
                  <a:gd name="connsiteY7" fmla="*/ 3320491 h 3340311"/>
                  <a:gd name="connsiteX8" fmla="*/ 2379265 w 3424905"/>
                  <a:gd name="connsiteY8" fmla="*/ 2990594 h 3340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24905" h="3340311">
                    <a:moveTo>
                      <a:pt x="2379187" y="2990672"/>
                    </a:moveTo>
                    <a:cubicBezTo>
                      <a:pt x="2788222" y="2785113"/>
                      <a:pt x="3249628" y="2538829"/>
                      <a:pt x="3361317" y="2118303"/>
                    </a:cubicBezTo>
                    <a:cubicBezTo>
                      <a:pt x="3457501" y="1755239"/>
                      <a:pt x="3455341" y="1241614"/>
                      <a:pt x="3279788" y="892974"/>
                    </a:cubicBezTo>
                    <a:cubicBezTo>
                      <a:pt x="3072686" y="481781"/>
                      <a:pt x="2724587" y="309389"/>
                      <a:pt x="2300975" y="199707"/>
                    </a:cubicBezTo>
                    <a:cubicBezTo>
                      <a:pt x="1939763" y="106145"/>
                      <a:pt x="1472571" y="-108206"/>
                      <a:pt x="1126708" y="66422"/>
                    </a:cubicBezTo>
                    <a:cubicBezTo>
                      <a:pt x="713895" y="274988"/>
                      <a:pt x="120745" y="713641"/>
                      <a:pt x="12759" y="1139722"/>
                    </a:cubicBezTo>
                    <a:cubicBezTo>
                      <a:pt x="-78411" y="1498619"/>
                      <a:pt x="342964" y="2027286"/>
                      <a:pt x="516204" y="2370449"/>
                    </a:cubicBezTo>
                    <a:cubicBezTo>
                      <a:pt x="724076" y="2782414"/>
                      <a:pt x="816250" y="3211657"/>
                      <a:pt x="1241019" y="3320491"/>
                    </a:cubicBezTo>
                    <a:cubicBezTo>
                      <a:pt x="1599917" y="3412587"/>
                      <a:pt x="2035176" y="3163449"/>
                      <a:pt x="2379265" y="299059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7C8BED65-CA8D-2F24-CEE4-C99006D3448E}"/>
                  </a:ext>
                </a:extLst>
              </p:cNvPr>
              <p:cNvSpPr/>
              <p:nvPr/>
            </p:nvSpPr>
            <p:spPr>
              <a:xfrm>
                <a:off x="4390546" y="2609845"/>
                <a:ext cx="3375801" cy="3303429"/>
              </a:xfrm>
              <a:custGeom>
                <a:avLst/>
                <a:gdLst>
                  <a:gd name="connsiteX0" fmla="*/ 2374347 w 3375801"/>
                  <a:gd name="connsiteY0" fmla="*/ 2996529 h 3303429"/>
                  <a:gd name="connsiteX1" fmla="*/ 3287597 w 3375801"/>
                  <a:gd name="connsiteY1" fmla="*/ 2114518 h 3303429"/>
                  <a:gd name="connsiteX2" fmla="*/ 3251191 w 3375801"/>
                  <a:gd name="connsiteY2" fmla="*/ 876541 h 3303429"/>
                  <a:gd name="connsiteX3" fmla="*/ 2242836 w 3375801"/>
                  <a:gd name="connsiteY3" fmla="*/ 244285 h 3303429"/>
                  <a:gd name="connsiteX4" fmla="*/ 1031700 w 3375801"/>
                  <a:gd name="connsiteY4" fmla="*/ 62946 h 3303429"/>
                  <a:gd name="connsiteX5" fmla="*/ 15710 w 3375801"/>
                  <a:gd name="connsiteY5" fmla="*/ 1157689 h 3303429"/>
                  <a:gd name="connsiteX6" fmla="*/ 459993 w 3375801"/>
                  <a:gd name="connsiteY6" fmla="*/ 2440249 h 3303429"/>
                  <a:gd name="connsiteX7" fmla="*/ 1226074 w 3375801"/>
                  <a:gd name="connsiteY7" fmla="*/ 3278449 h 3303429"/>
                  <a:gd name="connsiteX8" fmla="*/ 2374347 w 3375801"/>
                  <a:gd name="connsiteY8" fmla="*/ 2996529 h 330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5801" h="3303429">
                    <a:moveTo>
                      <a:pt x="2374347" y="2996529"/>
                    </a:moveTo>
                    <a:cubicBezTo>
                      <a:pt x="2768881" y="2789891"/>
                      <a:pt x="3177760" y="2529029"/>
                      <a:pt x="3287597" y="2114518"/>
                    </a:cubicBezTo>
                    <a:cubicBezTo>
                      <a:pt x="3386712" y="1739423"/>
                      <a:pt x="3435692" y="1227571"/>
                      <a:pt x="3251191" y="876541"/>
                    </a:cubicBezTo>
                    <a:cubicBezTo>
                      <a:pt x="3043087" y="480619"/>
                      <a:pt x="2659584" y="352193"/>
                      <a:pt x="2242836" y="244285"/>
                    </a:cubicBezTo>
                    <a:cubicBezTo>
                      <a:pt x="1869052" y="147483"/>
                      <a:pt x="1380494" y="-121092"/>
                      <a:pt x="1031700" y="62946"/>
                    </a:cubicBezTo>
                    <a:cubicBezTo>
                      <a:pt x="634776" y="272438"/>
                      <a:pt x="121999" y="739090"/>
                      <a:pt x="15710" y="1157689"/>
                    </a:cubicBezTo>
                    <a:cubicBezTo>
                      <a:pt x="-78932" y="1529236"/>
                      <a:pt x="277421" y="2093847"/>
                      <a:pt x="459993" y="2440249"/>
                    </a:cubicBezTo>
                    <a:cubicBezTo>
                      <a:pt x="668869" y="2836556"/>
                      <a:pt x="808402" y="3171312"/>
                      <a:pt x="1226074" y="3278449"/>
                    </a:cubicBezTo>
                    <a:cubicBezTo>
                      <a:pt x="1597005" y="3373785"/>
                      <a:pt x="2027559" y="3178176"/>
                      <a:pt x="2374347" y="29965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0253BC54-39C3-448E-CAA2-6D3A4ECD98B3}"/>
                  </a:ext>
                </a:extLst>
              </p:cNvPr>
              <p:cNvSpPr/>
              <p:nvPr/>
            </p:nvSpPr>
            <p:spPr>
              <a:xfrm>
                <a:off x="4428860" y="2607348"/>
                <a:ext cx="3333638" cy="3269772"/>
              </a:xfrm>
              <a:custGeom>
                <a:avLst/>
                <a:gdLst>
                  <a:gd name="connsiteX0" fmla="*/ 2370512 w 3333638"/>
                  <a:gd name="connsiteY0" fmla="*/ 3003654 h 3269772"/>
                  <a:gd name="connsiteX1" fmla="*/ 3214806 w 3333638"/>
                  <a:gd name="connsiteY1" fmla="*/ 2112002 h 3269772"/>
                  <a:gd name="connsiteX2" fmla="*/ 3223522 w 3333638"/>
                  <a:gd name="connsiteY2" fmla="*/ 861297 h 3269772"/>
                  <a:gd name="connsiteX3" fmla="*/ 2185625 w 3333638"/>
                  <a:gd name="connsiteY3" fmla="*/ 290053 h 3269772"/>
                  <a:gd name="connsiteX4" fmla="*/ 937697 w 3333638"/>
                  <a:gd name="connsiteY4" fmla="*/ 60738 h 3269772"/>
                  <a:gd name="connsiteX5" fmla="*/ 19665 w 3333638"/>
                  <a:gd name="connsiteY5" fmla="*/ 1176924 h 3269772"/>
                  <a:gd name="connsiteX6" fmla="*/ 404865 w 3333638"/>
                  <a:gd name="connsiteY6" fmla="*/ 2511240 h 3269772"/>
                  <a:gd name="connsiteX7" fmla="*/ 1212212 w 3333638"/>
                  <a:gd name="connsiteY7" fmla="*/ 3237597 h 3269772"/>
                  <a:gd name="connsiteX8" fmla="*/ 2370512 w 3333638"/>
                  <a:gd name="connsiteY8" fmla="*/ 3003654 h 3269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638" h="3269772">
                    <a:moveTo>
                      <a:pt x="2370512" y="3003654"/>
                    </a:moveTo>
                    <a:cubicBezTo>
                      <a:pt x="2750699" y="2796245"/>
                      <a:pt x="3106897" y="2520419"/>
                      <a:pt x="3214806" y="2112002"/>
                    </a:cubicBezTo>
                    <a:cubicBezTo>
                      <a:pt x="3316775" y="1724873"/>
                      <a:pt x="3417279" y="1214719"/>
                      <a:pt x="3223522" y="861297"/>
                    </a:cubicBezTo>
                    <a:cubicBezTo>
                      <a:pt x="3014800" y="480494"/>
                      <a:pt x="2595585" y="396265"/>
                      <a:pt x="2185625" y="290053"/>
                    </a:cubicBezTo>
                    <a:cubicBezTo>
                      <a:pt x="1799191" y="189935"/>
                      <a:pt x="1289268" y="-133019"/>
                      <a:pt x="937697" y="60738"/>
                    </a:cubicBezTo>
                    <a:cubicBezTo>
                      <a:pt x="556508" y="270770"/>
                      <a:pt x="124334" y="765730"/>
                      <a:pt x="19665" y="1176924"/>
                    </a:cubicBezTo>
                    <a:cubicBezTo>
                      <a:pt x="-78448" y="1561121"/>
                      <a:pt x="212651" y="2161829"/>
                      <a:pt x="404865" y="2511240"/>
                    </a:cubicBezTo>
                    <a:cubicBezTo>
                      <a:pt x="614357" y="2892120"/>
                      <a:pt x="801635" y="3132157"/>
                      <a:pt x="1212212" y="3237597"/>
                    </a:cubicBezTo>
                    <a:cubicBezTo>
                      <a:pt x="1595175" y="3336095"/>
                      <a:pt x="2021102" y="3194326"/>
                      <a:pt x="2370512" y="30036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194B9679-2F91-D9D5-CE7D-F219104873D7}"/>
                  </a:ext>
                </a:extLst>
              </p:cNvPr>
              <p:cNvSpPr/>
              <p:nvPr/>
            </p:nvSpPr>
            <p:spPr>
              <a:xfrm>
                <a:off x="4465597" y="2604029"/>
                <a:ext cx="3297610" cy="3240257"/>
              </a:xfrm>
              <a:custGeom>
                <a:avLst/>
                <a:gdLst>
                  <a:gd name="connsiteX0" fmla="*/ 2368253 w 3297610"/>
                  <a:gd name="connsiteY0" fmla="*/ 3011601 h 3240257"/>
                  <a:gd name="connsiteX1" fmla="*/ 3143667 w 3297610"/>
                  <a:gd name="connsiteY1" fmla="*/ 2110307 h 3240257"/>
                  <a:gd name="connsiteX2" fmla="*/ 3197583 w 3297610"/>
                  <a:gd name="connsiteY2" fmla="*/ 846953 h 3240257"/>
                  <a:gd name="connsiteX3" fmla="*/ 2130145 w 3297610"/>
                  <a:gd name="connsiteY3" fmla="*/ 336721 h 3240257"/>
                  <a:gd name="connsiteX4" fmla="*/ 845347 w 3297610"/>
                  <a:gd name="connsiteY4" fmla="*/ 59352 h 3240257"/>
                  <a:gd name="connsiteX5" fmla="*/ 25197 w 3297610"/>
                  <a:gd name="connsiteY5" fmla="*/ 1196981 h 3240257"/>
                  <a:gd name="connsiteX6" fmla="*/ 351236 w 3297610"/>
                  <a:gd name="connsiteY6" fmla="*/ 2583130 h 3240257"/>
                  <a:gd name="connsiteX7" fmla="*/ 1199772 w 3297610"/>
                  <a:gd name="connsiteY7" fmla="*/ 3197645 h 3240257"/>
                  <a:gd name="connsiteX8" fmla="*/ 2368176 w 3297610"/>
                  <a:gd name="connsiteY8" fmla="*/ 3011756 h 3240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7610" h="3240257">
                    <a:moveTo>
                      <a:pt x="2368253" y="3011601"/>
                    </a:moveTo>
                    <a:cubicBezTo>
                      <a:pt x="2734325" y="2803729"/>
                      <a:pt x="3037610" y="2512708"/>
                      <a:pt x="3143667" y="2110307"/>
                    </a:cubicBezTo>
                    <a:cubicBezTo>
                      <a:pt x="3248491" y="1711146"/>
                      <a:pt x="3400750" y="1202611"/>
                      <a:pt x="3197583" y="846953"/>
                    </a:cubicBezTo>
                    <a:cubicBezTo>
                      <a:pt x="2988554" y="481113"/>
                      <a:pt x="2533317" y="441159"/>
                      <a:pt x="2130145" y="336721"/>
                    </a:cubicBezTo>
                    <a:cubicBezTo>
                      <a:pt x="1731138" y="233364"/>
                      <a:pt x="1199617" y="-144355"/>
                      <a:pt x="845347" y="59352"/>
                    </a:cubicBezTo>
                    <a:cubicBezTo>
                      <a:pt x="479739" y="269539"/>
                      <a:pt x="128246" y="793269"/>
                      <a:pt x="25197" y="1196981"/>
                    </a:cubicBezTo>
                    <a:cubicBezTo>
                      <a:pt x="-76464" y="1593828"/>
                      <a:pt x="149149" y="2230788"/>
                      <a:pt x="351236" y="2583130"/>
                    </a:cubicBezTo>
                    <a:cubicBezTo>
                      <a:pt x="560960" y="2948739"/>
                      <a:pt x="796368" y="3093902"/>
                      <a:pt x="1199772" y="3197645"/>
                    </a:cubicBezTo>
                    <a:cubicBezTo>
                      <a:pt x="1594768" y="3299383"/>
                      <a:pt x="2016143" y="3211683"/>
                      <a:pt x="2368176" y="301175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964B920C-BAF3-1594-2DFA-0CE6048B4A3F}"/>
                  </a:ext>
                </a:extLst>
              </p:cNvPr>
              <p:cNvSpPr/>
              <p:nvPr/>
            </p:nvSpPr>
            <p:spPr>
              <a:xfrm>
                <a:off x="4499869" y="2600116"/>
                <a:ext cx="3267148" cy="3216006"/>
              </a:xfrm>
              <a:custGeom>
                <a:avLst/>
                <a:gdLst>
                  <a:gd name="connsiteX0" fmla="*/ 2368459 w 3267148"/>
                  <a:gd name="connsiteY0" fmla="*/ 3020220 h 3216006"/>
                  <a:gd name="connsiteX1" fmla="*/ 3074994 w 3267148"/>
                  <a:gd name="connsiteY1" fmla="*/ 2109207 h 3216006"/>
                  <a:gd name="connsiteX2" fmla="*/ 3174032 w 3267148"/>
                  <a:gd name="connsiteY2" fmla="*/ 833203 h 3216006"/>
                  <a:gd name="connsiteX3" fmla="*/ 2077052 w 3267148"/>
                  <a:gd name="connsiteY3" fmla="*/ 384060 h 3216006"/>
                  <a:gd name="connsiteX4" fmla="*/ 755385 w 3267148"/>
                  <a:gd name="connsiteY4" fmla="*/ 58637 h 3216006"/>
                  <a:gd name="connsiteX5" fmla="*/ 33193 w 3267148"/>
                  <a:gd name="connsiteY5" fmla="*/ 1217631 h 3216006"/>
                  <a:gd name="connsiteX6" fmla="*/ 300072 w 3267148"/>
                  <a:gd name="connsiteY6" fmla="*/ 2655537 h 3216006"/>
                  <a:gd name="connsiteX7" fmla="*/ 1189873 w 3267148"/>
                  <a:gd name="connsiteY7" fmla="*/ 3158209 h 3216006"/>
                  <a:gd name="connsiteX8" fmla="*/ 2368305 w 3267148"/>
                  <a:gd name="connsiteY8" fmla="*/ 3020297 h 3216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7148" h="3216006">
                    <a:moveTo>
                      <a:pt x="2368459" y="3020220"/>
                    </a:moveTo>
                    <a:cubicBezTo>
                      <a:pt x="2720493" y="2812193"/>
                      <a:pt x="2970787" y="2505668"/>
                      <a:pt x="3074994" y="2109207"/>
                    </a:cubicBezTo>
                    <a:cubicBezTo>
                      <a:pt x="3182748" y="1698013"/>
                      <a:pt x="3386995" y="1190866"/>
                      <a:pt x="3174032" y="833203"/>
                    </a:cubicBezTo>
                    <a:cubicBezTo>
                      <a:pt x="2965002" y="482095"/>
                      <a:pt x="2473360" y="486646"/>
                      <a:pt x="2077052" y="384060"/>
                    </a:cubicBezTo>
                    <a:cubicBezTo>
                      <a:pt x="1665473" y="277462"/>
                      <a:pt x="1112201" y="-155406"/>
                      <a:pt x="755385" y="58637"/>
                    </a:cubicBezTo>
                    <a:cubicBezTo>
                      <a:pt x="405203" y="268669"/>
                      <a:pt x="134545" y="821401"/>
                      <a:pt x="33193" y="1217631"/>
                    </a:cubicBezTo>
                    <a:cubicBezTo>
                      <a:pt x="-71939" y="1627205"/>
                      <a:pt x="87803" y="2300495"/>
                      <a:pt x="300072" y="2655537"/>
                    </a:cubicBezTo>
                    <a:cubicBezTo>
                      <a:pt x="509718" y="3006104"/>
                      <a:pt x="793566" y="3056163"/>
                      <a:pt x="1189873" y="3158209"/>
                    </a:cubicBezTo>
                    <a:cubicBezTo>
                      <a:pt x="1596979" y="3263187"/>
                      <a:pt x="2013881" y="3229711"/>
                      <a:pt x="2368305" y="302029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A7E9F96E-8445-9C5D-8F40-18FF144F39F7}"/>
                  </a:ext>
                </a:extLst>
              </p:cNvPr>
              <p:cNvSpPr/>
              <p:nvPr/>
            </p:nvSpPr>
            <p:spPr>
              <a:xfrm>
                <a:off x="4530202" y="2595585"/>
                <a:ext cx="3242767" cy="3198539"/>
              </a:xfrm>
              <a:custGeom>
                <a:avLst/>
                <a:gdLst>
                  <a:gd name="connsiteX0" fmla="*/ 2372604 w 3242767"/>
                  <a:gd name="connsiteY0" fmla="*/ 3029379 h 3198539"/>
                  <a:gd name="connsiteX1" fmla="*/ 3010259 w 3242767"/>
                  <a:gd name="connsiteY1" fmla="*/ 2108724 h 3198539"/>
                  <a:gd name="connsiteX2" fmla="*/ 3154497 w 3242767"/>
                  <a:gd name="connsiteY2" fmla="*/ 819993 h 3198539"/>
                  <a:gd name="connsiteX3" fmla="*/ 2027976 w 3242767"/>
                  <a:gd name="connsiteY3" fmla="*/ 431862 h 3198539"/>
                  <a:gd name="connsiteX4" fmla="*/ 669516 w 3242767"/>
                  <a:gd name="connsiteY4" fmla="*/ 58386 h 3198539"/>
                  <a:gd name="connsiteX5" fmla="*/ 45282 w 3242767"/>
                  <a:gd name="connsiteY5" fmla="*/ 1238823 h 3198539"/>
                  <a:gd name="connsiteX6" fmla="*/ 253078 w 3242767"/>
                  <a:gd name="connsiteY6" fmla="*/ 2728484 h 3198539"/>
                  <a:gd name="connsiteX7" fmla="*/ 1184145 w 3242767"/>
                  <a:gd name="connsiteY7" fmla="*/ 3119315 h 3198539"/>
                  <a:gd name="connsiteX8" fmla="*/ 2372681 w 3242767"/>
                  <a:gd name="connsiteY8" fmla="*/ 3029379 h 319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2767" h="3198539">
                    <a:moveTo>
                      <a:pt x="2372604" y="3029379"/>
                    </a:moveTo>
                    <a:cubicBezTo>
                      <a:pt x="2710831" y="2821429"/>
                      <a:pt x="2907904" y="2499092"/>
                      <a:pt x="3010259" y="2108724"/>
                    </a:cubicBezTo>
                    <a:cubicBezTo>
                      <a:pt x="3120867" y="1685498"/>
                      <a:pt x="3377488" y="1179585"/>
                      <a:pt x="3154497" y="819993"/>
                    </a:cubicBezTo>
                    <a:cubicBezTo>
                      <a:pt x="2945776" y="483464"/>
                      <a:pt x="2417495" y="532752"/>
                      <a:pt x="2027976" y="431862"/>
                    </a:cubicBezTo>
                    <a:cubicBezTo>
                      <a:pt x="1603746" y="321948"/>
                      <a:pt x="1028569" y="-166224"/>
                      <a:pt x="669516" y="58386"/>
                    </a:cubicBezTo>
                    <a:cubicBezTo>
                      <a:pt x="334530" y="267878"/>
                      <a:pt x="144938" y="850075"/>
                      <a:pt x="45282" y="1238823"/>
                    </a:cubicBezTo>
                    <a:cubicBezTo>
                      <a:pt x="-63320" y="1661047"/>
                      <a:pt x="30241" y="2370898"/>
                      <a:pt x="253078" y="2728484"/>
                    </a:cubicBezTo>
                    <a:cubicBezTo>
                      <a:pt x="462261" y="3064165"/>
                      <a:pt x="795011" y="3018966"/>
                      <a:pt x="1184145" y="3119315"/>
                    </a:cubicBezTo>
                    <a:cubicBezTo>
                      <a:pt x="1603283" y="3227532"/>
                      <a:pt x="2015943" y="3248666"/>
                      <a:pt x="2372681" y="30293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2C3AECCF-B21F-0EE0-A986-829A53B9CA7A}"/>
                  </a:ext>
                </a:extLst>
              </p:cNvPr>
              <p:cNvSpPr/>
              <p:nvPr/>
            </p:nvSpPr>
            <p:spPr>
              <a:xfrm>
                <a:off x="4553971" y="2590726"/>
                <a:ext cx="3226504" cy="3187950"/>
              </a:xfrm>
              <a:custGeom>
                <a:avLst/>
                <a:gdLst>
                  <a:gd name="connsiteX0" fmla="*/ 2383391 w 3226504"/>
                  <a:gd name="connsiteY0" fmla="*/ 3038865 h 3187950"/>
                  <a:gd name="connsiteX1" fmla="*/ 2952166 w 3226504"/>
                  <a:gd name="connsiteY1" fmla="*/ 2108570 h 3187950"/>
                  <a:gd name="connsiteX2" fmla="*/ 3141527 w 3226504"/>
                  <a:gd name="connsiteY2" fmla="*/ 807189 h 3187950"/>
                  <a:gd name="connsiteX3" fmla="*/ 1985463 w 3226504"/>
                  <a:gd name="connsiteY3" fmla="*/ 480070 h 3187950"/>
                  <a:gd name="connsiteX4" fmla="*/ 590135 w 3226504"/>
                  <a:gd name="connsiteY4" fmla="*/ 58540 h 3187950"/>
                  <a:gd name="connsiteX5" fmla="*/ 63859 w 3226504"/>
                  <a:gd name="connsiteY5" fmla="*/ 1260420 h 3187950"/>
                  <a:gd name="connsiteX6" fmla="*/ 212494 w 3226504"/>
                  <a:gd name="connsiteY6" fmla="*/ 2801914 h 3187950"/>
                  <a:gd name="connsiteX7" fmla="*/ 1184827 w 3226504"/>
                  <a:gd name="connsiteY7" fmla="*/ 3080825 h 3187950"/>
                  <a:gd name="connsiteX8" fmla="*/ 2383391 w 3226504"/>
                  <a:gd name="connsiteY8" fmla="*/ 3038865 h 3187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6504" h="3187950">
                    <a:moveTo>
                      <a:pt x="2383391" y="3038865"/>
                    </a:moveTo>
                    <a:cubicBezTo>
                      <a:pt x="2707964" y="2831302"/>
                      <a:pt x="2851740" y="2492921"/>
                      <a:pt x="2952166" y="2108570"/>
                    </a:cubicBezTo>
                    <a:cubicBezTo>
                      <a:pt x="3065629" y="1673310"/>
                      <a:pt x="3374930" y="1168401"/>
                      <a:pt x="3141527" y="807189"/>
                    </a:cubicBezTo>
                    <a:cubicBezTo>
                      <a:pt x="2933423" y="485083"/>
                      <a:pt x="2368118" y="579185"/>
                      <a:pt x="1985463" y="480070"/>
                    </a:cubicBezTo>
                    <a:cubicBezTo>
                      <a:pt x="1548662" y="366916"/>
                      <a:pt x="951347" y="-177023"/>
                      <a:pt x="590135" y="58540"/>
                    </a:cubicBezTo>
                    <a:cubicBezTo>
                      <a:pt x="270112" y="267261"/>
                      <a:pt x="161818" y="879077"/>
                      <a:pt x="63859" y="1260420"/>
                    </a:cubicBezTo>
                    <a:cubicBezTo>
                      <a:pt x="-48214" y="1695293"/>
                      <a:pt x="-21218" y="2442014"/>
                      <a:pt x="212494" y="2801914"/>
                    </a:cubicBezTo>
                    <a:cubicBezTo>
                      <a:pt x="420983" y="3122940"/>
                      <a:pt x="802790" y="2982250"/>
                      <a:pt x="1184827" y="3080825"/>
                    </a:cubicBezTo>
                    <a:cubicBezTo>
                      <a:pt x="1615998" y="3192205"/>
                      <a:pt x="2024647" y="3268258"/>
                      <a:pt x="2383391" y="303886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6D7732FC-69BE-BFFA-1B33-F54FF1202F47}"/>
                  </a:ext>
                </a:extLst>
              </p:cNvPr>
              <p:cNvSpPr/>
              <p:nvPr/>
            </p:nvSpPr>
            <p:spPr>
              <a:xfrm>
                <a:off x="4568996" y="2585529"/>
                <a:ext cx="3220062" cy="3183237"/>
              </a:xfrm>
              <a:custGeom>
                <a:avLst/>
                <a:gdLst>
                  <a:gd name="connsiteX0" fmla="*/ 2402845 w 3220062"/>
                  <a:gd name="connsiteY0" fmla="*/ 3048690 h 3183237"/>
                  <a:gd name="connsiteX1" fmla="*/ 2902741 w 3220062"/>
                  <a:gd name="connsiteY1" fmla="*/ 2108752 h 3183237"/>
                  <a:gd name="connsiteX2" fmla="*/ 3137301 w 3220062"/>
                  <a:gd name="connsiteY2" fmla="*/ 794722 h 3183237"/>
                  <a:gd name="connsiteX3" fmla="*/ 1951696 w 3220062"/>
                  <a:gd name="connsiteY3" fmla="*/ 528615 h 3183237"/>
                  <a:gd name="connsiteX4" fmla="*/ 519498 w 3220062"/>
                  <a:gd name="connsiteY4" fmla="*/ 59031 h 3183237"/>
                  <a:gd name="connsiteX5" fmla="*/ 91104 w 3220062"/>
                  <a:gd name="connsiteY5" fmla="*/ 1282277 h 3183237"/>
                  <a:gd name="connsiteX6" fmla="*/ 180577 w 3220062"/>
                  <a:gd name="connsiteY6" fmla="*/ 2875527 h 3183237"/>
                  <a:gd name="connsiteX7" fmla="*/ 1194100 w 3220062"/>
                  <a:gd name="connsiteY7" fmla="*/ 3042597 h 3183237"/>
                  <a:gd name="connsiteX8" fmla="*/ 2402690 w 3220062"/>
                  <a:gd name="connsiteY8" fmla="*/ 3048690 h 3183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062" h="3183237">
                    <a:moveTo>
                      <a:pt x="2402845" y="3048690"/>
                    </a:moveTo>
                    <a:cubicBezTo>
                      <a:pt x="2713920" y="2841743"/>
                      <a:pt x="2804166" y="2487088"/>
                      <a:pt x="2902741" y="2108752"/>
                    </a:cubicBezTo>
                    <a:cubicBezTo>
                      <a:pt x="3019057" y="1661538"/>
                      <a:pt x="3381426" y="1157322"/>
                      <a:pt x="3137301" y="794722"/>
                    </a:cubicBezTo>
                    <a:cubicBezTo>
                      <a:pt x="2930046" y="486809"/>
                      <a:pt x="2327563" y="626033"/>
                      <a:pt x="1951696" y="528615"/>
                    </a:cubicBezTo>
                    <a:cubicBezTo>
                      <a:pt x="1502322" y="412221"/>
                      <a:pt x="882484" y="-187870"/>
                      <a:pt x="519498" y="59031"/>
                    </a:cubicBezTo>
                    <a:cubicBezTo>
                      <a:pt x="214284" y="266672"/>
                      <a:pt x="187442" y="908415"/>
                      <a:pt x="91104" y="1282277"/>
                    </a:cubicBezTo>
                    <a:cubicBezTo>
                      <a:pt x="-24441" y="1729877"/>
                      <a:pt x="-64396" y="2513621"/>
                      <a:pt x="180577" y="2875527"/>
                    </a:cubicBezTo>
                    <a:cubicBezTo>
                      <a:pt x="388064" y="3182052"/>
                      <a:pt x="819235" y="2945718"/>
                      <a:pt x="1194100" y="3042597"/>
                    </a:cubicBezTo>
                    <a:cubicBezTo>
                      <a:pt x="1637304" y="3157215"/>
                      <a:pt x="2042173" y="3288495"/>
                      <a:pt x="2402690" y="304869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A4EA217D-0901-90F5-B862-FE5F71498F43}"/>
                  </a:ext>
                </a:extLst>
              </p:cNvPr>
              <p:cNvSpPr/>
              <p:nvPr/>
            </p:nvSpPr>
            <p:spPr>
              <a:xfrm>
                <a:off x="4575239" y="2579941"/>
                <a:ext cx="3223194" cy="3183120"/>
              </a:xfrm>
              <a:custGeom>
                <a:avLst/>
                <a:gdLst>
                  <a:gd name="connsiteX0" fmla="*/ 2431079 w 3223194"/>
                  <a:gd name="connsiteY0" fmla="*/ 3058906 h 3183120"/>
                  <a:gd name="connsiteX1" fmla="*/ 2862096 w 3223194"/>
                  <a:gd name="connsiteY1" fmla="*/ 2109327 h 3183120"/>
                  <a:gd name="connsiteX2" fmla="*/ 3141779 w 3223194"/>
                  <a:gd name="connsiteY2" fmla="*/ 782570 h 3183120"/>
                  <a:gd name="connsiteX3" fmla="*/ 1926632 w 3223194"/>
                  <a:gd name="connsiteY3" fmla="*/ 577475 h 3183120"/>
                  <a:gd name="connsiteX4" fmla="*/ 457565 w 3223194"/>
                  <a:gd name="connsiteY4" fmla="*/ 59838 h 3183120"/>
                  <a:gd name="connsiteX5" fmla="*/ 127129 w 3223194"/>
                  <a:gd name="connsiteY5" fmla="*/ 1304526 h 3183120"/>
                  <a:gd name="connsiteX6" fmla="*/ 157519 w 3223194"/>
                  <a:gd name="connsiteY6" fmla="*/ 2949610 h 3183120"/>
                  <a:gd name="connsiteX7" fmla="*/ 1212307 w 3223194"/>
                  <a:gd name="connsiteY7" fmla="*/ 3004836 h 3183120"/>
                  <a:gd name="connsiteX8" fmla="*/ 2431002 w 3223194"/>
                  <a:gd name="connsiteY8" fmla="*/ 3058906 h 318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3194" h="3183120">
                    <a:moveTo>
                      <a:pt x="2431079" y="3058906"/>
                    </a:moveTo>
                    <a:cubicBezTo>
                      <a:pt x="2728888" y="2852731"/>
                      <a:pt x="2765372" y="2481646"/>
                      <a:pt x="2862096" y="2109327"/>
                    </a:cubicBezTo>
                    <a:cubicBezTo>
                      <a:pt x="2981343" y="1650080"/>
                      <a:pt x="3397011" y="1146327"/>
                      <a:pt x="3141779" y="782570"/>
                    </a:cubicBezTo>
                    <a:cubicBezTo>
                      <a:pt x="2935526" y="488695"/>
                      <a:pt x="2295712" y="673119"/>
                      <a:pt x="1926632" y="577475"/>
                    </a:cubicBezTo>
                    <a:cubicBezTo>
                      <a:pt x="1464608" y="457765"/>
                      <a:pt x="822016" y="-198865"/>
                      <a:pt x="457565" y="59838"/>
                    </a:cubicBezTo>
                    <a:cubicBezTo>
                      <a:pt x="166852" y="266168"/>
                      <a:pt x="221848" y="938146"/>
                      <a:pt x="127129" y="1304526"/>
                    </a:cubicBezTo>
                    <a:cubicBezTo>
                      <a:pt x="8113" y="1764776"/>
                      <a:pt x="-99178" y="2585930"/>
                      <a:pt x="157519" y="2949610"/>
                    </a:cubicBezTo>
                    <a:cubicBezTo>
                      <a:pt x="363849" y="3241942"/>
                      <a:pt x="844539" y="2909655"/>
                      <a:pt x="1212307" y="3004836"/>
                    </a:cubicBezTo>
                    <a:cubicBezTo>
                      <a:pt x="1667544" y="3122695"/>
                      <a:pt x="2068942" y="3309510"/>
                      <a:pt x="2431002" y="305890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87D16473-DB06-0100-3B54-E41538C5E5CB}"/>
                  </a:ext>
                </a:extLst>
              </p:cNvPr>
              <p:cNvSpPr/>
              <p:nvPr/>
            </p:nvSpPr>
            <p:spPr>
              <a:xfrm>
                <a:off x="4574616" y="2574268"/>
                <a:ext cx="3233910" cy="3186151"/>
              </a:xfrm>
              <a:custGeom>
                <a:avLst/>
                <a:gdLst>
                  <a:gd name="connsiteX0" fmla="*/ 2828318 w 3233910"/>
                  <a:gd name="connsiteY0" fmla="*/ 2109987 h 3186151"/>
                  <a:gd name="connsiteX1" fmla="*/ 3153201 w 3233910"/>
                  <a:gd name="connsiteY1" fmla="*/ 770580 h 3186151"/>
                  <a:gd name="connsiteX2" fmla="*/ 1908512 w 3233910"/>
                  <a:gd name="connsiteY2" fmla="*/ 626573 h 3186151"/>
                  <a:gd name="connsiteX3" fmla="*/ 402652 w 3233910"/>
                  <a:gd name="connsiteY3" fmla="*/ 60883 h 3186151"/>
                  <a:gd name="connsiteX4" fmla="*/ 170175 w 3233910"/>
                  <a:gd name="connsiteY4" fmla="*/ 1327014 h 3186151"/>
                  <a:gd name="connsiteX5" fmla="*/ 141404 w 3233910"/>
                  <a:gd name="connsiteY5" fmla="*/ 3023854 h 3186151"/>
                  <a:gd name="connsiteX6" fmla="*/ 1237458 w 3233910"/>
                  <a:gd name="connsiteY6" fmla="*/ 2967238 h 3186151"/>
                  <a:gd name="connsiteX7" fmla="*/ 2466180 w 3233910"/>
                  <a:gd name="connsiteY7" fmla="*/ 3069285 h 3186151"/>
                  <a:gd name="connsiteX8" fmla="*/ 2828318 w 3233910"/>
                  <a:gd name="connsiteY8" fmla="*/ 2110064 h 3186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3910" h="3186151">
                    <a:moveTo>
                      <a:pt x="2828318" y="2109987"/>
                    </a:moveTo>
                    <a:cubicBezTo>
                      <a:pt x="2950419" y="1638707"/>
                      <a:pt x="3419925" y="1135031"/>
                      <a:pt x="3153201" y="770580"/>
                    </a:cubicBezTo>
                    <a:cubicBezTo>
                      <a:pt x="2948182" y="490434"/>
                      <a:pt x="2270727" y="720366"/>
                      <a:pt x="1908512" y="626573"/>
                    </a:cubicBezTo>
                    <a:cubicBezTo>
                      <a:pt x="1433915" y="503624"/>
                      <a:pt x="768029" y="-210007"/>
                      <a:pt x="402652" y="60883"/>
                    </a:cubicBezTo>
                    <a:cubicBezTo>
                      <a:pt x="126286" y="265747"/>
                      <a:pt x="263197" y="968039"/>
                      <a:pt x="170175" y="1327014"/>
                    </a:cubicBezTo>
                    <a:cubicBezTo>
                      <a:pt x="47611" y="1799914"/>
                      <a:pt x="-127326" y="2658939"/>
                      <a:pt x="141404" y="3023854"/>
                    </a:cubicBezTo>
                    <a:cubicBezTo>
                      <a:pt x="346345" y="3302147"/>
                      <a:pt x="876786" y="2873831"/>
                      <a:pt x="1237458" y="2967238"/>
                    </a:cubicBezTo>
                    <a:cubicBezTo>
                      <a:pt x="1704727" y="3088336"/>
                      <a:pt x="2102963" y="3331072"/>
                      <a:pt x="2466180" y="3069285"/>
                    </a:cubicBezTo>
                    <a:cubicBezTo>
                      <a:pt x="2750877" y="2864112"/>
                      <a:pt x="2733445" y="2476289"/>
                      <a:pt x="2828318" y="21100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38" name="Graphic 5">
              <a:extLst>
                <a:ext uri="{FF2B5EF4-FFF2-40B4-BE49-F238E27FC236}">
                  <a16:creationId xmlns:a16="http://schemas.microsoft.com/office/drawing/2014/main" id="{A5C99541-2055-B461-9652-17FC4D69B4B5}"/>
                </a:ext>
              </a:extLst>
            </p:cNvPr>
            <p:cNvGrpSpPr/>
            <p:nvPr/>
          </p:nvGrpSpPr>
          <p:grpSpPr>
            <a:xfrm rot="20743245">
              <a:off x="-1641318" y="712755"/>
              <a:ext cx="8683276" cy="5650143"/>
              <a:chOff x="3224705" y="2448010"/>
              <a:chExt cx="5745675" cy="3738674"/>
            </a:xfrm>
            <a:noFill/>
          </p:grpSpPr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66E25FC5-437E-D4E0-77B2-0C4D13C26236}"/>
                  </a:ext>
                </a:extLst>
              </p:cNvPr>
              <p:cNvSpPr/>
              <p:nvPr/>
            </p:nvSpPr>
            <p:spPr>
              <a:xfrm>
                <a:off x="3224705" y="2973429"/>
                <a:ext cx="4086746" cy="2988613"/>
              </a:xfrm>
              <a:custGeom>
                <a:avLst/>
                <a:gdLst>
                  <a:gd name="connsiteX0" fmla="*/ 3021857 w 4086746"/>
                  <a:gd name="connsiteY0" fmla="*/ 21082 h 2988613"/>
                  <a:gd name="connsiteX1" fmla="*/ 1949714 w 4086746"/>
                  <a:gd name="connsiteY1" fmla="*/ 140561 h 2988613"/>
                  <a:gd name="connsiteX2" fmla="*/ 17620 w 4086746"/>
                  <a:gd name="connsiteY2" fmla="*/ 326759 h 2988613"/>
                  <a:gd name="connsiteX3" fmla="*/ 1162808 w 4086746"/>
                  <a:gd name="connsiteY3" fmla="*/ 2051134 h 2988613"/>
                  <a:gd name="connsiteX4" fmla="*/ 2164991 w 4086746"/>
                  <a:gd name="connsiteY4" fmla="*/ 2546943 h 2988613"/>
                  <a:gd name="connsiteX5" fmla="*/ 3449172 w 4086746"/>
                  <a:gd name="connsiteY5" fmla="*/ 2922733 h 2988613"/>
                  <a:gd name="connsiteX6" fmla="*/ 3803596 w 4086746"/>
                  <a:gd name="connsiteY6" fmla="*/ 1748620 h 2988613"/>
                  <a:gd name="connsiteX7" fmla="*/ 3997970 w 4086746"/>
                  <a:gd name="connsiteY7" fmla="*/ 855117 h 2988613"/>
                  <a:gd name="connsiteX8" fmla="*/ 3021857 w 4086746"/>
                  <a:gd name="connsiteY8" fmla="*/ 21160 h 2988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6746" h="2988613">
                    <a:moveTo>
                      <a:pt x="3021857" y="21082"/>
                    </a:moveTo>
                    <a:cubicBezTo>
                      <a:pt x="2524275" y="34658"/>
                      <a:pt x="2338926" y="-88523"/>
                      <a:pt x="1949714" y="140561"/>
                    </a:cubicBezTo>
                    <a:cubicBezTo>
                      <a:pt x="1650594" y="316654"/>
                      <a:pt x="147126" y="-24349"/>
                      <a:pt x="17620" y="326759"/>
                    </a:cubicBezTo>
                    <a:cubicBezTo>
                      <a:pt x="-151995" y="786777"/>
                      <a:pt x="953624" y="1647191"/>
                      <a:pt x="1162808" y="2051134"/>
                    </a:cubicBezTo>
                    <a:cubicBezTo>
                      <a:pt x="1489850" y="2682542"/>
                      <a:pt x="1817123" y="2418671"/>
                      <a:pt x="2164991" y="2546943"/>
                    </a:cubicBezTo>
                    <a:cubicBezTo>
                      <a:pt x="2623313" y="2715940"/>
                      <a:pt x="3059267" y="3153822"/>
                      <a:pt x="3449172" y="2922733"/>
                    </a:cubicBezTo>
                    <a:cubicBezTo>
                      <a:pt x="3746441" y="2746562"/>
                      <a:pt x="3674708" y="2098108"/>
                      <a:pt x="3803596" y="1748620"/>
                    </a:cubicBezTo>
                    <a:cubicBezTo>
                      <a:pt x="3970588" y="1295698"/>
                      <a:pt x="4222272" y="1242631"/>
                      <a:pt x="3997970" y="855117"/>
                    </a:cubicBezTo>
                    <a:cubicBezTo>
                      <a:pt x="3822185" y="551446"/>
                      <a:pt x="3400038" y="10824"/>
                      <a:pt x="3021857" y="211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EE7A929D-5C7B-BE8A-5159-8AB47B82F51F}"/>
                  </a:ext>
                </a:extLst>
              </p:cNvPr>
              <p:cNvSpPr/>
              <p:nvPr/>
            </p:nvSpPr>
            <p:spPr>
              <a:xfrm>
                <a:off x="3285345" y="2945042"/>
                <a:ext cx="4163768" cy="2979360"/>
              </a:xfrm>
              <a:custGeom>
                <a:avLst/>
                <a:gdLst>
                  <a:gd name="connsiteX0" fmla="*/ 3793170 w 4163768"/>
                  <a:gd name="connsiteY0" fmla="*/ 1782639 h 2979360"/>
                  <a:gd name="connsiteX1" fmla="*/ 4094681 w 4163768"/>
                  <a:gd name="connsiteY1" fmla="*/ 868155 h 2979360"/>
                  <a:gd name="connsiteX2" fmla="*/ 2987366 w 4163768"/>
                  <a:gd name="connsiteY2" fmla="*/ 28 h 2979360"/>
                  <a:gd name="connsiteX3" fmla="*/ 1885912 w 4163768"/>
                  <a:gd name="connsiteY3" fmla="*/ 197641 h 2979360"/>
                  <a:gd name="connsiteX4" fmla="*/ 15678 w 4163768"/>
                  <a:gd name="connsiteY4" fmla="*/ 437446 h 2979360"/>
                  <a:gd name="connsiteX5" fmla="*/ 1132404 w 4163768"/>
                  <a:gd name="connsiteY5" fmla="*/ 2066409 h 2979360"/>
                  <a:gd name="connsiteX6" fmla="*/ 2140990 w 4163768"/>
                  <a:gd name="connsiteY6" fmla="*/ 2635648 h 2979360"/>
                  <a:gd name="connsiteX7" fmla="*/ 3375266 w 4163768"/>
                  <a:gd name="connsiteY7" fmla="*/ 2903143 h 2979360"/>
                  <a:gd name="connsiteX8" fmla="*/ 3793247 w 4163768"/>
                  <a:gd name="connsiteY8" fmla="*/ 1782639 h 2979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63768" h="2979360">
                    <a:moveTo>
                      <a:pt x="3793170" y="1782639"/>
                    </a:moveTo>
                    <a:cubicBezTo>
                      <a:pt x="3948438" y="1338818"/>
                      <a:pt x="4315975" y="1250115"/>
                      <a:pt x="4094681" y="868155"/>
                    </a:cubicBezTo>
                    <a:cubicBezTo>
                      <a:pt x="3912417" y="553917"/>
                      <a:pt x="3371717" y="-4523"/>
                      <a:pt x="2987366" y="28"/>
                    </a:cubicBezTo>
                    <a:cubicBezTo>
                      <a:pt x="2503822" y="5735"/>
                      <a:pt x="2269030" y="-27894"/>
                      <a:pt x="1885912" y="197641"/>
                    </a:cubicBezTo>
                    <a:cubicBezTo>
                      <a:pt x="1575531" y="380291"/>
                      <a:pt x="141019" y="77932"/>
                      <a:pt x="15678" y="437446"/>
                    </a:cubicBezTo>
                    <a:cubicBezTo>
                      <a:pt x="-141132" y="887207"/>
                      <a:pt x="925072" y="1670179"/>
                      <a:pt x="1132404" y="2066409"/>
                    </a:cubicBezTo>
                    <a:cubicBezTo>
                      <a:pt x="1452196" y="2678688"/>
                      <a:pt x="1784560" y="2511310"/>
                      <a:pt x="2140990" y="2635648"/>
                    </a:cubicBezTo>
                    <a:cubicBezTo>
                      <a:pt x="2589439" y="2792072"/>
                      <a:pt x="2991608" y="3130376"/>
                      <a:pt x="3375266" y="2903143"/>
                    </a:cubicBezTo>
                    <a:cubicBezTo>
                      <a:pt x="3683333" y="2720725"/>
                      <a:pt x="3668215" y="2140071"/>
                      <a:pt x="3793247" y="178263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F675D3B4-AC92-A6FA-4023-D6A157363CC1}"/>
                  </a:ext>
                </a:extLst>
              </p:cNvPr>
              <p:cNvSpPr/>
              <p:nvPr/>
            </p:nvSpPr>
            <p:spPr>
              <a:xfrm>
                <a:off x="3345777" y="2895587"/>
                <a:ext cx="4247432" cy="2996098"/>
              </a:xfrm>
              <a:custGeom>
                <a:avLst/>
                <a:gdLst>
                  <a:gd name="connsiteX0" fmla="*/ 3783028 w 4247432"/>
                  <a:gd name="connsiteY0" fmla="*/ 1837724 h 2996098"/>
                  <a:gd name="connsiteX1" fmla="*/ 4191599 w 4247432"/>
                  <a:gd name="connsiteY1" fmla="*/ 902338 h 2996098"/>
                  <a:gd name="connsiteX2" fmla="*/ 2953081 w 4247432"/>
                  <a:gd name="connsiteY2" fmla="*/ 41 h 2996098"/>
                  <a:gd name="connsiteX3" fmla="*/ 1822318 w 4247432"/>
                  <a:gd name="connsiteY3" fmla="*/ 275790 h 2996098"/>
                  <a:gd name="connsiteX4" fmla="*/ 13867 w 4247432"/>
                  <a:gd name="connsiteY4" fmla="*/ 569202 h 2996098"/>
                  <a:gd name="connsiteX5" fmla="*/ 1102053 w 4247432"/>
                  <a:gd name="connsiteY5" fmla="*/ 2102675 h 2996098"/>
                  <a:gd name="connsiteX6" fmla="*/ 2117041 w 4247432"/>
                  <a:gd name="connsiteY6" fmla="*/ 2745420 h 2996098"/>
                  <a:gd name="connsiteX7" fmla="*/ 3301335 w 4247432"/>
                  <a:gd name="connsiteY7" fmla="*/ 2904699 h 2996098"/>
                  <a:gd name="connsiteX8" fmla="*/ 3782951 w 4247432"/>
                  <a:gd name="connsiteY8" fmla="*/ 1837724 h 299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47432" h="2996098">
                    <a:moveTo>
                      <a:pt x="3783028" y="1837724"/>
                    </a:moveTo>
                    <a:cubicBezTo>
                      <a:pt x="3926880" y="1403159"/>
                      <a:pt x="4410039" y="1278667"/>
                      <a:pt x="4191599" y="902338"/>
                    </a:cubicBezTo>
                    <a:cubicBezTo>
                      <a:pt x="4002856" y="577532"/>
                      <a:pt x="3343681" y="1506"/>
                      <a:pt x="2953081" y="41"/>
                    </a:cubicBezTo>
                    <a:cubicBezTo>
                      <a:pt x="2483575" y="-1733"/>
                      <a:pt x="2199342" y="53802"/>
                      <a:pt x="1822318" y="275790"/>
                    </a:cubicBezTo>
                    <a:cubicBezTo>
                      <a:pt x="1500752" y="465073"/>
                      <a:pt x="134888" y="201125"/>
                      <a:pt x="13867" y="569202"/>
                    </a:cubicBezTo>
                    <a:cubicBezTo>
                      <a:pt x="-130603" y="1008626"/>
                      <a:pt x="896726" y="1714158"/>
                      <a:pt x="1102053" y="2102675"/>
                    </a:cubicBezTo>
                    <a:cubicBezTo>
                      <a:pt x="1414672" y="2695824"/>
                      <a:pt x="1751896" y="2625171"/>
                      <a:pt x="2117041" y="2745420"/>
                    </a:cubicBezTo>
                    <a:cubicBezTo>
                      <a:pt x="2555309" y="2889658"/>
                      <a:pt x="2924002" y="3128075"/>
                      <a:pt x="3301335" y="2904699"/>
                    </a:cubicBezTo>
                    <a:cubicBezTo>
                      <a:pt x="3620201" y="2716033"/>
                      <a:pt x="3661930" y="2203256"/>
                      <a:pt x="3782951" y="183772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F3F3F5CA-621E-4DE8-3F9E-FED6B0D89880}"/>
                  </a:ext>
                </a:extLst>
              </p:cNvPr>
              <p:cNvSpPr/>
              <p:nvPr/>
            </p:nvSpPr>
            <p:spPr>
              <a:xfrm>
                <a:off x="3406170" y="2845727"/>
                <a:ext cx="4334890" cy="3021757"/>
              </a:xfrm>
              <a:custGeom>
                <a:avLst/>
                <a:gdLst>
                  <a:gd name="connsiteX0" fmla="*/ 3772848 w 4334890"/>
                  <a:gd name="connsiteY0" fmla="*/ 1893214 h 3021757"/>
                  <a:gd name="connsiteX1" fmla="*/ 4288557 w 4334890"/>
                  <a:gd name="connsiteY1" fmla="*/ 936924 h 3021757"/>
                  <a:gd name="connsiteX2" fmla="*/ 2918837 w 4334890"/>
                  <a:gd name="connsiteY2" fmla="*/ 381 h 3021757"/>
                  <a:gd name="connsiteX3" fmla="*/ 1758762 w 4334890"/>
                  <a:gd name="connsiteY3" fmla="*/ 354188 h 3021757"/>
                  <a:gd name="connsiteX4" fmla="*/ 12172 w 4334890"/>
                  <a:gd name="connsiteY4" fmla="*/ 701207 h 3021757"/>
                  <a:gd name="connsiteX5" fmla="*/ 1071897 w 4334890"/>
                  <a:gd name="connsiteY5" fmla="*/ 2139267 h 3021757"/>
                  <a:gd name="connsiteX6" fmla="*/ 2093286 w 4334890"/>
                  <a:gd name="connsiteY6" fmla="*/ 2855443 h 3021757"/>
                  <a:gd name="connsiteX7" fmla="*/ 3227676 w 4334890"/>
                  <a:gd name="connsiteY7" fmla="*/ 2906427 h 3021757"/>
                  <a:gd name="connsiteX8" fmla="*/ 3772926 w 4334890"/>
                  <a:gd name="connsiteY8" fmla="*/ 1893060 h 3021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34890" h="3021757">
                    <a:moveTo>
                      <a:pt x="3772848" y="1893214"/>
                    </a:moveTo>
                    <a:cubicBezTo>
                      <a:pt x="3905671" y="1468137"/>
                      <a:pt x="4503989" y="1307701"/>
                      <a:pt x="4288557" y="936924"/>
                    </a:cubicBezTo>
                    <a:cubicBezTo>
                      <a:pt x="4093411" y="601629"/>
                      <a:pt x="3315684" y="8094"/>
                      <a:pt x="2918837" y="381"/>
                    </a:cubicBezTo>
                    <a:cubicBezTo>
                      <a:pt x="2463446" y="-8412"/>
                      <a:pt x="2129770" y="135826"/>
                      <a:pt x="1758762" y="354188"/>
                    </a:cubicBezTo>
                    <a:cubicBezTo>
                      <a:pt x="1425935" y="550027"/>
                      <a:pt x="128642" y="324415"/>
                      <a:pt x="12172" y="701207"/>
                    </a:cubicBezTo>
                    <a:cubicBezTo>
                      <a:pt x="-120342" y="1129987"/>
                      <a:pt x="868421" y="1758386"/>
                      <a:pt x="1071897" y="2139267"/>
                    </a:cubicBezTo>
                    <a:cubicBezTo>
                      <a:pt x="1377265" y="2713288"/>
                      <a:pt x="1719270" y="2739667"/>
                      <a:pt x="2093286" y="2855443"/>
                    </a:cubicBezTo>
                    <a:cubicBezTo>
                      <a:pt x="2521218" y="2987957"/>
                      <a:pt x="2856591" y="3126024"/>
                      <a:pt x="3227676" y="2906427"/>
                    </a:cubicBezTo>
                    <a:cubicBezTo>
                      <a:pt x="3557340" y="2711514"/>
                      <a:pt x="3656147" y="2266690"/>
                      <a:pt x="3772926" y="18930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29ADCF4-6D0B-EA3B-8032-8A36F02A17DC}"/>
                  </a:ext>
                </a:extLst>
              </p:cNvPr>
              <p:cNvSpPr/>
              <p:nvPr/>
            </p:nvSpPr>
            <p:spPr>
              <a:xfrm>
                <a:off x="3466359" y="2795931"/>
                <a:ext cx="4425026" cy="3063471"/>
              </a:xfrm>
              <a:custGeom>
                <a:avLst/>
                <a:gdLst>
                  <a:gd name="connsiteX0" fmla="*/ 3762949 w 4425026"/>
                  <a:gd name="connsiteY0" fmla="*/ 1948641 h 3063471"/>
                  <a:gd name="connsiteX1" fmla="*/ 4385718 w 4425026"/>
                  <a:gd name="connsiteY1" fmla="*/ 971448 h 3063471"/>
                  <a:gd name="connsiteX2" fmla="*/ 2884795 w 4425026"/>
                  <a:gd name="connsiteY2" fmla="*/ 735 h 3063471"/>
                  <a:gd name="connsiteX3" fmla="*/ 1695410 w 4425026"/>
                  <a:gd name="connsiteY3" fmla="*/ 432677 h 3063471"/>
                  <a:gd name="connsiteX4" fmla="*/ 10603 w 4425026"/>
                  <a:gd name="connsiteY4" fmla="*/ 833304 h 3063471"/>
                  <a:gd name="connsiteX5" fmla="*/ 1041789 w 4425026"/>
                  <a:gd name="connsiteY5" fmla="*/ 2175951 h 3063471"/>
                  <a:gd name="connsiteX6" fmla="*/ 2069581 w 4425026"/>
                  <a:gd name="connsiteY6" fmla="*/ 2965634 h 3063471"/>
                  <a:gd name="connsiteX7" fmla="*/ 3154065 w 4425026"/>
                  <a:gd name="connsiteY7" fmla="*/ 2908401 h 3063471"/>
                  <a:gd name="connsiteX8" fmla="*/ 3762949 w 4425026"/>
                  <a:gd name="connsiteY8" fmla="*/ 1948564 h 3063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25026" h="3063471">
                    <a:moveTo>
                      <a:pt x="3762949" y="1948641"/>
                    </a:moveTo>
                    <a:cubicBezTo>
                      <a:pt x="3885128" y="1533127"/>
                      <a:pt x="4598295" y="1336594"/>
                      <a:pt x="4385718" y="971448"/>
                    </a:cubicBezTo>
                    <a:cubicBezTo>
                      <a:pt x="4184094" y="625586"/>
                      <a:pt x="3287967" y="14927"/>
                      <a:pt x="2884795" y="735"/>
                    </a:cubicBezTo>
                    <a:cubicBezTo>
                      <a:pt x="2443596" y="-14769"/>
                      <a:pt x="2060325" y="217863"/>
                      <a:pt x="1695410" y="432677"/>
                    </a:cubicBezTo>
                    <a:cubicBezTo>
                      <a:pt x="1351399" y="635150"/>
                      <a:pt x="122214" y="447718"/>
                      <a:pt x="10603" y="833304"/>
                    </a:cubicBezTo>
                    <a:cubicBezTo>
                      <a:pt x="-110418" y="1251362"/>
                      <a:pt x="840318" y="1802706"/>
                      <a:pt x="1041789" y="2175951"/>
                    </a:cubicBezTo>
                    <a:cubicBezTo>
                      <a:pt x="1339983" y="2730842"/>
                      <a:pt x="1686617" y="2854485"/>
                      <a:pt x="2069581" y="2965634"/>
                    </a:cubicBezTo>
                    <a:cubicBezTo>
                      <a:pt x="2487022" y="3086809"/>
                      <a:pt x="2789228" y="3124141"/>
                      <a:pt x="3154065" y="2908401"/>
                    </a:cubicBezTo>
                    <a:cubicBezTo>
                      <a:pt x="3494528" y="2707240"/>
                      <a:pt x="3650644" y="2330524"/>
                      <a:pt x="3762949" y="19485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3F2B6AA-691C-6192-D5EF-DEBDDBA8E58C}"/>
                  </a:ext>
                </a:extLst>
              </p:cNvPr>
              <p:cNvSpPr/>
              <p:nvPr/>
            </p:nvSpPr>
            <p:spPr>
              <a:xfrm>
                <a:off x="3526436" y="2746166"/>
                <a:ext cx="4516838" cy="3129085"/>
              </a:xfrm>
              <a:custGeom>
                <a:avLst/>
                <a:gdLst>
                  <a:gd name="connsiteX0" fmla="*/ 3753086 w 4516838"/>
                  <a:gd name="connsiteY0" fmla="*/ 2004037 h 3129085"/>
                  <a:gd name="connsiteX1" fmla="*/ 4482992 w 4516838"/>
                  <a:gd name="connsiteY1" fmla="*/ 1005942 h 3129085"/>
                  <a:gd name="connsiteX2" fmla="*/ 2850866 w 4516838"/>
                  <a:gd name="connsiteY2" fmla="*/ 1059 h 3129085"/>
                  <a:gd name="connsiteX3" fmla="*/ 1632171 w 4516838"/>
                  <a:gd name="connsiteY3" fmla="*/ 511136 h 3129085"/>
                  <a:gd name="connsiteX4" fmla="*/ 9147 w 4516838"/>
                  <a:gd name="connsiteY4" fmla="*/ 965447 h 3129085"/>
                  <a:gd name="connsiteX5" fmla="*/ 1011871 w 4516838"/>
                  <a:gd name="connsiteY5" fmla="*/ 2212681 h 3129085"/>
                  <a:gd name="connsiteX6" fmla="*/ 2046065 w 4516838"/>
                  <a:gd name="connsiteY6" fmla="*/ 3075871 h 3129085"/>
                  <a:gd name="connsiteX7" fmla="*/ 3080644 w 4516838"/>
                  <a:gd name="connsiteY7" fmla="*/ 2910345 h 3129085"/>
                  <a:gd name="connsiteX8" fmla="*/ 3753163 w 4516838"/>
                  <a:gd name="connsiteY8" fmla="*/ 2004114 h 3129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16838" h="3129085">
                    <a:moveTo>
                      <a:pt x="3753086" y="2004037"/>
                    </a:moveTo>
                    <a:cubicBezTo>
                      <a:pt x="3864928" y="1598166"/>
                      <a:pt x="4692561" y="1365534"/>
                      <a:pt x="4482992" y="1005942"/>
                    </a:cubicBezTo>
                    <a:cubicBezTo>
                      <a:pt x="4274888" y="649589"/>
                      <a:pt x="3260286" y="21962"/>
                      <a:pt x="2850866" y="1059"/>
                    </a:cubicBezTo>
                    <a:cubicBezTo>
                      <a:pt x="2423783" y="-20770"/>
                      <a:pt x="1990992" y="299870"/>
                      <a:pt x="1632171" y="511136"/>
                    </a:cubicBezTo>
                    <a:cubicBezTo>
                      <a:pt x="1276976" y="720166"/>
                      <a:pt x="115667" y="570837"/>
                      <a:pt x="9147" y="965447"/>
                    </a:cubicBezTo>
                    <a:cubicBezTo>
                      <a:pt x="-100767" y="1372553"/>
                      <a:pt x="812252" y="1847149"/>
                      <a:pt x="1011871" y="2212681"/>
                    </a:cubicBezTo>
                    <a:cubicBezTo>
                      <a:pt x="1302892" y="2748444"/>
                      <a:pt x="1654000" y="2969583"/>
                      <a:pt x="2046065" y="3075871"/>
                    </a:cubicBezTo>
                    <a:cubicBezTo>
                      <a:pt x="2452939" y="3186094"/>
                      <a:pt x="2721978" y="3122305"/>
                      <a:pt x="3080644" y="2910345"/>
                    </a:cubicBezTo>
                    <a:cubicBezTo>
                      <a:pt x="3431906" y="2702935"/>
                      <a:pt x="3645563" y="2394405"/>
                      <a:pt x="3753163" y="20041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D6C33D56-A131-EE7F-0263-9FE5C61E974C}"/>
                  </a:ext>
                </a:extLst>
              </p:cNvPr>
              <p:cNvSpPr/>
              <p:nvPr/>
            </p:nvSpPr>
            <p:spPr>
              <a:xfrm>
                <a:off x="3586413" y="2696421"/>
                <a:ext cx="4609879" cy="3215724"/>
              </a:xfrm>
              <a:custGeom>
                <a:avLst/>
                <a:gdLst>
                  <a:gd name="connsiteX0" fmla="*/ 3743322 w 4609879"/>
                  <a:gd name="connsiteY0" fmla="*/ 2059413 h 3215724"/>
                  <a:gd name="connsiteX1" fmla="*/ 4580365 w 4609879"/>
                  <a:gd name="connsiteY1" fmla="*/ 1040414 h 3215724"/>
                  <a:gd name="connsiteX2" fmla="*/ 2817037 w 4609879"/>
                  <a:gd name="connsiteY2" fmla="*/ 1361 h 3215724"/>
                  <a:gd name="connsiteX3" fmla="*/ 1568955 w 4609879"/>
                  <a:gd name="connsiteY3" fmla="*/ 589575 h 3215724"/>
                  <a:gd name="connsiteX4" fmla="*/ 7791 w 4609879"/>
                  <a:gd name="connsiteY4" fmla="*/ 1097493 h 3215724"/>
                  <a:gd name="connsiteX5" fmla="*/ 981976 w 4609879"/>
                  <a:gd name="connsiteY5" fmla="*/ 2249313 h 3215724"/>
                  <a:gd name="connsiteX6" fmla="*/ 2022571 w 4609879"/>
                  <a:gd name="connsiteY6" fmla="*/ 3185934 h 3215724"/>
                  <a:gd name="connsiteX7" fmla="*/ 3007169 w 4609879"/>
                  <a:gd name="connsiteY7" fmla="*/ 2912190 h 3215724"/>
                  <a:gd name="connsiteX8" fmla="*/ 3743322 w 4609879"/>
                  <a:gd name="connsiteY8" fmla="*/ 2059567 h 3215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09879" h="3215724">
                    <a:moveTo>
                      <a:pt x="3743322" y="2059413"/>
                    </a:moveTo>
                    <a:cubicBezTo>
                      <a:pt x="3845138" y="1663337"/>
                      <a:pt x="4786926" y="1394376"/>
                      <a:pt x="4580365" y="1040414"/>
                    </a:cubicBezTo>
                    <a:cubicBezTo>
                      <a:pt x="4365783" y="673495"/>
                      <a:pt x="3232782" y="29284"/>
                      <a:pt x="2817037" y="1361"/>
                    </a:cubicBezTo>
                    <a:cubicBezTo>
                      <a:pt x="2401292" y="-26560"/>
                      <a:pt x="1921836" y="381934"/>
                      <a:pt x="1568955" y="589575"/>
                    </a:cubicBezTo>
                    <a:cubicBezTo>
                      <a:pt x="1202498" y="805237"/>
                      <a:pt x="108757" y="693858"/>
                      <a:pt x="7791" y="1097493"/>
                    </a:cubicBezTo>
                    <a:cubicBezTo>
                      <a:pt x="-91324" y="1493568"/>
                      <a:pt x="784362" y="1891418"/>
                      <a:pt x="981976" y="2249313"/>
                    </a:cubicBezTo>
                    <a:cubicBezTo>
                      <a:pt x="1265746" y="2765947"/>
                      <a:pt x="1621328" y="3084968"/>
                      <a:pt x="2022571" y="3185934"/>
                    </a:cubicBezTo>
                    <a:cubicBezTo>
                      <a:pt x="2418724" y="3285589"/>
                      <a:pt x="2654827" y="3120217"/>
                      <a:pt x="3007169" y="2912190"/>
                    </a:cubicBezTo>
                    <a:cubicBezTo>
                      <a:pt x="3369229" y="2698533"/>
                      <a:pt x="3640813" y="2458265"/>
                      <a:pt x="3743322" y="205956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31FB392-572F-3A83-F524-EB04A8C94D30}"/>
                  </a:ext>
                </a:extLst>
              </p:cNvPr>
              <p:cNvSpPr/>
              <p:nvPr/>
            </p:nvSpPr>
            <p:spPr>
              <a:xfrm>
                <a:off x="3646345" y="2646648"/>
                <a:ext cx="4703818" cy="3313713"/>
              </a:xfrm>
              <a:custGeom>
                <a:avLst/>
                <a:gdLst>
                  <a:gd name="connsiteX0" fmla="*/ 3733681 w 4703818"/>
                  <a:gd name="connsiteY0" fmla="*/ 2114893 h 3313713"/>
                  <a:gd name="connsiteX1" fmla="*/ 4677784 w 4703818"/>
                  <a:gd name="connsiteY1" fmla="*/ 1074915 h 3313713"/>
                  <a:gd name="connsiteX2" fmla="*/ 2783330 w 4703818"/>
                  <a:gd name="connsiteY2" fmla="*/ 1615 h 3313713"/>
                  <a:gd name="connsiteX3" fmla="*/ 1505937 w 4703818"/>
                  <a:gd name="connsiteY3" fmla="*/ 667886 h 3313713"/>
                  <a:gd name="connsiteX4" fmla="*/ 6557 w 4703818"/>
                  <a:gd name="connsiteY4" fmla="*/ 1229411 h 3313713"/>
                  <a:gd name="connsiteX5" fmla="*/ 952280 w 4703818"/>
                  <a:gd name="connsiteY5" fmla="*/ 2285819 h 3313713"/>
                  <a:gd name="connsiteX6" fmla="*/ 1999200 w 4703818"/>
                  <a:gd name="connsiteY6" fmla="*/ 3295947 h 3313713"/>
                  <a:gd name="connsiteX7" fmla="*/ 2933893 w 4703818"/>
                  <a:gd name="connsiteY7" fmla="*/ 2913910 h 3313713"/>
                  <a:gd name="connsiteX8" fmla="*/ 3733681 w 4703818"/>
                  <a:gd name="connsiteY8" fmla="*/ 2114816 h 3313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03818" h="3313713">
                    <a:moveTo>
                      <a:pt x="3733681" y="2114893"/>
                    </a:moveTo>
                    <a:cubicBezTo>
                      <a:pt x="3825777" y="1728690"/>
                      <a:pt x="4881491" y="1423323"/>
                      <a:pt x="4677784" y="1074915"/>
                    </a:cubicBezTo>
                    <a:cubicBezTo>
                      <a:pt x="4456722" y="697428"/>
                      <a:pt x="3205245" y="37019"/>
                      <a:pt x="2783330" y="1615"/>
                    </a:cubicBezTo>
                    <a:cubicBezTo>
                      <a:pt x="2384478" y="-31860"/>
                      <a:pt x="1852725" y="463871"/>
                      <a:pt x="1505937" y="667886"/>
                    </a:cubicBezTo>
                    <a:cubicBezTo>
                      <a:pt x="1128296" y="890105"/>
                      <a:pt x="101738" y="816675"/>
                      <a:pt x="6557" y="1229411"/>
                    </a:cubicBezTo>
                    <a:cubicBezTo>
                      <a:pt x="-82223" y="1614457"/>
                      <a:pt x="756517" y="1935560"/>
                      <a:pt x="952280" y="2285819"/>
                    </a:cubicBezTo>
                    <a:cubicBezTo>
                      <a:pt x="1228877" y="2783324"/>
                      <a:pt x="1588778" y="3200611"/>
                      <a:pt x="1999200" y="3295947"/>
                    </a:cubicBezTo>
                    <a:cubicBezTo>
                      <a:pt x="2384478" y="3385421"/>
                      <a:pt x="2587799" y="3118157"/>
                      <a:pt x="2933893" y="2913910"/>
                    </a:cubicBezTo>
                    <a:cubicBezTo>
                      <a:pt x="3306752" y="2694082"/>
                      <a:pt x="3636494" y="2522076"/>
                      <a:pt x="3733681" y="2114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DFA1DC3E-C7CA-B4B7-B53B-13083C96318A}"/>
                  </a:ext>
                </a:extLst>
              </p:cNvPr>
              <p:cNvSpPr/>
              <p:nvPr/>
            </p:nvSpPr>
            <p:spPr>
              <a:xfrm>
                <a:off x="3706188" y="2596973"/>
                <a:ext cx="4798420" cy="3416920"/>
              </a:xfrm>
              <a:custGeom>
                <a:avLst/>
                <a:gdLst>
                  <a:gd name="connsiteX0" fmla="*/ 3724051 w 4798420"/>
                  <a:gd name="connsiteY0" fmla="*/ 2170199 h 3416920"/>
                  <a:gd name="connsiteX1" fmla="*/ 4775292 w 4798420"/>
                  <a:gd name="connsiteY1" fmla="*/ 1109318 h 3416920"/>
                  <a:gd name="connsiteX2" fmla="*/ 2749635 w 4798420"/>
                  <a:gd name="connsiteY2" fmla="*/ 1848 h 3416920"/>
                  <a:gd name="connsiteX3" fmla="*/ 1442932 w 4798420"/>
                  <a:gd name="connsiteY3" fmla="*/ 746255 h 3416920"/>
                  <a:gd name="connsiteX4" fmla="*/ 5412 w 4798420"/>
                  <a:gd name="connsiteY4" fmla="*/ 1361387 h 3416920"/>
                  <a:gd name="connsiteX5" fmla="*/ 922596 w 4798420"/>
                  <a:gd name="connsiteY5" fmla="*/ 2322304 h 3416920"/>
                  <a:gd name="connsiteX6" fmla="*/ 1975918 w 4798420"/>
                  <a:gd name="connsiteY6" fmla="*/ 3405863 h 3416920"/>
                  <a:gd name="connsiteX7" fmla="*/ 2860706 w 4798420"/>
                  <a:gd name="connsiteY7" fmla="*/ 2915608 h 3416920"/>
                  <a:gd name="connsiteX8" fmla="*/ 3724129 w 4798420"/>
                  <a:gd name="connsiteY8" fmla="*/ 2170122 h 3416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98420" h="3416920">
                    <a:moveTo>
                      <a:pt x="3724051" y="2170199"/>
                    </a:moveTo>
                    <a:cubicBezTo>
                      <a:pt x="3806815" y="1793946"/>
                      <a:pt x="4975991" y="1452172"/>
                      <a:pt x="4775292" y="1109318"/>
                    </a:cubicBezTo>
                    <a:cubicBezTo>
                      <a:pt x="4547751" y="721341"/>
                      <a:pt x="3177798" y="45042"/>
                      <a:pt x="2749635" y="1848"/>
                    </a:cubicBezTo>
                    <a:cubicBezTo>
                      <a:pt x="2364821" y="-36950"/>
                      <a:pt x="1783627" y="545787"/>
                      <a:pt x="1442932" y="746255"/>
                    </a:cubicBezTo>
                    <a:cubicBezTo>
                      <a:pt x="1054030" y="975107"/>
                      <a:pt x="94192" y="939472"/>
                      <a:pt x="5412" y="1361387"/>
                    </a:cubicBezTo>
                    <a:cubicBezTo>
                      <a:pt x="-73263" y="1735248"/>
                      <a:pt x="728761" y="1979759"/>
                      <a:pt x="922596" y="2322304"/>
                    </a:cubicBezTo>
                    <a:cubicBezTo>
                      <a:pt x="1191943" y="2800681"/>
                      <a:pt x="1556163" y="3316697"/>
                      <a:pt x="1975918" y="3405863"/>
                    </a:cubicBezTo>
                    <a:cubicBezTo>
                      <a:pt x="2350320" y="3485463"/>
                      <a:pt x="2520860" y="3115999"/>
                      <a:pt x="2860706" y="2915608"/>
                    </a:cubicBezTo>
                    <a:cubicBezTo>
                      <a:pt x="3244364" y="2689532"/>
                      <a:pt x="3632649" y="2585944"/>
                      <a:pt x="3724129" y="217012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F4E4E2CA-A2CA-B22F-3E5C-7542581B7DB5}"/>
                  </a:ext>
                </a:extLst>
              </p:cNvPr>
              <p:cNvSpPr/>
              <p:nvPr/>
            </p:nvSpPr>
            <p:spPr>
              <a:xfrm>
                <a:off x="3765757" y="2547325"/>
                <a:ext cx="4893698" cy="3522930"/>
              </a:xfrm>
              <a:custGeom>
                <a:avLst/>
                <a:gdLst>
                  <a:gd name="connsiteX0" fmla="*/ 3714695 w 4893698"/>
                  <a:gd name="connsiteY0" fmla="*/ 2225478 h 3522930"/>
                  <a:gd name="connsiteX1" fmla="*/ 4872995 w 4893698"/>
                  <a:gd name="connsiteY1" fmla="*/ 1143693 h 3522930"/>
                  <a:gd name="connsiteX2" fmla="*/ 2716137 w 4893698"/>
                  <a:gd name="connsiteY2" fmla="*/ 2054 h 3522930"/>
                  <a:gd name="connsiteX3" fmla="*/ 1380123 w 4893698"/>
                  <a:gd name="connsiteY3" fmla="*/ 824596 h 3522930"/>
                  <a:gd name="connsiteX4" fmla="*/ 4386 w 4893698"/>
                  <a:gd name="connsiteY4" fmla="*/ 1493335 h 3522930"/>
                  <a:gd name="connsiteX5" fmla="*/ 893031 w 4893698"/>
                  <a:gd name="connsiteY5" fmla="*/ 2358840 h 3522930"/>
                  <a:gd name="connsiteX6" fmla="*/ 1952756 w 4893698"/>
                  <a:gd name="connsiteY6" fmla="*/ 3515905 h 3522930"/>
                  <a:gd name="connsiteX7" fmla="*/ 2787562 w 4893698"/>
                  <a:gd name="connsiteY7" fmla="*/ 2917357 h 3522930"/>
                  <a:gd name="connsiteX8" fmla="*/ 3714541 w 4893698"/>
                  <a:gd name="connsiteY8" fmla="*/ 2225478 h 3522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93698" h="3522930">
                    <a:moveTo>
                      <a:pt x="3714695" y="2225478"/>
                    </a:moveTo>
                    <a:cubicBezTo>
                      <a:pt x="3788357" y="1859175"/>
                      <a:pt x="5070764" y="1480917"/>
                      <a:pt x="4872995" y="1143693"/>
                    </a:cubicBezTo>
                    <a:cubicBezTo>
                      <a:pt x="4639053" y="745149"/>
                      <a:pt x="3150470" y="53347"/>
                      <a:pt x="2716137" y="2054"/>
                    </a:cubicBezTo>
                    <a:cubicBezTo>
                      <a:pt x="2345360" y="-41757"/>
                      <a:pt x="1714801" y="627676"/>
                      <a:pt x="1380123" y="824596"/>
                    </a:cubicBezTo>
                    <a:cubicBezTo>
                      <a:pt x="980036" y="1060081"/>
                      <a:pt x="86455" y="1062164"/>
                      <a:pt x="4386" y="1493335"/>
                    </a:cubicBezTo>
                    <a:cubicBezTo>
                      <a:pt x="-64647" y="1856012"/>
                      <a:pt x="701202" y="2023930"/>
                      <a:pt x="893031" y="2358840"/>
                    </a:cubicBezTo>
                    <a:cubicBezTo>
                      <a:pt x="1155205" y="2818087"/>
                      <a:pt x="1523590" y="3433219"/>
                      <a:pt x="1952756" y="3515905"/>
                    </a:cubicBezTo>
                    <a:cubicBezTo>
                      <a:pt x="2316282" y="3585942"/>
                      <a:pt x="2454040" y="3113968"/>
                      <a:pt x="2787562" y="2917357"/>
                    </a:cubicBezTo>
                    <a:cubicBezTo>
                      <a:pt x="3182018" y="2685033"/>
                      <a:pt x="3629232" y="2649938"/>
                      <a:pt x="3714541" y="22254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D95D4CD2-86C3-F193-5DC3-9B5DF579E51C}"/>
                  </a:ext>
                </a:extLst>
              </p:cNvPr>
              <p:cNvSpPr/>
              <p:nvPr/>
            </p:nvSpPr>
            <p:spPr>
              <a:xfrm>
                <a:off x="3825389" y="2497697"/>
                <a:ext cx="4989429" cy="3630406"/>
              </a:xfrm>
              <a:custGeom>
                <a:avLst/>
                <a:gdLst>
                  <a:gd name="connsiteX0" fmla="*/ 3705354 w 4989429"/>
                  <a:gd name="connsiteY0" fmla="*/ 2280737 h 3630406"/>
                  <a:gd name="connsiteX1" fmla="*/ 4970792 w 4989429"/>
                  <a:gd name="connsiteY1" fmla="*/ 1178049 h 3630406"/>
                  <a:gd name="connsiteX2" fmla="*/ 2682730 w 4989429"/>
                  <a:gd name="connsiteY2" fmla="*/ 2241 h 3630406"/>
                  <a:gd name="connsiteX3" fmla="*/ 1317406 w 4989429"/>
                  <a:gd name="connsiteY3" fmla="*/ 902918 h 3630406"/>
                  <a:gd name="connsiteX4" fmla="*/ 3453 w 4989429"/>
                  <a:gd name="connsiteY4" fmla="*/ 1625341 h 3630406"/>
                  <a:gd name="connsiteX5" fmla="*/ 863635 w 4989429"/>
                  <a:gd name="connsiteY5" fmla="*/ 2395433 h 3630406"/>
                  <a:gd name="connsiteX6" fmla="*/ 1929762 w 4989429"/>
                  <a:gd name="connsiteY6" fmla="*/ 3625929 h 3630406"/>
                  <a:gd name="connsiteX7" fmla="*/ 2714663 w 4989429"/>
                  <a:gd name="connsiteY7" fmla="*/ 2919163 h 3630406"/>
                  <a:gd name="connsiteX8" fmla="*/ 3705277 w 4989429"/>
                  <a:gd name="connsiteY8" fmla="*/ 2280814 h 3630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89429" h="3630406">
                    <a:moveTo>
                      <a:pt x="3705354" y="2280737"/>
                    </a:moveTo>
                    <a:cubicBezTo>
                      <a:pt x="3770145" y="1924384"/>
                      <a:pt x="5165629" y="1509720"/>
                      <a:pt x="4970792" y="1178049"/>
                    </a:cubicBezTo>
                    <a:cubicBezTo>
                      <a:pt x="4730370" y="769015"/>
                      <a:pt x="3123080" y="62173"/>
                      <a:pt x="2682730" y="2241"/>
                    </a:cubicBezTo>
                    <a:cubicBezTo>
                      <a:pt x="2325838" y="-46353"/>
                      <a:pt x="1645991" y="709546"/>
                      <a:pt x="1317406" y="902918"/>
                    </a:cubicBezTo>
                    <a:cubicBezTo>
                      <a:pt x="906058" y="1144960"/>
                      <a:pt x="78271" y="1184760"/>
                      <a:pt x="3453" y="1625341"/>
                    </a:cubicBezTo>
                    <a:cubicBezTo>
                      <a:pt x="-56171" y="1976757"/>
                      <a:pt x="673658" y="2068236"/>
                      <a:pt x="863635" y="2395433"/>
                    </a:cubicBezTo>
                    <a:cubicBezTo>
                      <a:pt x="1118636" y="2835628"/>
                      <a:pt x="1491186" y="3550339"/>
                      <a:pt x="1929762" y="3625929"/>
                    </a:cubicBezTo>
                    <a:cubicBezTo>
                      <a:pt x="2282335" y="3686709"/>
                      <a:pt x="2387313" y="3111917"/>
                      <a:pt x="2714663" y="2919163"/>
                    </a:cubicBezTo>
                    <a:cubicBezTo>
                      <a:pt x="3119918" y="2680592"/>
                      <a:pt x="3626525" y="2714067"/>
                      <a:pt x="3705277" y="22808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1F9630BA-23C8-A449-4036-7835894708FF}"/>
                  </a:ext>
                </a:extLst>
              </p:cNvPr>
              <p:cNvSpPr/>
              <p:nvPr/>
            </p:nvSpPr>
            <p:spPr>
              <a:xfrm>
                <a:off x="3884910" y="2448010"/>
                <a:ext cx="5085470" cy="3738674"/>
              </a:xfrm>
              <a:custGeom>
                <a:avLst/>
                <a:gdLst>
                  <a:gd name="connsiteX0" fmla="*/ 5068621 w 5085470"/>
                  <a:gd name="connsiteY0" fmla="*/ 1212464 h 3738674"/>
                  <a:gd name="connsiteX1" fmla="*/ 2649357 w 5085470"/>
                  <a:gd name="connsiteY1" fmla="*/ 2408 h 3738674"/>
                  <a:gd name="connsiteX2" fmla="*/ 1254723 w 5085470"/>
                  <a:gd name="connsiteY2" fmla="*/ 981143 h 3738674"/>
                  <a:gd name="connsiteX3" fmla="*/ 2629 w 5085470"/>
                  <a:gd name="connsiteY3" fmla="*/ 1757174 h 3738674"/>
                  <a:gd name="connsiteX4" fmla="*/ 834273 w 5085470"/>
                  <a:gd name="connsiteY4" fmla="*/ 2431853 h 3738674"/>
                  <a:gd name="connsiteX5" fmla="*/ 1906801 w 5085470"/>
                  <a:gd name="connsiteY5" fmla="*/ 3735856 h 3738674"/>
                  <a:gd name="connsiteX6" fmla="*/ 2641798 w 5085470"/>
                  <a:gd name="connsiteY6" fmla="*/ 2920796 h 3738674"/>
                  <a:gd name="connsiteX7" fmla="*/ 3696046 w 5085470"/>
                  <a:gd name="connsiteY7" fmla="*/ 2336054 h 3738674"/>
                  <a:gd name="connsiteX8" fmla="*/ 5068621 w 5085470"/>
                  <a:gd name="connsiteY8" fmla="*/ 1212464 h 373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5470" h="3738674">
                    <a:moveTo>
                      <a:pt x="5068621" y="1212464"/>
                    </a:moveTo>
                    <a:cubicBezTo>
                      <a:pt x="4821720" y="792863"/>
                      <a:pt x="3095646" y="71519"/>
                      <a:pt x="2649357" y="2408"/>
                    </a:cubicBezTo>
                    <a:cubicBezTo>
                      <a:pt x="2306348" y="-50736"/>
                      <a:pt x="1577214" y="791397"/>
                      <a:pt x="1254723" y="981143"/>
                    </a:cubicBezTo>
                    <a:cubicBezTo>
                      <a:pt x="832190" y="1229819"/>
                      <a:pt x="69503" y="1307260"/>
                      <a:pt x="2629" y="1757174"/>
                    </a:cubicBezTo>
                    <a:cubicBezTo>
                      <a:pt x="-47970" y="2097406"/>
                      <a:pt x="646301" y="2112292"/>
                      <a:pt x="834273" y="2431853"/>
                    </a:cubicBezTo>
                    <a:cubicBezTo>
                      <a:pt x="1082023" y="2852919"/>
                      <a:pt x="1458738" y="3667825"/>
                      <a:pt x="1906801" y="3735856"/>
                    </a:cubicBezTo>
                    <a:cubicBezTo>
                      <a:pt x="2248499" y="3787689"/>
                      <a:pt x="2320695" y="3109771"/>
                      <a:pt x="2641798" y="2920796"/>
                    </a:cubicBezTo>
                    <a:cubicBezTo>
                      <a:pt x="3057851" y="2675977"/>
                      <a:pt x="3624313" y="2778024"/>
                      <a:pt x="3696046" y="2336054"/>
                    </a:cubicBezTo>
                    <a:cubicBezTo>
                      <a:pt x="3752276" y="1989652"/>
                      <a:pt x="5260450" y="1538503"/>
                      <a:pt x="5068621" y="12124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39" name="Graphic 5">
              <a:extLst>
                <a:ext uri="{FF2B5EF4-FFF2-40B4-BE49-F238E27FC236}">
                  <a16:creationId xmlns:a16="http://schemas.microsoft.com/office/drawing/2014/main" id="{9C57A32C-4E89-9CA0-BDD0-B1B97F4F4BC6}"/>
                </a:ext>
              </a:extLst>
            </p:cNvPr>
            <p:cNvGrpSpPr/>
            <p:nvPr/>
          </p:nvGrpSpPr>
          <p:grpSpPr>
            <a:xfrm rot="753948">
              <a:off x="-682780" y="-299489"/>
              <a:ext cx="5854605" cy="7484643"/>
              <a:chOff x="4061078" y="1549502"/>
              <a:chExt cx="3873961" cy="4952549"/>
            </a:xfrm>
            <a:noFill/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8FF3621-A8F3-39AE-F72D-301D036ACCD7}"/>
                  </a:ext>
                </a:extLst>
              </p:cNvPr>
              <p:cNvSpPr/>
              <p:nvPr/>
            </p:nvSpPr>
            <p:spPr>
              <a:xfrm>
                <a:off x="4475868" y="1549502"/>
                <a:ext cx="3007008" cy="4952549"/>
              </a:xfrm>
              <a:custGeom>
                <a:avLst/>
                <a:gdLst>
                  <a:gd name="connsiteX0" fmla="*/ 2976817 w 3007008"/>
                  <a:gd name="connsiteY0" fmla="*/ 2669180 h 4952549"/>
                  <a:gd name="connsiteX1" fmla="*/ 2432801 w 3007008"/>
                  <a:gd name="connsiteY1" fmla="*/ 1308330 h 4952549"/>
                  <a:gd name="connsiteX2" fmla="*/ 1795840 w 3007008"/>
                  <a:gd name="connsiteY2" fmla="*/ 7 h 4952549"/>
                  <a:gd name="connsiteX3" fmla="*/ 437072 w 3007008"/>
                  <a:gd name="connsiteY3" fmla="*/ 1607682 h 4952549"/>
                  <a:gd name="connsiteX4" fmla="*/ 310112 w 3007008"/>
                  <a:gd name="connsiteY4" fmla="*/ 2718545 h 4952549"/>
                  <a:gd name="connsiteX5" fmla="*/ 413007 w 3007008"/>
                  <a:gd name="connsiteY5" fmla="*/ 3875302 h 4952549"/>
                  <a:gd name="connsiteX6" fmla="*/ 1776248 w 3007008"/>
                  <a:gd name="connsiteY6" fmla="*/ 4952536 h 4952549"/>
                  <a:gd name="connsiteX7" fmla="*/ 2522815 w 3007008"/>
                  <a:gd name="connsiteY7" fmla="*/ 3870057 h 4952549"/>
                  <a:gd name="connsiteX8" fmla="*/ 2976817 w 3007008"/>
                  <a:gd name="connsiteY8" fmla="*/ 2669180 h 4952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07008" h="4952549">
                    <a:moveTo>
                      <a:pt x="2976817" y="2669180"/>
                    </a:moveTo>
                    <a:cubicBezTo>
                      <a:pt x="2795478" y="2205613"/>
                      <a:pt x="2780206" y="1596883"/>
                      <a:pt x="2432801" y="1308330"/>
                    </a:cubicBezTo>
                    <a:cubicBezTo>
                      <a:pt x="2165768" y="1086497"/>
                      <a:pt x="2170087" y="2861"/>
                      <a:pt x="1795840" y="7"/>
                    </a:cubicBezTo>
                    <a:cubicBezTo>
                      <a:pt x="1305585" y="-3772"/>
                      <a:pt x="857599" y="1434442"/>
                      <a:pt x="437072" y="1607682"/>
                    </a:cubicBezTo>
                    <a:cubicBezTo>
                      <a:pt x="-439463" y="1968739"/>
                      <a:pt x="265838" y="2328563"/>
                      <a:pt x="310112" y="2718545"/>
                    </a:cubicBezTo>
                    <a:cubicBezTo>
                      <a:pt x="365185" y="3203940"/>
                      <a:pt x="63519" y="3586749"/>
                      <a:pt x="413007" y="3875302"/>
                    </a:cubicBezTo>
                    <a:cubicBezTo>
                      <a:pt x="679500" y="4095361"/>
                      <a:pt x="1403775" y="4949682"/>
                      <a:pt x="1776248" y="4952536"/>
                    </a:cubicBezTo>
                    <a:cubicBezTo>
                      <a:pt x="2258944" y="4956238"/>
                      <a:pt x="2234184" y="4212294"/>
                      <a:pt x="2522815" y="3870057"/>
                    </a:cubicBezTo>
                    <a:cubicBezTo>
                      <a:pt x="2749045" y="3601790"/>
                      <a:pt x="3114576" y="3021444"/>
                      <a:pt x="2976817" y="266918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92D55AEB-77F1-11B5-DF5D-926C78D9FD90}"/>
                  </a:ext>
                </a:extLst>
              </p:cNvPr>
              <p:cNvSpPr/>
              <p:nvPr/>
            </p:nvSpPr>
            <p:spPr>
              <a:xfrm>
                <a:off x="4482456" y="1627788"/>
                <a:ext cx="3018571" cy="4778052"/>
              </a:xfrm>
              <a:custGeom>
                <a:avLst/>
                <a:gdLst>
                  <a:gd name="connsiteX0" fmla="*/ 1752691 w 3018571"/>
                  <a:gd name="connsiteY0" fmla="*/ 4776677 h 4778052"/>
                  <a:gd name="connsiteX1" fmla="*/ 2591277 w 3018571"/>
                  <a:gd name="connsiteY1" fmla="*/ 3811826 h 4778052"/>
                  <a:gd name="connsiteX2" fmla="*/ 2984730 w 3018571"/>
                  <a:gd name="connsiteY2" fmla="*/ 2584107 h 4778052"/>
                  <a:gd name="connsiteX3" fmla="*/ 2466168 w 3018571"/>
                  <a:gd name="connsiteY3" fmla="*/ 1202817 h 4778052"/>
                  <a:gd name="connsiteX4" fmla="*/ 1720373 w 3018571"/>
                  <a:gd name="connsiteY4" fmla="*/ 11 h 4778052"/>
                  <a:gd name="connsiteX5" fmla="*/ 440974 w 3018571"/>
                  <a:gd name="connsiteY5" fmla="*/ 1547522 h 4778052"/>
                  <a:gd name="connsiteX6" fmla="*/ 238116 w 3018571"/>
                  <a:gd name="connsiteY6" fmla="*/ 2690858 h 4778052"/>
                  <a:gd name="connsiteX7" fmla="*/ 359985 w 3018571"/>
                  <a:gd name="connsiteY7" fmla="*/ 3853863 h 4778052"/>
                  <a:gd name="connsiteX8" fmla="*/ 1752691 w 3018571"/>
                  <a:gd name="connsiteY8" fmla="*/ 4776754 h 4778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18571" h="4778052">
                    <a:moveTo>
                      <a:pt x="1752691" y="4776677"/>
                    </a:moveTo>
                    <a:cubicBezTo>
                      <a:pt x="2216181" y="4812235"/>
                      <a:pt x="2306966" y="4149435"/>
                      <a:pt x="2591277" y="3811826"/>
                    </a:cubicBezTo>
                    <a:cubicBezTo>
                      <a:pt x="2825220" y="3533917"/>
                      <a:pt x="3119172" y="2944162"/>
                      <a:pt x="2984730" y="2584107"/>
                    </a:cubicBezTo>
                    <a:cubicBezTo>
                      <a:pt x="2815579" y="2131107"/>
                      <a:pt x="2808174" y="1486896"/>
                      <a:pt x="2466168" y="1202817"/>
                    </a:cubicBezTo>
                    <a:cubicBezTo>
                      <a:pt x="2189185" y="972730"/>
                      <a:pt x="2101099" y="-3845"/>
                      <a:pt x="1720373" y="11"/>
                    </a:cubicBezTo>
                    <a:cubicBezTo>
                      <a:pt x="1244079" y="4794"/>
                      <a:pt x="830648" y="1354614"/>
                      <a:pt x="440974" y="1547522"/>
                    </a:cubicBezTo>
                    <a:cubicBezTo>
                      <a:pt x="-382030" y="1955091"/>
                      <a:pt x="190216" y="2298408"/>
                      <a:pt x="238116" y="2690858"/>
                    </a:cubicBezTo>
                    <a:cubicBezTo>
                      <a:pt x="294422" y="3162909"/>
                      <a:pt x="16205" y="3569861"/>
                      <a:pt x="359985" y="3853863"/>
                    </a:cubicBezTo>
                    <a:cubicBezTo>
                      <a:pt x="635965" y="4081944"/>
                      <a:pt x="1362169" y="4746827"/>
                      <a:pt x="1752691" y="47767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3A87C737-6B9B-FF03-7A54-69534DCC4F33}"/>
                  </a:ext>
                </a:extLst>
              </p:cNvPr>
              <p:cNvSpPr/>
              <p:nvPr/>
            </p:nvSpPr>
            <p:spPr>
              <a:xfrm>
                <a:off x="4484173" y="1705758"/>
                <a:ext cx="3036493" cy="4605873"/>
              </a:xfrm>
              <a:custGeom>
                <a:avLst/>
                <a:gdLst>
                  <a:gd name="connsiteX0" fmla="*/ 1734082 w 3036493"/>
                  <a:gd name="connsiteY0" fmla="*/ 4601058 h 4605873"/>
                  <a:gd name="connsiteX1" fmla="*/ 2664764 w 3036493"/>
                  <a:gd name="connsiteY1" fmla="*/ 3753833 h 4605873"/>
                  <a:gd name="connsiteX2" fmla="*/ 2997591 w 3036493"/>
                  <a:gd name="connsiteY2" fmla="*/ 2499272 h 4605873"/>
                  <a:gd name="connsiteX3" fmla="*/ 2504559 w 3036493"/>
                  <a:gd name="connsiteY3" fmla="*/ 1097465 h 4605873"/>
                  <a:gd name="connsiteX4" fmla="*/ 1649930 w 3036493"/>
                  <a:gd name="connsiteY4" fmla="*/ 100 h 4605873"/>
                  <a:gd name="connsiteX5" fmla="*/ 449901 w 3036493"/>
                  <a:gd name="connsiteY5" fmla="*/ 1487524 h 4605873"/>
                  <a:gd name="connsiteX6" fmla="*/ 171221 w 3036493"/>
                  <a:gd name="connsiteY6" fmla="*/ 2663410 h 4605873"/>
                  <a:gd name="connsiteX7" fmla="*/ 311988 w 3036493"/>
                  <a:gd name="connsiteY7" fmla="*/ 3832586 h 4605873"/>
                  <a:gd name="connsiteX8" fmla="*/ 1734159 w 3036493"/>
                  <a:gd name="connsiteY8" fmla="*/ 4601135 h 46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36493" h="4605873">
                    <a:moveTo>
                      <a:pt x="1734082" y="4601058"/>
                    </a:moveTo>
                    <a:cubicBezTo>
                      <a:pt x="2177440" y="4664460"/>
                      <a:pt x="2384618" y="4086814"/>
                      <a:pt x="2664764" y="3753833"/>
                    </a:cubicBezTo>
                    <a:cubicBezTo>
                      <a:pt x="2906420" y="3466283"/>
                      <a:pt x="3128562" y="2867271"/>
                      <a:pt x="2997591" y="2499272"/>
                    </a:cubicBezTo>
                    <a:cubicBezTo>
                      <a:pt x="2840240" y="2056917"/>
                      <a:pt x="2841089" y="1377070"/>
                      <a:pt x="2504559" y="1097465"/>
                    </a:cubicBezTo>
                    <a:cubicBezTo>
                      <a:pt x="2217549" y="859048"/>
                      <a:pt x="2037290" y="-10699"/>
                      <a:pt x="1649930" y="100"/>
                    </a:cubicBezTo>
                    <a:cubicBezTo>
                      <a:pt x="1187597" y="12981"/>
                      <a:pt x="808491" y="1275410"/>
                      <a:pt x="449901" y="1487524"/>
                    </a:cubicBezTo>
                    <a:cubicBezTo>
                      <a:pt x="-320113" y="1942838"/>
                      <a:pt x="120622" y="2268337"/>
                      <a:pt x="171221" y="2663410"/>
                    </a:cubicBezTo>
                    <a:cubicBezTo>
                      <a:pt x="229996" y="3121963"/>
                      <a:pt x="-26007" y="3553212"/>
                      <a:pt x="311988" y="3832586"/>
                    </a:cubicBezTo>
                    <a:cubicBezTo>
                      <a:pt x="597533" y="4068688"/>
                      <a:pt x="1324122" y="4542514"/>
                      <a:pt x="1734159" y="460113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ECA764C3-4964-0336-A927-1DCC92668ABD}"/>
                  </a:ext>
                </a:extLst>
              </p:cNvPr>
              <p:cNvSpPr/>
              <p:nvPr/>
            </p:nvSpPr>
            <p:spPr>
              <a:xfrm>
                <a:off x="4477865" y="1783678"/>
                <a:ext cx="3064583" cy="4435839"/>
              </a:xfrm>
              <a:custGeom>
                <a:avLst/>
                <a:gdLst>
                  <a:gd name="connsiteX0" fmla="*/ 1723421 w 3064583"/>
                  <a:gd name="connsiteY0" fmla="*/ 4425487 h 4435839"/>
                  <a:gd name="connsiteX1" fmla="*/ 2746122 w 3064583"/>
                  <a:gd name="connsiteY1" fmla="*/ 3695890 h 4435839"/>
                  <a:gd name="connsiteX2" fmla="*/ 3018400 w 3064583"/>
                  <a:gd name="connsiteY2" fmla="*/ 2414487 h 4435839"/>
                  <a:gd name="connsiteX3" fmla="*/ 2550822 w 3064583"/>
                  <a:gd name="connsiteY3" fmla="*/ 992240 h 4435839"/>
                  <a:gd name="connsiteX4" fmla="*/ 1587359 w 3064583"/>
                  <a:gd name="connsiteY4" fmla="*/ 315 h 4435839"/>
                  <a:gd name="connsiteX5" fmla="*/ 466700 w 3064583"/>
                  <a:gd name="connsiteY5" fmla="*/ 1427576 h 4435839"/>
                  <a:gd name="connsiteX6" fmla="*/ 112198 w 3064583"/>
                  <a:gd name="connsiteY6" fmla="*/ 2635935 h 4435839"/>
                  <a:gd name="connsiteX7" fmla="*/ 271940 w 3064583"/>
                  <a:gd name="connsiteY7" fmla="*/ 3811281 h 4435839"/>
                  <a:gd name="connsiteX8" fmla="*/ 1723498 w 3064583"/>
                  <a:gd name="connsiteY8" fmla="*/ 4425487 h 4435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64583" h="4435839">
                    <a:moveTo>
                      <a:pt x="1723421" y="4425487"/>
                    </a:moveTo>
                    <a:cubicBezTo>
                      <a:pt x="2146185" y="4513187"/>
                      <a:pt x="2470296" y="4024167"/>
                      <a:pt x="2746122" y="3695890"/>
                    </a:cubicBezTo>
                    <a:cubicBezTo>
                      <a:pt x="2995492" y="3398699"/>
                      <a:pt x="3145592" y="2790508"/>
                      <a:pt x="3018400" y="2414487"/>
                    </a:cubicBezTo>
                    <a:cubicBezTo>
                      <a:pt x="2872465" y="1983084"/>
                      <a:pt x="2881952" y="1267371"/>
                      <a:pt x="2550822" y="992240"/>
                    </a:cubicBezTo>
                    <a:cubicBezTo>
                      <a:pt x="2253785" y="745493"/>
                      <a:pt x="1981275" y="-17734"/>
                      <a:pt x="1587359" y="315"/>
                    </a:cubicBezTo>
                    <a:cubicBezTo>
                      <a:pt x="1138987" y="20832"/>
                      <a:pt x="794205" y="1197181"/>
                      <a:pt x="466700" y="1427576"/>
                    </a:cubicBezTo>
                    <a:cubicBezTo>
                      <a:pt x="-250479" y="1932100"/>
                      <a:pt x="58205" y="2238316"/>
                      <a:pt x="112198" y="2635935"/>
                    </a:cubicBezTo>
                    <a:cubicBezTo>
                      <a:pt x="172593" y="3081144"/>
                      <a:pt x="-60347" y="3536534"/>
                      <a:pt x="271940" y="3811281"/>
                    </a:cubicBezTo>
                    <a:cubicBezTo>
                      <a:pt x="566972" y="4055483"/>
                      <a:pt x="1293253" y="4336245"/>
                      <a:pt x="1723498" y="442548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1825FED1-FF20-FE8C-644B-9BFB158CC88D}"/>
                  </a:ext>
                </a:extLst>
              </p:cNvPr>
              <p:cNvSpPr/>
              <p:nvPr/>
            </p:nvSpPr>
            <p:spPr>
              <a:xfrm>
                <a:off x="4460130" y="1861400"/>
                <a:ext cx="3107969" cy="4268490"/>
              </a:xfrm>
              <a:custGeom>
                <a:avLst/>
                <a:gdLst>
                  <a:gd name="connsiteX0" fmla="*/ 1724263 w 3107969"/>
                  <a:gd name="connsiteY0" fmla="*/ 4250116 h 4268490"/>
                  <a:gd name="connsiteX1" fmla="*/ 2838983 w 3107969"/>
                  <a:gd name="connsiteY1" fmla="*/ 3638145 h 4268490"/>
                  <a:gd name="connsiteX2" fmla="*/ 3050712 w 3107969"/>
                  <a:gd name="connsiteY2" fmla="*/ 2329900 h 4268490"/>
                  <a:gd name="connsiteX3" fmla="*/ 2608666 w 3107969"/>
                  <a:gd name="connsiteY3" fmla="*/ 887212 h 4268490"/>
                  <a:gd name="connsiteX4" fmla="*/ 1536291 w 3107969"/>
                  <a:gd name="connsiteY4" fmla="*/ 728 h 4268490"/>
                  <a:gd name="connsiteX5" fmla="*/ 495001 w 3107969"/>
                  <a:gd name="connsiteY5" fmla="*/ 1367826 h 4268490"/>
                  <a:gd name="connsiteX6" fmla="*/ 64601 w 3107969"/>
                  <a:gd name="connsiteY6" fmla="*/ 2608657 h 4268490"/>
                  <a:gd name="connsiteX7" fmla="*/ 243317 w 3107969"/>
                  <a:gd name="connsiteY7" fmla="*/ 3790251 h 4268490"/>
                  <a:gd name="connsiteX8" fmla="*/ 1724340 w 3107969"/>
                  <a:gd name="connsiteY8" fmla="*/ 4250116 h 4268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07969" h="4268490">
                    <a:moveTo>
                      <a:pt x="1724263" y="4250116"/>
                    </a:moveTo>
                    <a:cubicBezTo>
                      <a:pt x="2126510" y="4359027"/>
                      <a:pt x="2567400" y="3961794"/>
                      <a:pt x="2838983" y="3638145"/>
                    </a:cubicBezTo>
                    <a:cubicBezTo>
                      <a:pt x="3096066" y="3331235"/>
                      <a:pt x="3173893" y="2714020"/>
                      <a:pt x="3050712" y="2329900"/>
                    </a:cubicBezTo>
                    <a:cubicBezTo>
                      <a:pt x="2915808" y="1909528"/>
                      <a:pt x="2934396" y="1157793"/>
                      <a:pt x="2608666" y="887212"/>
                    </a:cubicBezTo>
                    <a:cubicBezTo>
                      <a:pt x="2301601" y="632135"/>
                      <a:pt x="1936918" y="-24880"/>
                      <a:pt x="1536291" y="728"/>
                    </a:cubicBezTo>
                    <a:cubicBezTo>
                      <a:pt x="1101957" y="28496"/>
                      <a:pt x="791576" y="1119844"/>
                      <a:pt x="495001" y="1367826"/>
                    </a:cubicBezTo>
                    <a:cubicBezTo>
                      <a:pt x="-169265" y="1923180"/>
                      <a:pt x="7215" y="2208570"/>
                      <a:pt x="64601" y="2608657"/>
                    </a:cubicBezTo>
                    <a:cubicBezTo>
                      <a:pt x="126539" y="3040445"/>
                      <a:pt x="-83262" y="3520055"/>
                      <a:pt x="243317" y="3790251"/>
                    </a:cubicBezTo>
                    <a:cubicBezTo>
                      <a:pt x="547914" y="4042475"/>
                      <a:pt x="1273500" y="4128092"/>
                      <a:pt x="1724340" y="42501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DB50201A-51A5-72CB-76EE-9B713AF2075B}"/>
                  </a:ext>
                </a:extLst>
              </p:cNvPr>
              <p:cNvSpPr/>
              <p:nvPr/>
            </p:nvSpPr>
            <p:spPr>
              <a:xfrm>
                <a:off x="4426209" y="1938811"/>
                <a:ext cx="3173562" cy="4104897"/>
              </a:xfrm>
              <a:custGeom>
                <a:avLst/>
                <a:gdLst>
                  <a:gd name="connsiteX0" fmla="*/ 1741215 w 3173562"/>
                  <a:gd name="connsiteY0" fmla="*/ 4075055 h 4104897"/>
                  <a:gd name="connsiteX1" fmla="*/ 2947955 w 3173562"/>
                  <a:gd name="connsiteY1" fmla="*/ 3580712 h 4104897"/>
                  <a:gd name="connsiteX2" fmla="*/ 3099057 w 3173562"/>
                  <a:gd name="connsiteY2" fmla="*/ 2245625 h 4104897"/>
                  <a:gd name="connsiteX3" fmla="*/ 2682464 w 3173562"/>
                  <a:gd name="connsiteY3" fmla="*/ 782497 h 4104897"/>
                  <a:gd name="connsiteX4" fmla="*/ 1501255 w 3173562"/>
                  <a:gd name="connsiteY4" fmla="*/ 1452 h 4104897"/>
                  <a:gd name="connsiteX5" fmla="*/ 539335 w 3173562"/>
                  <a:gd name="connsiteY5" fmla="*/ 1308387 h 4104897"/>
                  <a:gd name="connsiteX6" fmla="*/ 33114 w 3173562"/>
                  <a:gd name="connsiteY6" fmla="*/ 2581691 h 4104897"/>
                  <a:gd name="connsiteX7" fmla="*/ 230727 w 3173562"/>
                  <a:gd name="connsiteY7" fmla="*/ 3769455 h 4104897"/>
                  <a:gd name="connsiteX8" fmla="*/ 1741215 w 3173562"/>
                  <a:gd name="connsiteY8" fmla="*/ 4074978 h 4104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73562" h="4104897">
                    <a:moveTo>
                      <a:pt x="1741215" y="4075055"/>
                    </a:moveTo>
                    <a:cubicBezTo>
                      <a:pt x="2123407" y="4202555"/>
                      <a:pt x="2680613" y="3899655"/>
                      <a:pt x="2947955" y="3580712"/>
                    </a:cubicBezTo>
                    <a:cubicBezTo>
                      <a:pt x="3212750" y="3264160"/>
                      <a:pt x="3218073" y="2637921"/>
                      <a:pt x="3099057" y="2245625"/>
                    </a:cubicBezTo>
                    <a:cubicBezTo>
                      <a:pt x="2974874" y="1836359"/>
                      <a:pt x="3002796" y="1048604"/>
                      <a:pt x="2682464" y="782497"/>
                    </a:cubicBezTo>
                    <a:cubicBezTo>
                      <a:pt x="2365449" y="519089"/>
                      <a:pt x="1908516" y="-31946"/>
                      <a:pt x="1501255" y="1452"/>
                    </a:cubicBezTo>
                    <a:cubicBezTo>
                      <a:pt x="1080960" y="36008"/>
                      <a:pt x="805288" y="1043668"/>
                      <a:pt x="539335" y="1308387"/>
                    </a:cubicBezTo>
                    <a:cubicBezTo>
                      <a:pt x="-71324" y="1916191"/>
                      <a:pt x="-27821" y="2179059"/>
                      <a:pt x="33114" y="2581691"/>
                    </a:cubicBezTo>
                    <a:cubicBezTo>
                      <a:pt x="96440" y="3000135"/>
                      <a:pt x="-90144" y="3503888"/>
                      <a:pt x="230727" y="3769455"/>
                    </a:cubicBezTo>
                    <a:cubicBezTo>
                      <a:pt x="544811" y="4029701"/>
                      <a:pt x="1270089" y="3917782"/>
                      <a:pt x="1741215" y="40749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B3AD57DC-DD9E-0FFA-B338-39D01E7BF06F}"/>
                  </a:ext>
                </a:extLst>
              </p:cNvPr>
              <p:cNvSpPr/>
              <p:nvPr/>
            </p:nvSpPr>
            <p:spPr>
              <a:xfrm>
                <a:off x="4376099" y="2015664"/>
                <a:ext cx="3263713" cy="3947335"/>
              </a:xfrm>
              <a:custGeom>
                <a:avLst/>
                <a:gdLst>
                  <a:gd name="connsiteX0" fmla="*/ 1774433 w 3263713"/>
                  <a:gd name="connsiteY0" fmla="*/ 3900552 h 3947335"/>
                  <a:gd name="connsiteX1" fmla="*/ 3073192 w 3263713"/>
                  <a:gd name="connsiteY1" fmla="*/ 3523836 h 3947335"/>
                  <a:gd name="connsiteX2" fmla="*/ 3163745 w 3263713"/>
                  <a:gd name="connsiteY2" fmla="*/ 2161907 h 3947335"/>
                  <a:gd name="connsiteX3" fmla="*/ 2772683 w 3263713"/>
                  <a:gd name="connsiteY3" fmla="*/ 678262 h 3947335"/>
                  <a:gd name="connsiteX4" fmla="*/ 1482563 w 3263713"/>
                  <a:gd name="connsiteY4" fmla="*/ 2735 h 3947335"/>
                  <a:gd name="connsiteX5" fmla="*/ 600012 w 3263713"/>
                  <a:gd name="connsiteY5" fmla="*/ 1249583 h 3947335"/>
                  <a:gd name="connsiteX6" fmla="*/ 17970 w 3263713"/>
                  <a:gd name="connsiteY6" fmla="*/ 2555437 h 3947335"/>
                  <a:gd name="connsiteX7" fmla="*/ 234558 w 3263713"/>
                  <a:gd name="connsiteY7" fmla="*/ 3749449 h 3947335"/>
                  <a:gd name="connsiteX8" fmla="*/ 1774433 w 3263713"/>
                  <a:gd name="connsiteY8" fmla="*/ 3900629 h 394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3713" h="3947335">
                    <a:moveTo>
                      <a:pt x="1774433" y="3900552"/>
                    </a:moveTo>
                    <a:cubicBezTo>
                      <a:pt x="2137188" y="4044635"/>
                      <a:pt x="2810169" y="3838151"/>
                      <a:pt x="3073192" y="3523836"/>
                    </a:cubicBezTo>
                    <a:cubicBezTo>
                      <a:pt x="3345701" y="3197643"/>
                      <a:pt x="3278210" y="2562533"/>
                      <a:pt x="3163745" y="2161907"/>
                    </a:cubicBezTo>
                    <a:cubicBezTo>
                      <a:pt x="3049975" y="1763902"/>
                      <a:pt x="3087538" y="939895"/>
                      <a:pt x="2772683" y="678262"/>
                    </a:cubicBezTo>
                    <a:cubicBezTo>
                      <a:pt x="2445641" y="406524"/>
                      <a:pt x="1896534" y="-38994"/>
                      <a:pt x="1482563" y="2735"/>
                    </a:cubicBezTo>
                    <a:cubicBezTo>
                      <a:pt x="1068593" y="44463"/>
                      <a:pt x="835884" y="968666"/>
                      <a:pt x="600012" y="1249583"/>
                    </a:cubicBezTo>
                    <a:cubicBezTo>
                      <a:pt x="44118" y="1911380"/>
                      <a:pt x="-46590" y="2150260"/>
                      <a:pt x="17970" y="2555437"/>
                    </a:cubicBezTo>
                    <a:cubicBezTo>
                      <a:pt x="82530" y="2960460"/>
                      <a:pt x="-80606" y="3488355"/>
                      <a:pt x="234558" y="3749449"/>
                    </a:cubicBezTo>
                    <a:cubicBezTo>
                      <a:pt x="558206" y="4017716"/>
                      <a:pt x="1283870" y="3705792"/>
                      <a:pt x="1774433" y="39006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AC52382D-6224-6D4A-B99F-CA321BB0BCB6}"/>
                  </a:ext>
                </a:extLst>
              </p:cNvPr>
              <p:cNvSpPr/>
              <p:nvPr/>
            </p:nvSpPr>
            <p:spPr>
              <a:xfrm>
                <a:off x="4316854" y="2091550"/>
                <a:ext cx="3371549" cy="3814147"/>
              </a:xfrm>
              <a:custGeom>
                <a:avLst/>
                <a:gdLst>
                  <a:gd name="connsiteX0" fmla="*/ 1816709 w 3371549"/>
                  <a:gd name="connsiteY0" fmla="*/ 3727016 h 3814147"/>
                  <a:gd name="connsiteX1" fmla="*/ 3207564 w 3371549"/>
                  <a:gd name="connsiteY1" fmla="*/ 3467928 h 3814147"/>
                  <a:gd name="connsiteX2" fmla="*/ 3237568 w 3371549"/>
                  <a:gd name="connsiteY2" fmla="*/ 2079156 h 3814147"/>
                  <a:gd name="connsiteX3" fmla="*/ 2871960 w 3371549"/>
                  <a:gd name="connsiteY3" fmla="*/ 575071 h 3814147"/>
                  <a:gd name="connsiteX4" fmla="*/ 1473006 w 3371549"/>
                  <a:gd name="connsiteY4" fmla="*/ 4984 h 3814147"/>
                  <a:gd name="connsiteX5" fmla="*/ 669824 w 3371549"/>
                  <a:gd name="connsiteY5" fmla="*/ 1191668 h 3814147"/>
                  <a:gd name="connsiteX6" fmla="*/ 11883 w 3371549"/>
                  <a:gd name="connsiteY6" fmla="*/ 2529996 h 3814147"/>
                  <a:gd name="connsiteX7" fmla="*/ 247369 w 3371549"/>
                  <a:gd name="connsiteY7" fmla="*/ 3730178 h 3814147"/>
                  <a:gd name="connsiteX8" fmla="*/ 1816709 w 3371549"/>
                  <a:gd name="connsiteY8" fmla="*/ 3727016 h 3814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1549" h="3814147">
                    <a:moveTo>
                      <a:pt x="1816709" y="3727016"/>
                    </a:moveTo>
                    <a:cubicBezTo>
                      <a:pt x="2160874" y="3886063"/>
                      <a:pt x="2948707" y="3777615"/>
                      <a:pt x="3207564" y="3467928"/>
                    </a:cubicBezTo>
                    <a:cubicBezTo>
                      <a:pt x="3487786" y="3132092"/>
                      <a:pt x="3347173" y="2488190"/>
                      <a:pt x="3237568" y="2079156"/>
                    </a:cubicBezTo>
                    <a:cubicBezTo>
                      <a:pt x="3133902" y="1692567"/>
                      <a:pt x="3181416" y="832231"/>
                      <a:pt x="2871960" y="575071"/>
                    </a:cubicBezTo>
                    <a:cubicBezTo>
                      <a:pt x="2534890" y="295002"/>
                      <a:pt x="1893533" y="-45307"/>
                      <a:pt x="1473006" y="4984"/>
                    </a:cubicBezTo>
                    <a:cubicBezTo>
                      <a:pt x="1080710" y="51880"/>
                      <a:pt x="876308" y="895248"/>
                      <a:pt x="669824" y="1191668"/>
                    </a:cubicBezTo>
                    <a:cubicBezTo>
                      <a:pt x="170313" y="1908693"/>
                      <a:pt x="-56379" y="2122427"/>
                      <a:pt x="11883" y="2529996"/>
                    </a:cubicBezTo>
                    <a:cubicBezTo>
                      <a:pt x="80145" y="2937564"/>
                      <a:pt x="-62010" y="3473713"/>
                      <a:pt x="247369" y="3730178"/>
                    </a:cubicBezTo>
                    <a:cubicBezTo>
                      <a:pt x="580505" y="4006544"/>
                      <a:pt x="1307942" y="3491916"/>
                      <a:pt x="1816709" y="37270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EB0F8F95-AD1B-04AC-FC9D-CF9C5FA13155}"/>
                  </a:ext>
                </a:extLst>
              </p:cNvPr>
              <p:cNvSpPr/>
              <p:nvPr/>
            </p:nvSpPr>
            <p:spPr>
              <a:xfrm>
                <a:off x="4254170" y="2165535"/>
                <a:ext cx="3489733" cy="3780696"/>
              </a:xfrm>
              <a:custGeom>
                <a:avLst/>
                <a:gdLst>
                  <a:gd name="connsiteX0" fmla="*/ 1862424 w 3489733"/>
                  <a:gd name="connsiteY0" fmla="*/ 3555381 h 3780696"/>
                  <a:gd name="connsiteX1" fmla="*/ 3345298 w 3489733"/>
                  <a:gd name="connsiteY1" fmla="*/ 3413920 h 3780696"/>
                  <a:gd name="connsiteX2" fmla="*/ 3314677 w 3489733"/>
                  <a:gd name="connsiteY2" fmla="*/ 1998383 h 3780696"/>
                  <a:gd name="connsiteX3" fmla="*/ 2974599 w 3489733"/>
                  <a:gd name="connsiteY3" fmla="*/ 473858 h 3780696"/>
                  <a:gd name="connsiteX4" fmla="*/ 1466734 w 3489733"/>
                  <a:gd name="connsiteY4" fmla="*/ 9211 h 3780696"/>
                  <a:gd name="connsiteX5" fmla="*/ 742922 w 3489733"/>
                  <a:gd name="connsiteY5" fmla="*/ 1135733 h 3780696"/>
                  <a:gd name="connsiteX6" fmla="*/ 9159 w 3489733"/>
                  <a:gd name="connsiteY6" fmla="*/ 2506532 h 3780696"/>
                  <a:gd name="connsiteX7" fmla="*/ 263620 w 3489733"/>
                  <a:gd name="connsiteY7" fmla="*/ 3712886 h 3780696"/>
                  <a:gd name="connsiteX8" fmla="*/ 1862424 w 3489733"/>
                  <a:gd name="connsiteY8" fmla="*/ 3555381 h 3780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9733" h="3780696">
                    <a:moveTo>
                      <a:pt x="1862424" y="3555381"/>
                    </a:moveTo>
                    <a:cubicBezTo>
                      <a:pt x="2188927" y="3728158"/>
                      <a:pt x="3090761" y="3718902"/>
                      <a:pt x="3345298" y="3413920"/>
                    </a:cubicBezTo>
                    <a:cubicBezTo>
                      <a:pt x="3633311" y="3068443"/>
                      <a:pt x="3419114" y="2415825"/>
                      <a:pt x="3314677" y="1998383"/>
                    </a:cubicBezTo>
                    <a:cubicBezTo>
                      <a:pt x="3220807" y="1623210"/>
                      <a:pt x="3278656" y="726467"/>
                      <a:pt x="2974599" y="473858"/>
                    </a:cubicBezTo>
                    <a:cubicBezTo>
                      <a:pt x="2627580" y="185459"/>
                      <a:pt x="1893894" y="-50104"/>
                      <a:pt x="1466734" y="9211"/>
                    </a:cubicBezTo>
                    <a:cubicBezTo>
                      <a:pt x="1088321" y="61816"/>
                      <a:pt x="920789" y="824040"/>
                      <a:pt x="742922" y="1135733"/>
                    </a:cubicBezTo>
                    <a:cubicBezTo>
                      <a:pt x="301800" y="1908755"/>
                      <a:pt x="-63037" y="2096496"/>
                      <a:pt x="9159" y="2506532"/>
                    </a:cubicBezTo>
                    <a:cubicBezTo>
                      <a:pt x="75802" y="2884945"/>
                      <a:pt x="-40051" y="3461048"/>
                      <a:pt x="263620" y="3712886"/>
                    </a:cubicBezTo>
                    <a:cubicBezTo>
                      <a:pt x="606320" y="3997273"/>
                      <a:pt x="1337228" y="3277473"/>
                      <a:pt x="1862424" y="355538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210ABE49-9C12-852E-3529-8E34336D0577}"/>
                  </a:ext>
                </a:extLst>
              </p:cNvPr>
              <p:cNvSpPr/>
              <p:nvPr/>
            </p:nvSpPr>
            <p:spPr>
              <a:xfrm>
                <a:off x="4190357" y="2234963"/>
                <a:ext cx="3614123" cy="3758010"/>
              </a:xfrm>
              <a:custGeom>
                <a:avLst/>
                <a:gdLst>
                  <a:gd name="connsiteX0" fmla="*/ 1909345 w 3614123"/>
                  <a:gd name="connsiteY0" fmla="*/ 3388303 h 3758010"/>
                  <a:gd name="connsiteX1" fmla="*/ 3484238 w 3614123"/>
                  <a:gd name="connsiteY1" fmla="*/ 3364469 h 3758010"/>
                  <a:gd name="connsiteX2" fmla="*/ 3393067 w 3614123"/>
                  <a:gd name="connsiteY2" fmla="*/ 1922090 h 3758010"/>
                  <a:gd name="connsiteX3" fmla="*/ 3078443 w 3614123"/>
                  <a:gd name="connsiteY3" fmla="*/ 377125 h 3758010"/>
                  <a:gd name="connsiteX4" fmla="*/ 1461744 w 3614123"/>
                  <a:gd name="connsiteY4" fmla="*/ 17919 h 3758010"/>
                  <a:gd name="connsiteX5" fmla="*/ 817301 w 3614123"/>
                  <a:gd name="connsiteY5" fmla="*/ 1084276 h 3758010"/>
                  <a:gd name="connsiteX6" fmla="*/ 7718 w 3614123"/>
                  <a:gd name="connsiteY6" fmla="*/ 2487549 h 3758010"/>
                  <a:gd name="connsiteX7" fmla="*/ 281153 w 3614123"/>
                  <a:gd name="connsiteY7" fmla="*/ 3700150 h 3758010"/>
                  <a:gd name="connsiteX8" fmla="*/ 1909345 w 3614123"/>
                  <a:gd name="connsiteY8" fmla="*/ 3388303 h 3758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14123" h="3758010">
                    <a:moveTo>
                      <a:pt x="1909345" y="3388303"/>
                    </a:moveTo>
                    <a:cubicBezTo>
                      <a:pt x="2219418" y="3574116"/>
                      <a:pt x="3233943" y="3664824"/>
                      <a:pt x="3484238" y="3364469"/>
                    </a:cubicBezTo>
                    <a:cubicBezTo>
                      <a:pt x="3779964" y="3009351"/>
                      <a:pt x="3491874" y="2348094"/>
                      <a:pt x="3393067" y="1922090"/>
                    </a:cubicBezTo>
                    <a:cubicBezTo>
                      <a:pt x="3308684" y="1558333"/>
                      <a:pt x="3377101" y="625260"/>
                      <a:pt x="3078443" y="377125"/>
                    </a:cubicBezTo>
                    <a:cubicBezTo>
                      <a:pt x="2721397" y="80473"/>
                      <a:pt x="1895307" y="-50884"/>
                      <a:pt x="1461744" y="17919"/>
                    </a:cubicBezTo>
                    <a:cubicBezTo>
                      <a:pt x="1097138" y="75845"/>
                      <a:pt x="967324" y="757388"/>
                      <a:pt x="817301" y="1084276"/>
                    </a:cubicBezTo>
                    <a:cubicBezTo>
                      <a:pt x="436652" y="1913683"/>
                      <a:pt x="-68566" y="2075121"/>
                      <a:pt x="7718" y="2487549"/>
                    </a:cubicBezTo>
                    <a:cubicBezTo>
                      <a:pt x="75286" y="2852695"/>
                      <a:pt x="-16810" y="3452863"/>
                      <a:pt x="281153" y="3700150"/>
                    </a:cubicBezTo>
                    <a:cubicBezTo>
                      <a:pt x="633340" y="3992560"/>
                      <a:pt x="1370034" y="3065041"/>
                      <a:pt x="1909345" y="3388303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D49ECFBB-A062-E238-2AEB-B9A487E997A9}"/>
                  </a:ext>
                </a:extLst>
              </p:cNvPr>
              <p:cNvSpPr/>
              <p:nvPr/>
            </p:nvSpPr>
            <p:spPr>
              <a:xfrm>
                <a:off x="4125770" y="2293347"/>
                <a:ext cx="3742715" cy="3749606"/>
              </a:xfrm>
              <a:custGeom>
                <a:avLst/>
                <a:gdLst>
                  <a:gd name="connsiteX0" fmla="*/ 1956963 w 3742715"/>
                  <a:gd name="connsiteY0" fmla="*/ 3232269 h 3749606"/>
                  <a:gd name="connsiteX1" fmla="*/ 3623876 w 3742715"/>
                  <a:gd name="connsiteY1" fmla="*/ 3326063 h 3749606"/>
                  <a:gd name="connsiteX2" fmla="*/ 3472155 w 3742715"/>
                  <a:gd name="connsiteY2" fmla="*/ 1856842 h 3749606"/>
                  <a:gd name="connsiteX3" fmla="*/ 3183063 w 3742715"/>
                  <a:gd name="connsiteY3" fmla="*/ 291359 h 3749606"/>
                  <a:gd name="connsiteX4" fmla="*/ 1457529 w 3742715"/>
                  <a:gd name="connsiteY4" fmla="*/ 37593 h 3749606"/>
                  <a:gd name="connsiteX5" fmla="*/ 892456 w 3742715"/>
                  <a:gd name="connsiteY5" fmla="*/ 1043864 h 3749606"/>
                  <a:gd name="connsiteX6" fmla="*/ 6974 w 3742715"/>
                  <a:gd name="connsiteY6" fmla="*/ 2479687 h 3749606"/>
                  <a:gd name="connsiteX7" fmla="*/ 299306 w 3742715"/>
                  <a:gd name="connsiteY7" fmla="*/ 3698459 h 3749606"/>
                  <a:gd name="connsiteX8" fmla="*/ 1956963 w 3742715"/>
                  <a:gd name="connsiteY8" fmla="*/ 3232269 h 3749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42715" h="3749606">
                    <a:moveTo>
                      <a:pt x="1956963" y="3232269"/>
                    </a:moveTo>
                    <a:cubicBezTo>
                      <a:pt x="2251687" y="3430655"/>
                      <a:pt x="3377822" y="3621712"/>
                      <a:pt x="3623876" y="3326063"/>
                    </a:cubicBezTo>
                    <a:cubicBezTo>
                      <a:pt x="3927315" y="2961226"/>
                      <a:pt x="3564869" y="2291484"/>
                      <a:pt x="3472155" y="1856842"/>
                    </a:cubicBezTo>
                    <a:cubicBezTo>
                      <a:pt x="3397028" y="1504577"/>
                      <a:pt x="3476244" y="535021"/>
                      <a:pt x="3183063" y="291359"/>
                    </a:cubicBezTo>
                    <a:cubicBezTo>
                      <a:pt x="2815989" y="-13623"/>
                      <a:pt x="1897339" y="-41237"/>
                      <a:pt x="1457529" y="37593"/>
                    </a:cubicBezTo>
                    <a:cubicBezTo>
                      <a:pt x="1106653" y="100533"/>
                      <a:pt x="1015405" y="701550"/>
                      <a:pt x="892456" y="1043864"/>
                    </a:cubicBezTo>
                    <a:cubicBezTo>
                      <a:pt x="574361" y="1929346"/>
                      <a:pt x="-74247" y="2064945"/>
                      <a:pt x="6974" y="2479687"/>
                    </a:cubicBezTo>
                    <a:cubicBezTo>
                      <a:pt x="74696" y="2831643"/>
                      <a:pt x="7128" y="3455800"/>
                      <a:pt x="299306" y="3698459"/>
                    </a:cubicBezTo>
                    <a:cubicBezTo>
                      <a:pt x="661058" y="3998967"/>
                      <a:pt x="1405928" y="2861262"/>
                      <a:pt x="1956963" y="323226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C3A0D4FD-92EB-1EBF-9089-329FA7C47D88}"/>
                  </a:ext>
                </a:extLst>
              </p:cNvPr>
              <p:cNvSpPr/>
              <p:nvPr/>
            </p:nvSpPr>
            <p:spPr>
              <a:xfrm>
                <a:off x="4061078" y="2330966"/>
                <a:ext cx="3873961" cy="3763840"/>
              </a:xfrm>
              <a:custGeom>
                <a:avLst/>
                <a:gdLst>
                  <a:gd name="connsiteX0" fmla="*/ 3763695 w 3873961"/>
                  <a:gd name="connsiteY0" fmla="*/ 3308421 h 3763840"/>
                  <a:gd name="connsiteX1" fmla="*/ 3551425 w 3873961"/>
                  <a:gd name="connsiteY1" fmla="*/ 1812358 h 3763840"/>
                  <a:gd name="connsiteX2" fmla="*/ 3287786 w 3873961"/>
                  <a:gd name="connsiteY2" fmla="*/ 226435 h 3763840"/>
                  <a:gd name="connsiteX3" fmla="*/ 1453342 w 3873961"/>
                  <a:gd name="connsiteY3" fmla="*/ 78186 h 3763840"/>
                  <a:gd name="connsiteX4" fmla="*/ 967638 w 3873961"/>
                  <a:gd name="connsiteY4" fmla="*/ 1024294 h 3763840"/>
                  <a:gd name="connsiteX5" fmla="*/ 6334 w 3873961"/>
                  <a:gd name="connsiteY5" fmla="*/ 2492590 h 3763840"/>
                  <a:gd name="connsiteX6" fmla="*/ 317642 w 3873961"/>
                  <a:gd name="connsiteY6" fmla="*/ 3717532 h 3763840"/>
                  <a:gd name="connsiteX7" fmla="*/ 2004763 w 3873961"/>
                  <a:gd name="connsiteY7" fmla="*/ 3096923 h 3763840"/>
                  <a:gd name="connsiteX8" fmla="*/ 3763772 w 3873961"/>
                  <a:gd name="connsiteY8" fmla="*/ 3308421 h 3763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73961" h="3763840">
                    <a:moveTo>
                      <a:pt x="3763695" y="3308421"/>
                    </a:moveTo>
                    <a:cubicBezTo>
                      <a:pt x="4074847" y="2933942"/>
                      <a:pt x="3637583" y="2255716"/>
                      <a:pt x="3551425" y="1812358"/>
                    </a:cubicBezTo>
                    <a:cubicBezTo>
                      <a:pt x="3485169" y="1471586"/>
                      <a:pt x="3575568" y="465623"/>
                      <a:pt x="3287786" y="226435"/>
                    </a:cubicBezTo>
                    <a:cubicBezTo>
                      <a:pt x="2910685" y="-86878"/>
                      <a:pt x="1899323" y="-11288"/>
                      <a:pt x="1453342" y="78186"/>
                    </a:cubicBezTo>
                    <a:cubicBezTo>
                      <a:pt x="1116041" y="145831"/>
                      <a:pt x="1064131" y="666245"/>
                      <a:pt x="967638" y="1024294"/>
                    </a:cubicBezTo>
                    <a:cubicBezTo>
                      <a:pt x="714026" y="1965311"/>
                      <a:pt x="-78589" y="2075380"/>
                      <a:pt x="6334" y="2492590"/>
                    </a:cubicBezTo>
                    <a:cubicBezTo>
                      <a:pt x="75291" y="2831202"/>
                      <a:pt x="31094" y="3479501"/>
                      <a:pt x="317642" y="3717532"/>
                    </a:cubicBezTo>
                    <a:cubicBezTo>
                      <a:pt x="688958" y="4026062"/>
                      <a:pt x="1444780" y="2676242"/>
                      <a:pt x="2004763" y="3096923"/>
                    </a:cubicBezTo>
                    <a:cubicBezTo>
                      <a:pt x="2285294" y="3307727"/>
                      <a:pt x="3521961" y="3599365"/>
                      <a:pt x="3763772" y="330842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241FEF28-EA1B-A5AD-ED44-07EFDB158E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6981742">
            <a:off x="7809648" y="5519170"/>
            <a:ext cx="8334992" cy="7408967"/>
            <a:chOff x="-1641318" y="-299489"/>
            <a:chExt cx="8683276" cy="7718554"/>
          </a:xfrm>
        </p:grpSpPr>
        <p:grpSp>
          <p:nvGrpSpPr>
            <p:cNvPr id="1027" name="Group 1026">
              <a:extLst>
                <a:ext uri="{FF2B5EF4-FFF2-40B4-BE49-F238E27FC236}">
                  <a16:creationId xmlns:a16="http://schemas.microsoft.com/office/drawing/2014/main" id="{FCAE01AE-DDF0-4815-229B-BED32F620C2B}"/>
                </a:ext>
              </a:extLst>
            </p:cNvPr>
            <p:cNvGrpSpPr/>
            <p:nvPr/>
          </p:nvGrpSpPr>
          <p:grpSpPr>
            <a:xfrm rot="13963223">
              <a:off x="-1235110" y="-252874"/>
              <a:ext cx="7671937" cy="7671942"/>
              <a:chOff x="-13073550" y="260470"/>
              <a:chExt cx="10868115" cy="10868116"/>
            </a:xfrm>
            <a:solidFill>
              <a:schemeClr val="bg1">
                <a:lumMod val="85000"/>
              </a:schemeClr>
            </a:solidFill>
          </p:grpSpPr>
          <p:grpSp>
            <p:nvGrpSpPr>
              <p:cNvPr id="1097" name="Group 1096">
                <a:extLst>
                  <a:ext uri="{FF2B5EF4-FFF2-40B4-BE49-F238E27FC236}">
                    <a16:creationId xmlns:a16="http://schemas.microsoft.com/office/drawing/2014/main" id="{B88D7FA4-8938-6074-4154-F5E281B45A91}"/>
                  </a:ext>
                </a:extLst>
              </p:cNvPr>
              <p:cNvGrpSpPr/>
              <p:nvPr/>
            </p:nvGrpSpPr>
            <p:grpSpPr>
              <a:xfrm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104" name="Graphic 1103">
                  <a:extLst>
                    <a:ext uri="{FF2B5EF4-FFF2-40B4-BE49-F238E27FC236}">
                      <a16:creationId xmlns:a16="http://schemas.microsoft.com/office/drawing/2014/main" id="{8B0C1938-E1CE-6F58-D6EA-543851D1A25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105" name="Graphic 1104">
                  <a:extLst>
                    <a:ext uri="{FF2B5EF4-FFF2-40B4-BE49-F238E27FC236}">
                      <a16:creationId xmlns:a16="http://schemas.microsoft.com/office/drawing/2014/main" id="{15868AA1-30C0-A42E-D8A5-D1755A89E5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1098" name="Group 1097">
                <a:extLst>
                  <a:ext uri="{FF2B5EF4-FFF2-40B4-BE49-F238E27FC236}">
                    <a16:creationId xmlns:a16="http://schemas.microsoft.com/office/drawing/2014/main" id="{CD3B1CC5-9DE1-8148-0B96-C7A8F068477D}"/>
                  </a:ext>
                </a:extLst>
              </p:cNvPr>
              <p:cNvGrpSpPr/>
              <p:nvPr/>
            </p:nvGrpSpPr>
            <p:grpSpPr>
              <a:xfrm rot="18000000">
                <a:off x="-13073550" y="3398292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102" name="Graphic 1101">
                  <a:extLst>
                    <a:ext uri="{FF2B5EF4-FFF2-40B4-BE49-F238E27FC236}">
                      <a16:creationId xmlns:a16="http://schemas.microsoft.com/office/drawing/2014/main" id="{4543C9DA-E0D8-D481-C0B9-620F6CE4167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103" name="Graphic 1102">
                  <a:extLst>
                    <a:ext uri="{FF2B5EF4-FFF2-40B4-BE49-F238E27FC236}">
                      <a16:creationId xmlns:a16="http://schemas.microsoft.com/office/drawing/2014/main" id="{82CA6147-B791-69B5-779B-CEF7197E813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  <p:grpSp>
            <p:nvGrpSpPr>
              <p:cNvPr id="1099" name="Group 1098">
                <a:extLst>
                  <a:ext uri="{FF2B5EF4-FFF2-40B4-BE49-F238E27FC236}">
                    <a16:creationId xmlns:a16="http://schemas.microsoft.com/office/drawing/2014/main" id="{5D15B9BE-104C-EF5D-37F3-AB7DA8AF0002}"/>
                  </a:ext>
                </a:extLst>
              </p:cNvPr>
              <p:cNvGrpSpPr/>
              <p:nvPr/>
            </p:nvGrpSpPr>
            <p:grpSpPr>
              <a:xfrm rot="3600000">
                <a:off x="-13073550" y="3398291"/>
                <a:ext cx="10868115" cy="4592474"/>
                <a:chOff x="-13073550" y="3398292"/>
                <a:chExt cx="10868115" cy="4592474"/>
              </a:xfrm>
              <a:grpFill/>
            </p:grpSpPr>
            <p:pic>
              <p:nvPicPr>
                <p:cNvPr id="1100" name="Graphic 1099">
                  <a:extLst>
                    <a:ext uri="{FF2B5EF4-FFF2-40B4-BE49-F238E27FC236}">
                      <a16:creationId xmlns:a16="http://schemas.microsoft.com/office/drawing/2014/main" id="{145528E5-A74B-89FE-77EF-2EFA4183182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4517729" y="3398292"/>
                  <a:ext cx="2312294" cy="4592474"/>
                </a:xfrm>
                <a:prstGeom prst="rect">
                  <a:avLst/>
                </a:prstGeom>
              </p:spPr>
            </p:pic>
            <p:pic>
              <p:nvPicPr>
                <p:cNvPr id="1101" name="Graphic 1100">
                  <a:extLst>
                    <a:ext uri="{FF2B5EF4-FFF2-40B4-BE49-F238E27FC236}">
                      <a16:creationId xmlns:a16="http://schemas.microsoft.com/office/drawing/2014/main" id="{7499D6A5-5401-F788-47E0-F9787CD42F9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-13073550" y="3398292"/>
                  <a:ext cx="2312294" cy="4592474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1028" name="Graphic 5">
              <a:extLst>
                <a:ext uri="{FF2B5EF4-FFF2-40B4-BE49-F238E27FC236}">
                  <a16:creationId xmlns:a16="http://schemas.microsoft.com/office/drawing/2014/main" id="{F837AEA5-F477-8107-4760-948F83E1428A}"/>
                </a:ext>
              </a:extLst>
            </p:cNvPr>
            <p:cNvGrpSpPr/>
            <p:nvPr/>
          </p:nvGrpSpPr>
          <p:grpSpPr>
            <a:xfrm rot="15746055">
              <a:off x="-177888" y="1123433"/>
              <a:ext cx="5330696" cy="5499097"/>
              <a:chOff x="4071312" y="2489702"/>
              <a:chExt cx="3527293" cy="3638722"/>
            </a:xfrm>
            <a:noFill/>
          </p:grpSpPr>
          <p:sp>
            <p:nvSpPr>
              <p:cNvPr id="1085" name="Freeform: Shape 1084">
                <a:extLst>
                  <a:ext uri="{FF2B5EF4-FFF2-40B4-BE49-F238E27FC236}">
                    <a16:creationId xmlns:a16="http://schemas.microsoft.com/office/drawing/2014/main" id="{FADAD533-1135-42FC-2425-384FA5BF3821}"/>
                  </a:ext>
                </a:extLst>
              </p:cNvPr>
              <p:cNvSpPr/>
              <p:nvPr/>
            </p:nvSpPr>
            <p:spPr>
              <a:xfrm>
                <a:off x="4071312" y="2489702"/>
                <a:ext cx="3259151" cy="3638722"/>
              </a:xfrm>
              <a:custGeom>
                <a:avLst/>
                <a:gdLst>
                  <a:gd name="connsiteX0" fmla="*/ 3079707 w 3259151"/>
                  <a:gd name="connsiteY0" fmla="*/ 3021953 h 3638722"/>
                  <a:gd name="connsiteX1" fmla="*/ 3132080 w 3259151"/>
                  <a:gd name="connsiteY1" fmla="*/ 1787369 h 3638722"/>
                  <a:gd name="connsiteX2" fmla="*/ 3107243 w 3259151"/>
                  <a:gd name="connsiteY2" fmla="*/ 829383 h 3638722"/>
                  <a:gd name="connsiteX3" fmla="*/ 1658848 w 3259151"/>
                  <a:gd name="connsiteY3" fmla="*/ 4990 h 3638722"/>
                  <a:gd name="connsiteX4" fmla="*/ 849418 w 3259151"/>
                  <a:gd name="connsiteY4" fmla="*/ 1005939 h 3638722"/>
                  <a:gd name="connsiteX5" fmla="*/ 4585 w 3259151"/>
                  <a:gd name="connsiteY5" fmla="*/ 2043526 h 3638722"/>
                  <a:gd name="connsiteX6" fmla="*/ 820725 w 3259151"/>
                  <a:gd name="connsiteY6" fmla="*/ 2918441 h 3638722"/>
                  <a:gd name="connsiteX7" fmla="*/ 2033249 w 3259151"/>
                  <a:gd name="connsiteY7" fmla="*/ 3633846 h 3638722"/>
                  <a:gd name="connsiteX8" fmla="*/ 3079785 w 3259151"/>
                  <a:gd name="connsiteY8" fmla="*/ 3022030 h 3638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59151" h="3638722">
                    <a:moveTo>
                      <a:pt x="3079707" y="3021953"/>
                    </a:moveTo>
                    <a:cubicBezTo>
                      <a:pt x="3412226" y="2666372"/>
                      <a:pt x="3192167" y="2234970"/>
                      <a:pt x="3132080" y="1787369"/>
                    </a:cubicBezTo>
                    <a:cubicBezTo>
                      <a:pt x="3085955" y="1443358"/>
                      <a:pt x="3380525" y="1084923"/>
                      <a:pt x="3107243" y="829383"/>
                    </a:cubicBezTo>
                    <a:cubicBezTo>
                      <a:pt x="2749194" y="494473"/>
                      <a:pt x="2109225" y="-58259"/>
                      <a:pt x="1658848" y="4990"/>
                    </a:cubicBezTo>
                    <a:cubicBezTo>
                      <a:pt x="1318153" y="52812"/>
                      <a:pt x="1102645" y="735127"/>
                      <a:pt x="849418" y="1005939"/>
                    </a:cubicBezTo>
                    <a:cubicBezTo>
                      <a:pt x="515743" y="1362755"/>
                      <a:pt x="-56967" y="1594538"/>
                      <a:pt x="4585" y="2043526"/>
                    </a:cubicBezTo>
                    <a:cubicBezTo>
                      <a:pt x="51559" y="2385918"/>
                      <a:pt x="548678" y="2663981"/>
                      <a:pt x="820725" y="2918441"/>
                    </a:cubicBezTo>
                    <a:cubicBezTo>
                      <a:pt x="1173298" y="3248183"/>
                      <a:pt x="1589043" y="3690075"/>
                      <a:pt x="2033249" y="3633846"/>
                    </a:cubicBezTo>
                    <a:cubicBezTo>
                      <a:pt x="2381349" y="3589726"/>
                      <a:pt x="2821390" y="3298397"/>
                      <a:pt x="3079785" y="302203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6" name="Freeform: Shape 1085">
                <a:extLst>
                  <a:ext uri="{FF2B5EF4-FFF2-40B4-BE49-F238E27FC236}">
                    <a16:creationId xmlns:a16="http://schemas.microsoft.com/office/drawing/2014/main" id="{73F48858-530B-F884-EEEF-8CE2F1C9AA05}"/>
                  </a:ext>
                </a:extLst>
              </p:cNvPr>
              <p:cNvSpPr/>
              <p:nvPr/>
            </p:nvSpPr>
            <p:spPr>
              <a:xfrm>
                <a:off x="4109618" y="2534620"/>
                <a:ext cx="3220782" cy="3579817"/>
              </a:xfrm>
              <a:custGeom>
                <a:avLst/>
                <a:gdLst>
                  <a:gd name="connsiteX0" fmla="*/ 791058 w 3220782"/>
                  <a:gd name="connsiteY0" fmla="*/ 2907154 h 3579817"/>
                  <a:gd name="connsiteX1" fmla="*/ 2002194 w 3220782"/>
                  <a:gd name="connsiteY1" fmla="*/ 3574659 h 3579817"/>
                  <a:gd name="connsiteX2" fmla="*/ 3028289 w 3220782"/>
                  <a:gd name="connsiteY2" fmla="*/ 2934613 h 3579817"/>
                  <a:gd name="connsiteX3" fmla="*/ 3129333 w 3220782"/>
                  <a:gd name="connsiteY3" fmla="*/ 1743455 h 3579817"/>
                  <a:gd name="connsiteX4" fmla="*/ 3052277 w 3220782"/>
                  <a:gd name="connsiteY4" fmla="*/ 731167 h 3579817"/>
                  <a:gd name="connsiteX5" fmla="*/ 1620928 w 3220782"/>
                  <a:gd name="connsiteY5" fmla="*/ 5581 h 3579817"/>
                  <a:gd name="connsiteX6" fmla="*/ 765913 w 3220782"/>
                  <a:gd name="connsiteY6" fmla="*/ 939888 h 3579817"/>
                  <a:gd name="connsiteX7" fmla="*/ 5000 w 3220782"/>
                  <a:gd name="connsiteY7" fmla="*/ 1991745 h 3579817"/>
                  <a:gd name="connsiteX8" fmla="*/ 791058 w 3220782"/>
                  <a:gd name="connsiteY8" fmla="*/ 2907231 h 3579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782" h="3579817">
                    <a:moveTo>
                      <a:pt x="791058" y="2907154"/>
                    </a:moveTo>
                    <a:cubicBezTo>
                      <a:pt x="1139775" y="3222549"/>
                      <a:pt x="1564312" y="3630426"/>
                      <a:pt x="2002194" y="3574659"/>
                    </a:cubicBezTo>
                    <a:cubicBezTo>
                      <a:pt x="2362558" y="3528688"/>
                      <a:pt x="2770743" y="3219772"/>
                      <a:pt x="3028289" y="2934613"/>
                    </a:cubicBezTo>
                    <a:cubicBezTo>
                      <a:pt x="3345767" y="2583197"/>
                      <a:pt x="3188417" y="2184113"/>
                      <a:pt x="3129333" y="1743455"/>
                    </a:cubicBezTo>
                    <a:cubicBezTo>
                      <a:pt x="3081433" y="1386485"/>
                      <a:pt x="3334968" y="986244"/>
                      <a:pt x="3052277" y="731167"/>
                    </a:cubicBezTo>
                    <a:cubicBezTo>
                      <a:pt x="2698624" y="412069"/>
                      <a:pt x="2063823" y="-56434"/>
                      <a:pt x="1620928" y="5581"/>
                    </a:cubicBezTo>
                    <a:cubicBezTo>
                      <a:pt x="1267198" y="54946"/>
                      <a:pt x="1018908" y="659665"/>
                      <a:pt x="765913" y="939888"/>
                    </a:cubicBezTo>
                    <a:cubicBezTo>
                      <a:pt x="447664" y="1292461"/>
                      <a:pt x="-55549" y="1549929"/>
                      <a:pt x="5000" y="1991745"/>
                    </a:cubicBezTo>
                    <a:cubicBezTo>
                      <a:pt x="53516" y="2346477"/>
                      <a:pt x="510218" y="2653234"/>
                      <a:pt x="791058" y="290723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7" name="Freeform: Shape 1086">
                <a:extLst>
                  <a:ext uri="{FF2B5EF4-FFF2-40B4-BE49-F238E27FC236}">
                    <a16:creationId xmlns:a16="http://schemas.microsoft.com/office/drawing/2014/main" id="{1054B953-D966-978F-C708-9F7DB458B1A9}"/>
                  </a:ext>
                </a:extLst>
              </p:cNvPr>
              <p:cNvSpPr/>
              <p:nvPr/>
            </p:nvSpPr>
            <p:spPr>
              <a:xfrm>
                <a:off x="4147825" y="2579175"/>
                <a:ext cx="3187979" cy="3521387"/>
              </a:xfrm>
              <a:custGeom>
                <a:avLst/>
                <a:gdLst>
                  <a:gd name="connsiteX0" fmla="*/ 761567 w 3187979"/>
                  <a:gd name="connsiteY0" fmla="*/ 2896229 h 3521387"/>
                  <a:gd name="connsiteX1" fmla="*/ 1971315 w 3187979"/>
                  <a:gd name="connsiteY1" fmla="*/ 3515912 h 3521387"/>
                  <a:gd name="connsiteX2" fmla="*/ 2977047 w 3187979"/>
                  <a:gd name="connsiteY2" fmla="*/ 2847635 h 3521387"/>
                  <a:gd name="connsiteX3" fmla="*/ 3126683 w 3187979"/>
                  <a:gd name="connsiteY3" fmla="*/ 1699825 h 3521387"/>
                  <a:gd name="connsiteX4" fmla="*/ 2997409 w 3187979"/>
                  <a:gd name="connsiteY4" fmla="*/ 633236 h 3521387"/>
                  <a:gd name="connsiteX5" fmla="*/ 1583183 w 3187979"/>
                  <a:gd name="connsiteY5" fmla="*/ 6380 h 3521387"/>
                  <a:gd name="connsiteX6" fmla="*/ 682583 w 3187979"/>
                  <a:gd name="connsiteY6" fmla="*/ 874121 h 3521387"/>
                  <a:gd name="connsiteX7" fmla="*/ 5513 w 3187979"/>
                  <a:gd name="connsiteY7" fmla="*/ 1940171 h 3521387"/>
                  <a:gd name="connsiteX8" fmla="*/ 761567 w 3187979"/>
                  <a:gd name="connsiteY8" fmla="*/ 2896229 h 3521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87979" h="3521387">
                    <a:moveTo>
                      <a:pt x="761567" y="2896229"/>
                    </a:moveTo>
                    <a:cubicBezTo>
                      <a:pt x="1106195" y="3197508"/>
                      <a:pt x="1539681" y="3571139"/>
                      <a:pt x="1971315" y="3515912"/>
                    </a:cubicBezTo>
                    <a:cubicBezTo>
                      <a:pt x="2343865" y="3468090"/>
                      <a:pt x="2720426" y="3141742"/>
                      <a:pt x="2977047" y="2847635"/>
                    </a:cubicBezTo>
                    <a:cubicBezTo>
                      <a:pt x="3279715" y="2500770"/>
                      <a:pt x="3184842" y="2133542"/>
                      <a:pt x="3126683" y="1699825"/>
                    </a:cubicBezTo>
                    <a:cubicBezTo>
                      <a:pt x="3077087" y="1329975"/>
                      <a:pt x="3289665" y="887620"/>
                      <a:pt x="2997409" y="633236"/>
                    </a:cubicBezTo>
                    <a:cubicBezTo>
                      <a:pt x="2648539" y="329565"/>
                      <a:pt x="2018520" y="-54246"/>
                      <a:pt x="1583183" y="6380"/>
                    </a:cubicBezTo>
                    <a:cubicBezTo>
                      <a:pt x="1216418" y="57287"/>
                      <a:pt x="935115" y="584257"/>
                      <a:pt x="682583" y="874121"/>
                    </a:cubicBezTo>
                    <a:cubicBezTo>
                      <a:pt x="379529" y="1222066"/>
                      <a:pt x="-53879" y="1505683"/>
                      <a:pt x="5513" y="1940171"/>
                    </a:cubicBezTo>
                    <a:cubicBezTo>
                      <a:pt x="55572" y="2307322"/>
                      <a:pt x="471703" y="2642848"/>
                      <a:pt x="761567" y="28962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8" name="Freeform: Shape 1087">
                <a:extLst>
                  <a:ext uri="{FF2B5EF4-FFF2-40B4-BE49-F238E27FC236}">
                    <a16:creationId xmlns:a16="http://schemas.microsoft.com/office/drawing/2014/main" id="{EDCD7BBB-7004-1F33-9040-2A6900983FB5}"/>
                  </a:ext>
                </a:extLst>
              </p:cNvPr>
              <p:cNvSpPr/>
              <p:nvPr/>
            </p:nvSpPr>
            <p:spPr>
              <a:xfrm>
                <a:off x="4185926" y="2623532"/>
                <a:ext cx="3162650" cy="3463280"/>
              </a:xfrm>
              <a:custGeom>
                <a:avLst/>
                <a:gdLst>
                  <a:gd name="connsiteX0" fmla="*/ 732182 w 3162650"/>
                  <a:gd name="connsiteY0" fmla="*/ 2885579 h 3463280"/>
                  <a:gd name="connsiteX1" fmla="*/ 1940541 w 3162650"/>
                  <a:gd name="connsiteY1" fmla="*/ 3457440 h 3463280"/>
                  <a:gd name="connsiteX2" fmla="*/ 2925910 w 3162650"/>
                  <a:gd name="connsiteY2" fmla="*/ 2760933 h 3463280"/>
                  <a:gd name="connsiteX3" fmla="*/ 3124217 w 3162650"/>
                  <a:gd name="connsiteY3" fmla="*/ 1656549 h 3463280"/>
                  <a:gd name="connsiteX4" fmla="*/ 2942725 w 3162650"/>
                  <a:gd name="connsiteY4" fmla="*/ 535658 h 3463280"/>
                  <a:gd name="connsiteX5" fmla="*/ 1545622 w 3162650"/>
                  <a:gd name="connsiteY5" fmla="*/ 7609 h 3463280"/>
                  <a:gd name="connsiteX6" fmla="*/ 599436 w 3162650"/>
                  <a:gd name="connsiteY6" fmla="*/ 808708 h 3463280"/>
                  <a:gd name="connsiteX7" fmla="*/ 6210 w 3162650"/>
                  <a:gd name="connsiteY7" fmla="*/ 1888949 h 3463280"/>
                  <a:gd name="connsiteX8" fmla="*/ 732182 w 3162650"/>
                  <a:gd name="connsiteY8" fmla="*/ 2885579 h 3463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62650" h="3463280">
                    <a:moveTo>
                      <a:pt x="732182" y="2885579"/>
                    </a:moveTo>
                    <a:cubicBezTo>
                      <a:pt x="1072413" y="3173052"/>
                      <a:pt x="1515232" y="3512050"/>
                      <a:pt x="1940541" y="3457440"/>
                    </a:cubicBezTo>
                    <a:cubicBezTo>
                      <a:pt x="2325355" y="3407689"/>
                      <a:pt x="2670370" y="3064218"/>
                      <a:pt x="2925910" y="2760933"/>
                    </a:cubicBezTo>
                    <a:cubicBezTo>
                      <a:pt x="3214077" y="2418850"/>
                      <a:pt x="3181450" y="2083246"/>
                      <a:pt x="3124217" y="1656549"/>
                    </a:cubicBezTo>
                    <a:cubicBezTo>
                      <a:pt x="3072847" y="1273817"/>
                      <a:pt x="3244776" y="789270"/>
                      <a:pt x="2942725" y="535658"/>
                    </a:cubicBezTo>
                    <a:cubicBezTo>
                      <a:pt x="2599022" y="247105"/>
                      <a:pt x="1973399" y="-51783"/>
                      <a:pt x="1545622" y="7609"/>
                    </a:cubicBezTo>
                    <a:cubicBezTo>
                      <a:pt x="1165821" y="60059"/>
                      <a:pt x="851352" y="508970"/>
                      <a:pt x="599436" y="808708"/>
                    </a:cubicBezTo>
                    <a:cubicBezTo>
                      <a:pt x="311192" y="1151639"/>
                      <a:pt x="-52025" y="1461712"/>
                      <a:pt x="6210" y="1888949"/>
                    </a:cubicBezTo>
                    <a:cubicBezTo>
                      <a:pt x="57888" y="2268441"/>
                      <a:pt x="433139" y="2632970"/>
                      <a:pt x="732182" y="28855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9" name="Freeform: Shape 1088">
                <a:extLst>
                  <a:ext uri="{FF2B5EF4-FFF2-40B4-BE49-F238E27FC236}">
                    <a16:creationId xmlns:a16="http://schemas.microsoft.com/office/drawing/2014/main" id="{E5D85D2B-8575-9546-7C28-59E32CE69E9B}"/>
                  </a:ext>
                </a:extLst>
              </p:cNvPr>
              <p:cNvSpPr/>
              <p:nvPr/>
            </p:nvSpPr>
            <p:spPr>
              <a:xfrm>
                <a:off x="4223622" y="2666959"/>
                <a:ext cx="3145783" cy="3406134"/>
              </a:xfrm>
              <a:custGeom>
                <a:avLst/>
                <a:gdLst>
                  <a:gd name="connsiteX0" fmla="*/ 703202 w 3145783"/>
                  <a:gd name="connsiteY0" fmla="*/ 2875858 h 3406134"/>
                  <a:gd name="connsiteX1" fmla="*/ 1910173 w 3145783"/>
                  <a:gd name="connsiteY1" fmla="*/ 3399820 h 3406134"/>
                  <a:gd name="connsiteX2" fmla="*/ 2875101 w 3145783"/>
                  <a:gd name="connsiteY2" fmla="*/ 2675082 h 3406134"/>
                  <a:gd name="connsiteX3" fmla="*/ 3122003 w 3145783"/>
                  <a:gd name="connsiteY3" fmla="*/ 1614047 h 3406134"/>
                  <a:gd name="connsiteX4" fmla="*/ 2888291 w 3145783"/>
                  <a:gd name="connsiteY4" fmla="*/ 438855 h 3406134"/>
                  <a:gd name="connsiteX5" fmla="*/ 1508312 w 3145783"/>
                  <a:gd name="connsiteY5" fmla="*/ 9612 h 3406134"/>
                  <a:gd name="connsiteX6" fmla="*/ 516541 w 3145783"/>
                  <a:gd name="connsiteY6" fmla="*/ 744146 h 3406134"/>
                  <a:gd name="connsiteX7" fmla="*/ 7234 w 3145783"/>
                  <a:gd name="connsiteY7" fmla="*/ 1838580 h 3406134"/>
                  <a:gd name="connsiteX8" fmla="*/ 703125 w 3145783"/>
                  <a:gd name="connsiteY8" fmla="*/ 2875858 h 3406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45783" h="3406134">
                    <a:moveTo>
                      <a:pt x="703202" y="2875858"/>
                    </a:moveTo>
                    <a:cubicBezTo>
                      <a:pt x="1038729" y="3149756"/>
                      <a:pt x="1491188" y="3453967"/>
                      <a:pt x="1910173" y="3399820"/>
                    </a:cubicBezTo>
                    <a:cubicBezTo>
                      <a:pt x="2307174" y="3348218"/>
                      <a:pt x="2620872" y="2987778"/>
                      <a:pt x="2875101" y="2675082"/>
                    </a:cubicBezTo>
                    <a:cubicBezTo>
                      <a:pt x="3149077" y="2338167"/>
                      <a:pt x="3178310" y="2033802"/>
                      <a:pt x="3122003" y="1614047"/>
                    </a:cubicBezTo>
                    <a:cubicBezTo>
                      <a:pt x="3068936" y="1218434"/>
                      <a:pt x="3200369" y="691464"/>
                      <a:pt x="2888291" y="438855"/>
                    </a:cubicBezTo>
                    <a:cubicBezTo>
                      <a:pt x="2549988" y="165034"/>
                      <a:pt x="1928530" y="-48546"/>
                      <a:pt x="1508312" y="9612"/>
                    </a:cubicBezTo>
                    <a:cubicBezTo>
                      <a:pt x="1115476" y="63605"/>
                      <a:pt x="767685" y="434304"/>
                      <a:pt x="516541" y="744146"/>
                    </a:cubicBezTo>
                    <a:cubicBezTo>
                      <a:pt x="242797" y="1081832"/>
                      <a:pt x="-49998" y="1418593"/>
                      <a:pt x="7234" y="1838580"/>
                    </a:cubicBezTo>
                    <a:cubicBezTo>
                      <a:pt x="60456" y="2230413"/>
                      <a:pt x="394749" y="2624098"/>
                      <a:pt x="703125" y="287585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90" name="Freeform: Shape 1089">
                <a:extLst>
                  <a:ext uri="{FF2B5EF4-FFF2-40B4-BE49-F238E27FC236}">
                    <a16:creationId xmlns:a16="http://schemas.microsoft.com/office/drawing/2014/main" id="{B906F70C-2778-35AD-4CA8-197D21C57DFF}"/>
                  </a:ext>
                </a:extLst>
              </p:cNvPr>
              <p:cNvSpPr/>
              <p:nvPr/>
            </p:nvSpPr>
            <p:spPr>
              <a:xfrm>
                <a:off x="4260986" y="2709255"/>
                <a:ext cx="3135893" cy="3350272"/>
              </a:xfrm>
              <a:custGeom>
                <a:avLst/>
                <a:gdLst>
                  <a:gd name="connsiteX0" fmla="*/ 674554 w 3135893"/>
                  <a:gd name="connsiteY0" fmla="*/ 2867269 h 3350272"/>
                  <a:gd name="connsiteX1" fmla="*/ 1880214 w 3135893"/>
                  <a:gd name="connsiteY1" fmla="*/ 3343408 h 3350272"/>
                  <a:gd name="connsiteX2" fmla="*/ 2824779 w 3135893"/>
                  <a:gd name="connsiteY2" fmla="*/ 2590440 h 3350272"/>
                  <a:gd name="connsiteX3" fmla="*/ 3120352 w 3135893"/>
                  <a:gd name="connsiteY3" fmla="*/ 1572830 h 3350272"/>
                  <a:gd name="connsiteX4" fmla="*/ 2834498 w 3135893"/>
                  <a:gd name="connsiteY4" fmla="*/ 343337 h 3350272"/>
                  <a:gd name="connsiteX5" fmla="*/ 1471565 w 3135893"/>
                  <a:gd name="connsiteY5" fmla="*/ 12824 h 3350272"/>
                  <a:gd name="connsiteX6" fmla="*/ 434209 w 3135893"/>
                  <a:gd name="connsiteY6" fmla="*/ 680715 h 3350272"/>
                  <a:gd name="connsiteX7" fmla="*/ 8746 w 3135893"/>
                  <a:gd name="connsiteY7" fmla="*/ 1789341 h 3350272"/>
                  <a:gd name="connsiteX8" fmla="*/ 674631 w 3135893"/>
                  <a:gd name="connsiteY8" fmla="*/ 2867192 h 3350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893" h="3350272">
                    <a:moveTo>
                      <a:pt x="674554" y="2867269"/>
                    </a:moveTo>
                    <a:cubicBezTo>
                      <a:pt x="1005144" y="3127900"/>
                      <a:pt x="1467477" y="3396938"/>
                      <a:pt x="1880214" y="3343408"/>
                    </a:cubicBezTo>
                    <a:cubicBezTo>
                      <a:pt x="2289402" y="3289956"/>
                      <a:pt x="2572016" y="2912777"/>
                      <a:pt x="2824779" y="2590440"/>
                    </a:cubicBezTo>
                    <a:cubicBezTo>
                      <a:pt x="3084794" y="2258847"/>
                      <a:pt x="3175656" y="1985567"/>
                      <a:pt x="3120352" y="1572830"/>
                    </a:cubicBezTo>
                    <a:cubicBezTo>
                      <a:pt x="3065587" y="1164336"/>
                      <a:pt x="3156758" y="594635"/>
                      <a:pt x="2834498" y="343337"/>
                    </a:cubicBezTo>
                    <a:cubicBezTo>
                      <a:pt x="2512238" y="92039"/>
                      <a:pt x="1884302" y="-44023"/>
                      <a:pt x="1471565" y="12824"/>
                    </a:cubicBezTo>
                    <a:cubicBezTo>
                      <a:pt x="1065694" y="68359"/>
                      <a:pt x="684273" y="360692"/>
                      <a:pt x="434209" y="680715"/>
                    </a:cubicBezTo>
                    <a:cubicBezTo>
                      <a:pt x="174658" y="1012848"/>
                      <a:pt x="-47330" y="1376605"/>
                      <a:pt x="8746" y="1789341"/>
                    </a:cubicBezTo>
                    <a:cubicBezTo>
                      <a:pt x="63510" y="2193593"/>
                      <a:pt x="356691" y="2616588"/>
                      <a:pt x="674631" y="286719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91" name="Freeform: Shape 1090">
                <a:extLst>
                  <a:ext uri="{FF2B5EF4-FFF2-40B4-BE49-F238E27FC236}">
                    <a16:creationId xmlns:a16="http://schemas.microsoft.com/office/drawing/2014/main" id="{50FA1694-A1D2-A6B2-032D-D4A13F93923F}"/>
                  </a:ext>
                </a:extLst>
              </p:cNvPr>
              <p:cNvSpPr/>
              <p:nvPr/>
            </p:nvSpPr>
            <p:spPr>
              <a:xfrm>
                <a:off x="4297185" y="2745782"/>
                <a:ext cx="3130741" cy="3300265"/>
              </a:xfrm>
              <a:custGeom>
                <a:avLst/>
                <a:gdLst>
                  <a:gd name="connsiteX0" fmla="*/ 647071 w 3130741"/>
                  <a:gd name="connsiteY0" fmla="*/ 2864372 h 3300265"/>
                  <a:gd name="connsiteX1" fmla="*/ 1851342 w 3130741"/>
                  <a:gd name="connsiteY1" fmla="*/ 3292689 h 3300265"/>
                  <a:gd name="connsiteX2" fmla="*/ 2775545 w 3130741"/>
                  <a:gd name="connsiteY2" fmla="*/ 2511491 h 3300265"/>
                  <a:gd name="connsiteX3" fmla="*/ 3119711 w 3130741"/>
                  <a:gd name="connsiteY3" fmla="*/ 1537229 h 3300265"/>
                  <a:gd name="connsiteX4" fmla="*/ 2781639 w 3130741"/>
                  <a:gd name="connsiteY4" fmla="*/ 253435 h 3300265"/>
                  <a:gd name="connsiteX5" fmla="*/ 1435829 w 3130741"/>
                  <a:gd name="connsiteY5" fmla="*/ 21729 h 3300265"/>
                  <a:gd name="connsiteX6" fmla="*/ 352887 w 3130741"/>
                  <a:gd name="connsiteY6" fmla="*/ 622977 h 3300265"/>
                  <a:gd name="connsiteX7" fmla="*/ 11267 w 3130741"/>
                  <a:gd name="connsiteY7" fmla="*/ 1745873 h 3300265"/>
                  <a:gd name="connsiteX8" fmla="*/ 647071 w 3130741"/>
                  <a:gd name="connsiteY8" fmla="*/ 2864295 h 3300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0741" h="3300265">
                    <a:moveTo>
                      <a:pt x="647071" y="2864372"/>
                    </a:moveTo>
                    <a:cubicBezTo>
                      <a:pt x="972571" y="3111968"/>
                      <a:pt x="1444853" y="3345679"/>
                      <a:pt x="1851342" y="3292689"/>
                    </a:cubicBezTo>
                    <a:cubicBezTo>
                      <a:pt x="2272795" y="3237385"/>
                      <a:pt x="2524556" y="2843624"/>
                      <a:pt x="2775545" y="2511491"/>
                    </a:cubicBezTo>
                    <a:cubicBezTo>
                      <a:pt x="3021907" y="2185529"/>
                      <a:pt x="3174166" y="1943024"/>
                      <a:pt x="3119711" y="1537229"/>
                    </a:cubicBezTo>
                    <a:cubicBezTo>
                      <a:pt x="3063172" y="1115777"/>
                      <a:pt x="3114388" y="503190"/>
                      <a:pt x="2781639" y="253435"/>
                    </a:cubicBezTo>
                    <a:cubicBezTo>
                      <a:pt x="2455059" y="8308"/>
                      <a:pt x="1841007" y="-33884"/>
                      <a:pt x="1435829" y="21729"/>
                    </a:cubicBezTo>
                    <a:cubicBezTo>
                      <a:pt x="1016845" y="78884"/>
                      <a:pt x="601640" y="292464"/>
                      <a:pt x="352887" y="622977"/>
                    </a:cubicBezTo>
                    <a:cubicBezTo>
                      <a:pt x="107297" y="949325"/>
                      <a:pt x="-43651" y="1340387"/>
                      <a:pt x="11267" y="1745873"/>
                    </a:cubicBezTo>
                    <a:cubicBezTo>
                      <a:pt x="67574" y="2162466"/>
                      <a:pt x="319412" y="2615080"/>
                      <a:pt x="647071" y="286429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92" name="Freeform: Shape 1091">
                <a:extLst>
                  <a:ext uri="{FF2B5EF4-FFF2-40B4-BE49-F238E27FC236}">
                    <a16:creationId xmlns:a16="http://schemas.microsoft.com/office/drawing/2014/main" id="{B5CA454D-2509-29B2-039A-369864CBD9FE}"/>
                  </a:ext>
                </a:extLst>
              </p:cNvPr>
              <p:cNvSpPr/>
              <p:nvPr/>
            </p:nvSpPr>
            <p:spPr>
              <a:xfrm>
                <a:off x="4331073" y="2769810"/>
                <a:ext cx="3129679" cy="3263042"/>
              </a:xfrm>
              <a:custGeom>
                <a:avLst/>
                <a:gdLst>
                  <a:gd name="connsiteX0" fmla="*/ 621899 w 3129679"/>
                  <a:gd name="connsiteY0" fmla="*/ 2874051 h 3263042"/>
                  <a:gd name="connsiteX1" fmla="*/ 1824782 w 3129679"/>
                  <a:gd name="connsiteY1" fmla="*/ 3254546 h 3263042"/>
                  <a:gd name="connsiteX2" fmla="*/ 2728544 w 3129679"/>
                  <a:gd name="connsiteY2" fmla="*/ 2445116 h 3263042"/>
                  <a:gd name="connsiteX3" fmla="*/ 3121380 w 3129679"/>
                  <a:gd name="connsiteY3" fmla="*/ 1514281 h 3263042"/>
                  <a:gd name="connsiteX4" fmla="*/ 2731090 w 3129679"/>
                  <a:gd name="connsiteY4" fmla="*/ 176262 h 3263042"/>
                  <a:gd name="connsiteX5" fmla="*/ 1402404 w 3129679"/>
                  <a:gd name="connsiteY5" fmla="*/ 43363 h 3263042"/>
                  <a:gd name="connsiteX6" fmla="*/ 273877 w 3129679"/>
                  <a:gd name="connsiteY6" fmla="*/ 578045 h 3263042"/>
                  <a:gd name="connsiteX7" fmla="*/ 16177 w 3129679"/>
                  <a:gd name="connsiteY7" fmla="*/ 1715134 h 3263042"/>
                  <a:gd name="connsiteX8" fmla="*/ 621899 w 3129679"/>
                  <a:gd name="connsiteY8" fmla="*/ 2874205 h 3263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29679" h="3263042">
                    <a:moveTo>
                      <a:pt x="621899" y="2874051"/>
                    </a:moveTo>
                    <a:cubicBezTo>
                      <a:pt x="941999" y="3108842"/>
                      <a:pt x="1424618" y="3306996"/>
                      <a:pt x="1824782" y="3254546"/>
                    </a:cubicBezTo>
                    <a:cubicBezTo>
                      <a:pt x="2258421" y="3197313"/>
                      <a:pt x="2479637" y="2787277"/>
                      <a:pt x="2728544" y="2445116"/>
                    </a:cubicBezTo>
                    <a:cubicBezTo>
                      <a:pt x="2961485" y="2124939"/>
                      <a:pt x="3174833" y="1913056"/>
                      <a:pt x="3121380" y="1514281"/>
                    </a:cubicBezTo>
                    <a:cubicBezTo>
                      <a:pt x="3063145" y="1079947"/>
                      <a:pt x="3074561" y="424089"/>
                      <a:pt x="2731090" y="176262"/>
                    </a:cubicBezTo>
                    <a:cubicBezTo>
                      <a:pt x="2410681" y="-54982"/>
                      <a:pt x="1800022" y="-10939"/>
                      <a:pt x="1402404" y="43363"/>
                    </a:cubicBezTo>
                    <a:cubicBezTo>
                      <a:pt x="970384" y="102060"/>
                      <a:pt x="521009" y="236734"/>
                      <a:pt x="273877" y="578045"/>
                    </a:cubicBezTo>
                    <a:cubicBezTo>
                      <a:pt x="41862" y="898377"/>
                      <a:pt x="-37739" y="1316898"/>
                      <a:pt x="16177" y="1715134"/>
                    </a:cubicBezTo>
                    <a:cubicBezTo>
                      <a:pt x="74026" y="2144068"/>
                      <a:pt x="284289" y="2626532"/>
                      <a:pt x="621899" y="287420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93" name="Freeform: Shape 1092">
                <a:extLst>
                  <a:ext uri="{FF2B5EF4-FFF2-40B4-BE49-F238E27FC236}">
                    <a16:creationId xmlns:a16="http://schemas.microsoft.com/office/drawing/2014/main" id="{A8A4C83A-018C-27B8-2A95-7292502DC4F6}"/>
                  </a:ext>
                </a:extLst>
              </p:cNvPr>
              <p:cNvSpPr/>
              <p:nvPr/>
            </p:nvSpPr>
            <p:spPr>
              <a:xfrm>
                <a:off x="4358871" y="2771233"/>
                <a:ext cx="3135688" cy="3248662"/>
              </a:xfrm>
              <a:custGeom>
                <a:avLst/>
                <a:gdLst>
                  <a:gd name="connsiteX0" fmla="*/ 602817 w 3135688"/>
                  <a:gd name="connsiteY0" fmla="*/ 2906335 h 3248662"/>
                  <a:gd name="connsiteX1" fmla="*/ 1804311 w 3135688"/>
                  <a:gd name="connsiteY1" fmla="*/ 3238930 h 3248662"/>
                  <a:gd name="connsiteX2" fmla="*/ 2687711 w 3135688"/>
                  <a:gd name="connsiteY2" fmla="*/ 2401271 h 3248662"/>
                  <a:gd name="connsiteX3" fmla="*/ 3129140 w 3135688"/>
                  <a:gd name="connsiteY3" fmla="*/ 1513860 h 3248662"/>
                  <a:gd name="connsiteX4" fmla="*/ 2686631 w 3135688"/>
                  <a:gd name="connsiteY4" fmla="*/ 121540 h 3248662"/>
                  <a:gd name="connsiteX5" fmla="*/ 1375068 w 3135688"/>
                  <a:gd name="connsiteY5" fmla="*/ 87448 h 3248662"/>
                  <a:gd name="connsiteX6" fmla="*/ 200956 w 3135688"/>
                  <a:gd name="connsiteY6" fmla="*/ 555488 h 3248662"/>
                  <a:gd name="connsiteX7" fmla="*/ 27099 w 3135688"/>
                  <a:gd name="connsiteY7" fmla="*/ 1706769 h 3248662"/>
                  <a:gd name="connsiteX8" fmla="*/ 602817 w 3135688"/>
                  <a:gd name="connsiteY8" fmla="*/ 2906412 h 3248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35688" h="3248662">
                    <a:moveTo>
                      <a:pt x="602817" y="2906335"/>
                    </a:moveTo>
                    <a:cubicBezTo>
                      <a:pt x="917441" y="3128631"/>
                      <a:pt x="1410472" y="3290840"/>
                      <a:pt x="1804311" y="3238930"/>
                    </a:cubicBezTo>
                    <a:cubicBezTo>
                      <a:pt x="2250214" y="3179847"/>
                      <a:pt x="2441195" y="2753612"/>
                      <a:pt x="2687711" y="2401271"/>
                    </a:cubicBezTo>
                    <a:cubicBezTo>
                      <a:pt x="2907538" y="2087032"/>
                      <a:pt x="3181668" y="1905617"/>
                      <a:pt x="3129140" y="1513860"/>
                    </a:cubicBezTo>
                    <a:cubicBezTo>
                      <a:pt x="3069209" y="1066646"/>
                      <a:pt x="3040978" y="367208"/>
                      <a:pt x="2686631" y="121540"/>
                    </a:cubicBezTo>
                    <a:cubicBezTo>
                      <a:pt x="2372624" y="-96128"/>
                      <a:pt x="1765128" y="34381"/>
                      <a:pt x="1375068" y="87448"/>
                    </a:cubicBezTo>
                    <a:cubicBezTo>
                      <a:pt x="930013" y="147688"/>
                      <a:pt x="446083" y="203301"/>
                      <a:pt x="200956" y="555488"/>
                    </a:cubicBezTo>
                    <a:cubicBezTo>
                      <a:pt x="-17715" y="869649"/>
                      <a:pt x="-25660" y="1315784"/>
                      <a:pt x="27099" y="1706769"/>
                    </a:cubicBezTo>
                    <a:cubicBezTo>
                      <a:pt x="86568" y="2148122"/>
                      <a:pt x="255026" y="2660667"/>
                      <a:pt x="602817" y="290641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94" name="Freeform: Shape 1093">
                <a:extLst>
                  <a:ext uri="{FF2B5EF4-FFF2-40B4-BE49-F238E27FC236}">
                    <a16:creationId xmlns:a16="http://schemas.microsoft.com/office/drawing/2014/main" id="{8347AD46-03B2-4788-36F5-B32E382DC227}"/>
                  </a:ext>
                </a:extLst>
              </p:cNvPr>
              <p:cNvSpPr/>
              <p:nvPr/>
            </p:nvSpPr>
            <p:spPr>
              <a:xfrm>
                <a:off x="4372952" y="2753381"/>
                <a:ext cx="3156027" cy="3254119"/>
              </a:xfrm>
              <a:custGeom>
                <a:avLst/>
                <a:gdLst>
                  <a:gd name="connsiteX0" fmla="*/ 597452 w 3156027"/>
                  <a:gd name="connsiteY0" fmla="*/ 2957894 h 3254119"/>
                  <a:gd name="connsiteX1" fmla="*/ 1797558 w 3156027"/>
                  <a:gd name="connsiteY1" fmla="*/ 3242667 h 3254119"/>
                  <a:gd name="connsiteX2" fmla="*/ 2660594 w 3156027"/>
                  <a:gd name="connsiteY2" fmla="*/ 2376700 h 3254119"/>
                  <a:gd name="connsiteX3" fmla="*/ 3150695 w 3156027"/>
                  <a:gd name="connsiteY3" fmla="*/ 1532638 h 3254119"/>
                  <a:gd name="connsiteX4" fmla="*/ 2655966 w 3156027"/>
                  <a:gd name="connsiteY4" fmla="*/ 86017 h 3254119"/>
                  <a:gd name="connsiteX5" fmla="*/ 1361450 w 3156027"/>
                  <a:gd name="connsiteY5" fmla="*/ 150654 h 3254119"/>
                  <a:gd name="connsiteX6" fmla="*/ 141752 w 3156027"/>
                  <a:gd name="connsiteY6" fmla="*/ 552129 h 3254119"/>
                  <a:gd name="connsiteX7" fmla="*/ 51738 w 3156027"/>
                  <a:gd name="connsiteY7" fmla="*/ 1717602 h 3254119"/>
                  <a:gd name="connsiteX8" fmla="*/ 597374 w 3156027"/>
                  <a:gd name="connsiteY8" fmla="*/ 2957816 h 3254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56027" h="3254119">
                    <a:moveTo>
                      <a:pt x="597452" y="2957894"/>
                    </a:moveTo>
                    <a:cubicBezTo>
                      <a:pt x="906445" y="3167925"/>
                      <a:pt x="1410044" y="3294037"/>
                      <a:pt x="1797558" y="3242667"/>
                    </a:cubicBezTo>
                    <a:cubicBezTo>
                      <a:pt x="2255648" y="3181732"/>
                      <a:pt x="2416778" y="2739608"/>
                      <a:pt x="2660594" y="2376700"/>
                    </a:cubicBezTo>
                    <a:cubicBezTo>
                      <a:pt x="2867541" y="2068555"/>
                      <a:pt x="3202297" y="1917452"/>
                      <a:pt x="3150695" y="1532638"/>
                    </a:cubicBezTo>
                    <a:cubicBezTo>
                      <a:pt x="3088989" y="1072542"/>
                      <a:pt x="3021574" y="329061"/>
                      <a:pt x="2655966" y="86017"/>
                    </a:cubicBezTo>
                    <a:cubicBezTo>
                      <a:pt x="2348516" y="-118385"/>
                      <a:pt x="1744028" y="98898"/>
                      <a:pt x="1361450" y="150654"/>
                    </a:cubicBezTo>
                    <a:cubicBezTo>
                      <a:pt x="903359" y="212437"/>
                      <a:pt x="384566" y="188680"/>
                      <a:pt x="141752" y="552129"/>
                    </a:cubicBezTo>
                    <a:cubicBezTo>
                      <a:pt x="-63883" y="859965"/>
                      <a:pt x="60" y="1333867"/>
                      <a:pt x="51738" y="1717602"/>
                    </a:cubicBezTo>
                    <a:cubicBezTo>
                      <a:pt x="112750" y="2171296"/>
                      <a:pt x="239248" y="2714386"/>
                      <a:pt x="597374" y="2957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95" name="Freeform: Shape 1094">
                <a:extLst>
                  <a:ext uri="{FF2B5EF4-FFF2-40B4-BE49-F238E27FC236}">
                    <a16:creationId xmlns:a16="http://schemas.microsoft.com/office/drawing/2014/main" id="{FAAD3787-564D-43E5-7AEC-74FD118DB497}"/>
                  </a:ext>
                </a:extLst>
              </p:cNvPr>
              <p:cNvSpPr/>
              <p:nvPr/>
            </p:nvSpPr>
            <p:spPr>
              <a:xfrm>
                <a:off x="4369454" y="2723578"/>
                <a:ext cx="3194199" cy="3272228"/>
              </a:xfrm>
              <a:custGeom>
                <a:avLst/>
                <a:gdLst>
                  <a:gd name="connsiteX0" fmla="*/ 609666 w 3194199"/>
                  <a:gd name="connsiteY0" fmla="*/ 3021327 h 3272228"/>
                  <a:gd name="connsiteX1" fmla="*/ 1808461 w 3194199"/>
                  <a:gd name="connsiteY1" fmla="*/ 3258278 h 3272228"/>
                  <a:gd name="connsiteX2" fmla="*/ 2651057 w 3194199"/>
                  <a:gd name="connsiteY2" fmla="*/ 2364080 h 3272228"/>
                  <a:gd name="connsiteX3" fmla="*/ 3189751 w 3194199"/>
                  <a:gd name="connsiteY3" fmla="*/ 1563444 h 3272228"/>
                  <a:gd name="connsiteX4" fmla="*/ 2642804 w 3194199"/>
                  <a:gd name="connsiteY4" fmla="*/ 62522 h 3272228"/>
                  <a:gd name="connsiteX5" fmla="*/ 1365411 w 3194199"/>
                  <a:gd name="connsiteY5" fmla="*/ 225965 h 3272228"/>
                  <a:gd name="connsiteX6" fmla="*/ 100128 w 3194199"/>
                  <a:gd name="connsiteY6" fmla="*/ 560798 h 3272228"/>
                  <a:gd name="connsiteX7" fmla="*/ 94034 w 3194199"/>
                  <a:gd name="connsiteY7" fmla="*/ 1740540 h 3272228"/>
                  <a:gd name="connsiteX8" fmla="*/ 609589 w 3194199"/>
                  <a:gd name="connsiteY8" fmla="*/ 3021327 h 3272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94199" h="3272228">
                    <a:moveTo>
                      <a:pt x="609666" y="3021327"/>
                    </a:moveTo>
                    <a:cubicBezTo>
                      <a:pt x="912874" y="3219326"/>
                      <a:pt x="1427194" y="3309031"/>
                      <a:pt x="1808461" y="3258278"/>
                    </a:cubicBezTo>
                    <a:cubicBezTo>
                      <a:pt x="2278815" y="3195492"/>
                      <a:pt x="2410481" y="2737710"/>
                      <a:pt x="2651057" y="2364080"/>
                    </a:cubicBezTo>
                    <a:cubicBezTo>
                      <a:pt x="2845431" y="2062183"/>
                      <a:pt x="3240427" y="1941240"/>
                      <a:pt x="3189751" y="1563444"/>
                    </a:cubicBezTo>
                    <a:cubicBezTo>
                      <a:pt x="3126348" y="1090390"/>
                      <a:pt x="3019828" y="302481"/>
                      <a:pt x="2642804" y="62522"/>
                    </a:cubicBezTo>
                    <a:cubicBezTo>
                      <a:pt x="2342064" y="-128844"/>
                      <a:pt x="1740430" y="175444"/>
                      <a:pt x="1365411" y="225965"/>
                    </a:cubicBezTo>
                    <a:cubicBezTo>
                      <a:pt x="894285" y="289291"/>
                      <a:pt x="340087" y="185934"/>
                      <a:pt x="100128" y="560798"/>
                    </a:cubicBezTo>
                    <a:cubicBezTo>
                      <a:pt x="-92781" y="862155"/>
                      <a:pt x="43435" y="1364056"/>
                      <a:pt x="94034" y="1740540"/>
                    </a:cubicBezTo>
                    <a:cubicBezTo>
                      <a:pt x="156589" y="2206653"/>
                      <a:pt x="240972" y="2780596"/>
                      <a:pt x="609589" y="302132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96" name="Freeform: Shape 1095">
                <a:extLst>
                  <a:ext uri="{FF2B5EF4-FFF2-40B4-BE49-F238E27FC236}">
                    <a16:creationId xmlns:a16="http://schemas.microsoft.com/office/drawing/2014/main" id="{13CCAD96-BC91-3F68-06C7-C60CC9AA2D5F}"/>
                  </a:ext>
                </a:extLst>
              </p:cNvPr>
              <p:cNvSpPr/>
              <p:nvPr/>
            </p:nvSpPr>
            <p:spPr>
              <a:xfrm>
                <a:off x="4352455" y="2686397"/>
                <a:ext cx="3246150" cy="3299210"/>
              </a:xfrm>
              <a:custGeom>
                <a:avLst/>
                <a:gdLst>
                  <a:gd name="connsiteX0" fmla="*/ 1832787 w 3246150"/>
                  <a:gd name="connsiteY0" fmla="*/ 3281344 h 3299210"/>
                  <a:gd name="connsiteX1" fmla="*/ 2655021 w 3246150"/>
                  <a:gd name="connsiteY1" fmla="*/ 2358915 h 3299210"/>
                  <a:gd name="connsiteX2" fmla="*/ 3242385 w 3246150"/>
                  <a:gd name="connsiteY2" fmla="*/ 1601628 h 3299210"/>
                  <a:gd name="connsiteX3" fmla="*/ 2643296 w 3246150"/>
                  <a:gd name="connsiteY3" fmla="*/ 46404 h 3299210"/>
                  <a:gd name="connsiteX4" fmla="*/ 1383027 w 3246150"/>
                  <a:gd name="connsiteY4" fmla="*/ 308655 h 3299210"/>
                  <a:gd name="connsiteX5" fmla="*/ 72158 w 3246150"/>
                  <a:gd name="connsiteY5" fmla="*/ 576844 h 3299210"/>
                  <a:gd name="connsiteX6" fmla="*/ 149908 w 3246150"/>
                  <a:gd name="connsiteY6" fmla="*/ 1770779 h 3299210"/>
                  <a:gd name="connsiteX7" fmla="*/ 635458 w 3246150"/>
                  <a:gd name="connsiteY7" fmla="*/ 3092214 h 3299210"/>
                  <a:gd name="connsiteX8" fmla="*/ 1832864 w 3246150"/>
                  <a:gd name="connsiteY8" fmla="*/ 3281266 h 3299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6150" h="3299210">
                    <a:moveTo>
                      <a:pt x="1832787" y="3281344"/>
                    </a:moveTo>
                    <a:cubicBezTo>
                      <a:pt x="2315329" y="3216707"/>
                      <a:pt x="2418069" y="2743421"/>
                      <a:pt x="2655021" y="2358915"/>
                    </a:cubicBezTo>
                    <a:cubicBezTo>
                      <a:pt x="2837131" y="2063420"/>
                      <a:pt x="3292059" y="1972558"/>
                      <a:pt x="3242385" y="1601628"/>
                    </a:cubicBezTo>
                    <a:cubicBezTo>
                      <a:pt x="3177285" y="1115693"/>
                      <a:pt x="3031967" y="282661"/>
                      <a:pt x="2643296" y="46404"/>
                    </a:cubicBezTo>
                    <a:cubicBezTo>
                      <a:pt x="2349344" y="-132312"/>
                      <a:pt x="1750487" y="259367"/>
                      <a:pt x="1383027" y="308655"/>
                    </a:cubicBezTo>
                    <a:cubicBezTo>
                      <a:pt x="898866" y="373523"/>
                      <a:pt x="308801" y="190333"/>
                      <a:pt x="72158" y="576844"/>
                    </a:cubicBezTo>
                    <a:cubicBezTo>
                      <a:pt x="-108255" y="871568"/>
                      <a:pt x="100466" y="1401546"/>
                      <a:pt x="149908" y="1770779"/>
                    </a:cubicBezTo>
                    <a:cubicBezTo>
                      <a:pt x="214005" y="2249233"/>
                      <a:pt x="255965" y="2854492"/>
                      <a:pt x="635458" y="3092214"/>
                    </a:cubicBezTo>
                    <a:cubicBezTo>
                      <a:pt x="932804" y="3278490"/>
                      <a:pt x="1457845" y="3331557"/>
                      <a:pt x="1832864" y="328126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1029" name="Graphic 5">
              <a:extLst>
                <a:ext uri="{FF2B5EF4-FFF2-40B4-BE49-F238E27FC236}">
                  <a16:creationId xmlns:a16="http://schemas.microsoft.com/office/drawing/2014/main" id="{AD8532DA-5639-A40D-B138-52037755C1DE}"/>
                </a:ext>
              </a:extLst>
            </p:cNvPr>
            <p:cNvGrpSpPr/>
            <p:nvPr/>
          </p:nvGrpSpPr>
          <p:grpSpPr>
            <a:xfrm rot="180525">
              <a:off x="-597053" y="441139"/>
              <a:ext cx="6472770" cy="6313556"/>
              <a:chOff x="4270587" y="2574268"/>
              <a:chExt cx="3544376" cy="3457192"/>
            </a:xfrm>
            <a:noFill/>
          </p:grpSpPr>
          <p:sp>
            <p:nvSpPr>
              <p:cNvPr id="1069" name="Freeform: Shape 1068">
                <a:extLst>
                  <a:ext uri="{FF2B5EF4-FFF2-40B4-BE49-F238E27FC236}">
                    <a16:creationId xmlns:a16="http://schemas.microsoft.com/office/drawing/2014/main" id="{16E39BBA-754A-86F3-AA3B-E2E794480EE0}"/>
                  </a:ext>
                </a:extLst>
              </p:cNvPr>
              <p:cNvSpPr/>
              <p:nvPr/>
            </p:nvSpPr>
            <p:spPr>
              <a:xfrm>
                <a:off x="4270587" y="2606803"/>
                <a:ext cx="3544376" cy="3424657"/>
              </a:xfrm>
              <a:custGeom>
                <a:avLst/>
                <a:gdLst>
                  <a:gd name="connsiteX0" fmla="*/ 3338832 w 3544376"/>
                  <a:gd name="connsiteY0" fmla="*/ 932573 h 3424657"/>
                  <a:gd name="connsiteX1" fmla="*/ 2419102 w 3544376"/>
                  <a:gd name="connsiteY1" fmla="*/ 117205 h 3424657"/>
                  <a:gd name="connsiteX2" fmla="*/ 1318575 w 3544376"/>
                  <a:gd name="connsiteY2" fmla="*/ 80027 h 3424657"/>
                  <a:gd name="connsiteX3" fmla="*/ 8709 w 3544376"/>
                  <a:gd name="connsiteY3" fmla="*/ 1110518 h 3424657"/>
                  <a:gd name="connsiteX4" fmla="*/ 630398 w 3544376"/>
                  <a:gd name="connsiteY4" fmla="*/ 2237733 h 3424657"/>
                  <a:gd name="connsiteX5" fmla="*/ 1272758 w 3544376"/>
                  <a:gd name="connsiteY5" fmla="*/ 3411536 h 3424657"/>
                  <a:gd name="connsiteX6" fmla="*/ 2390872 w 3544376"/>
                  <a:gd name="connsiteY6" fmla="*/ 2985687 h 3424657"/>
                  <a:gd name="connsiteX7" fmla="*/ 3510760 w 3544376"/>
                  <a:gd name="connsiteY7" fmla="*/ 2132601 h 3424657"/>
                  <a:gd name="connsiteX8" fmla="*/ 3338908 w 3544376"/>
                  <a:gd name="connsiteY8" fmla="*/ 932650 h 342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44376" h="3424657">
                    <a:moveTo>
                      <a:pt x="3338832" y="932573"/>
                    </a:moveTo>
                    <a:cubicBezTo>
                      <a:pt x="3134970" y="490449"/>
                      <a:pt x="2856290" y="230435"/>
                      <a:pt x="2419102" y="117205"/>
                    </a:cubicBezTo>
                    <a:cubicBezTo>
                      <a:pt x="2083036" y="30199"/>
                      <a:pt x="1658344" y="-76630"/>
                      <a:pt x="1318575" y="80027"/>
                    </a:cubicBezTo>
                    <a:cubicBezTo>
                      <a:pt x="873365" y="285354"/>
                      <a:pt x="120088" y="669551"/>
                      <a:pt x="8709" y="1110518"/>
                    </a:cubicBezTo>
                    <a:cubicBezTo>
                      <a:pt x="-75520" y="1444039"/>
                      <a:pt x="475130" y="1900972"/>
                      <a:pt x="630398" y="2237733"/>
                    </a:cubicBezTo>
                    <a:cubicBezTo>
                      <a:pt x="834953" y="2681323"/>
                      <a:pt x="833642" y="3299231"/>
                      <a:pt x="1272758" y="3411536"/>
                    </a:cubicBezTo>
                    <a:cubicBezTo>
                      <a:pt x="1607591" y="3497153"/>
                      <a:pt x="2052568" y="3141650"/>
                      <a:pt x="2390872" y="2985687"/>
                    </a:cubicBezTo>
                    <a:cubicBezTo>
                      <a:pt x="2829217" y="2783523"/>
                      <a:pt x="3395293" y="2565161"/>
                      <a:pt x="3510760" y="2132601"/>
                    </a:cubicBezTo>
                    <a:cubicBezTo>
                      <a:pt x="3601236" y="1793527"/>
                      <a:pt x="3497339" y="1276198"/>
                      <a:pt x="3338908" y="93265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71" name="Freeform: Shape 1070">
                <a:extLst>
                  <a:ext uri="{FF2B5EF4-FFF2-40B4-BE49-F238E27FC236}">
                    <a16:creationId xmlns:a16="http://schemas.microsoft.com/office/drawing/2014/main" id="{2C085A8A-2F2D-C3CD-E25D-826FB9369C1D}"/>
                  </a:ext>
                </a:extLst>
              </p:cNvPr>
              <p:cNvSpPr/>
              <p:nvPr/>
            </p:nvSpPr>
            <p:spPr>
              <a:xfrm>
                <a:off x="4311149" y="2610445"/>
                <a:ext cx="3481515" cy="3380560"/>
              </a:xfrm>
              <a:custGeom>
                <a:avLst/>
                <a:gdLst>
                  <a:gd name="connsiteX0" fmla="*/ 2384788 w 3481515"/>
                  <a:gd name="connsiteY0" fmla="*/ 2986674 h 3380560"/>
                  <a:gd name="connsiteX1" fmla="*/ 3435796 w 3481515"/>
                  <a:gd name="connsiteY1" fmla="*/ 2123946 h 3380560"/>
                  <a:gd name="connsiteX2" fmla="*/ 3309068 w 3481515"/>
                  <a:gd name="connsiteY2" fmla="*/ 911268 h 3380560"/>
                  <a:gd name="connsiteX3" fmla="*/ 2359797 w 3481515"/>
                  <a:gd name="connsiteY3" fmla="*/ 156988 h 3380560"/>
                  <a:gd name="connsiteX4" fmla="*/ 1222399 w 3481515"/>
                  <a:gd name="connsiteY4" fmla="*/ 71757 h 3380560"/>
                  <a:gd name="connsiteX5" fmla="*/ 10492 w 3481515"/>
                  <a:gd name="connsiteY5" fmla="*/ 1123691 h 3380560"/>
                  <a:gd name="connsiteX6" fmla="*/ 573097 w 3481515"/>
                  <a:gd name="connsiteY6" fmla="*/ 2302662 h 3380560"/>
                  <a:gd name="connsiteX7" fmla="*/ 1256646 w 3481515"/>
                  <a:gd name="connsiteY7" fmla="*/ 3364546 h 3380560"/>
                  <a:gd name="connsiteX8" fmla="*/ 2384788 w 3481515"/>
                  <a:gd name="connsiteY8" fmla="*/ 2986674 h 3380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1515" h="3380560">
                    <a:moveTo>
                      <a:pt x="2384788" y="2986674"/>
                    </a:moveTo>
                    <a:cubicBezTo>
                      <a:pt x="2808400" y="2782658"/>
                      <a:pt x="3322257" y="2550489"/>
                      <a:pt x="3435796" y="2123946"/>
                    </a:cubicBezTo>
                    <a:cubicBezTo>
                      <a:pt x="3529127" y="1772916"/>
                      <a:pt x="3475983" y="1257439"/>
                      <a:pt x="3309068" y="911268"/>
                    </a:cubicBezTo>
                    <a:cubicBezTo>
                      <a:pt x="3103355" y="484725"/>
                      <a:pt x="2790197" y="268368"/>
                      <a:pt x="2359797" y="156988"/>
                    </a:cubicBezTo>
                    <a:cubicBezTo>
                      <a:pt x="2011157" y="66743"/>
                      <a:pt x="1565254" y="-93770"/>
                      <a:pt x="1222399" y="71757"/>
                    </a:cubicBezTo>
                    <a:cubicBezTo>
                      <a:pt x="793465" y="278935"/>
                      <a:pt x="120175" y="690129"/>
                      <a:pt x="10492" y="1123691"/>
                    </a:cubicBezTo>
                    <a:cubicBezTo>
                      <a:pt x="-77208" y="1469862"/>
                      <a:pt x="408959" y="1962662"/>
                      <a:pt x="573097" y="2302662"/>
                    </a:cubicBezTo>
                    <a:cubicBezTo>
                      <a:pt x="779581" y="2730362"/>
                      <a:pt x="824704" y="3254015"/>
                      <a:pt x="1256646" y="3364546"/>
                    </a:cubicBezTo>
                    <a:cubicBezTo>
                      <a:pt x="1603512" y="3453403"/>
                      <a:pt x="2043630" y="3150966"/>
                      <a:pt x="2384788" y="298667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72" name="Freeform: Shape 1071">
                <a:extLst>
                  <a:ext uri="{FF2B5EF4-FFF2-40B4-BE49-F238E27FC236}">
                    <a16:creationId xmlns:a16="http://schemas.microsoft.com/office/drawing/2014/main" id="{3222380F-7868-2E3A-78EC-C02C2B786ACE}"/>
                  </a:ext>
                </a:extLst>
              </p:cNvPr>
              <p:cNvSpPr/>
              <p:nvPr/>
            </p:nvSpPr>
            <p:spPr>
              <a:xfrm>
                <a:off x="4351228" y="2611075"/>
                <a:ext cx="3424905" cy="3340311"/>
              </a:xfrm>
              <a:custGeom>
                <a:avLst/>
                <a:gdLst>
                  <a:gd name="connsiteX0" fmla="*/ 2379187 w 3424905"/>
                  <a:gd name="connsiteY0" fmla="*/ 2990672 h 3340311"/>
                  <a:gd name="connsiteX1" fmla="*/ 3361317 w 3424905"/>
                  <a:gd name="connsiteY1" fmla="*/ 2118303 h 3340311"/>
                  <a:gd name="connsiteX2" fmla="*/ 3279788 w 3424905"/>
                  <a:gd name="connsiteY2" fmla="*/ 892974 h 3340311"/>
                  <a:gd name="connsiteX3" fmla="*/ 2300975 w 3424905"/>
                  <a:gd name="connsiteY3" fmla="*/ 199707 h 3340311"/>
                  <a:gd name="connsiteX4" fmla="*/ 1126708 w 3424905"/>
                  <a:gd name="connsiteY4" fmla="*/ 66422 h 3340311"/>
                  <a:gd name="connsiteX5" fmla="*/ 12759 w 3424905"/>
                  <a:gd name="connsiteY5" fmla="*/ 1139722 h 3340311"/>
                  <a:gd name="connsiteX6" fmla="*/ 516204 w 3424905"/>
                  <a:gd name="connsiteY6" fmla="*/ 2370449 h 3340311"/>
                  <a:gd name="connsiteX7" fmla="*/ 1241019 w 3424905"/>
                  <a:gd name="connsiteY7" fmla="*/ 3320491 h 3340311"/>
                  <a:gd name="connsiteX8" fmla="*/ 2379265 w 3424905"/>
                  <a:gd name="connsiteY8" fmla="*/ 2990594 h 3340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24905" h="3340311">
                    <a:moveTo>
                      <a:pt x="2379187" y="2990672"/>
                    </a:moveTo>
                    <a:cubicBezTo>
                      <a:pt x="2788222" y="2785113"/>
                      <a:pt x="3249628" y="2538829"/>
                      <a:pt x="3361317" y="2118303"/>
                    </a:cubicBezTo>
                    <a:cubicBezTo>
                      <a:pt x="3457501" y="1755239"/>
                      <a:pt x="3455341" y="1241614"/>
                      <a:pt x="3279788" y="892974"/>
                    </a:cubicBezTo>
                    <a:cubicBezTo>
                      <a:pt x="3072686" y="481781"/>
                      <a:pt x="2724587" y="309389"/>
                      <a:pt x="2300975" y="199707"/>
                    </a:cubicBezTo>
                    <a:cubicBezTo>
                      <a:pt x="1939763" y="106145"/>
                      <a:pt x="1472571" y="-108206"/>
                      <a:pt x="1126708" y="66422"/>
                    </a:cubicBezTo>
                    <a:cubicBezTo>
                      <a:pt x="713895" y="274988"/>
                      <a:pt x="120745" y="713641"/>
                      <a:pt x="12759" y="1139722"/>
                    </a:cubicBezTo>
                    <a:cubicBezTo>
                      <a:pt x="-78411" y="1498619"/>
                      <a:pt x="342964" y="2027286"/>
                      <a:pt x="516204" y="2370449"/>
                    </a:cubicBezTo>
                    <a:cubicBezTo>
                      <a:pt x="724076" y="2782414"/>
                      <a:pt x="816250" y="3211657"/>
                      <a:pt x="1241019" y="3320491"/>
                    </a:cubicBezTo>
                    <a:cubicBezTo>
                      <a:pt x="1599917" y="3412587"/>
                      <a:pt x="2035176" y="3163449"/>
                      <a:pt x="2379265" y="299059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74" name="Freeform: Shape 1073">
                <a:extLst>
                  <a:ext uri="{FF2B5EF4-FFF2-40B4-BE49-F238E27FC236}">
                    <a16:creationId xmlns:a16="http://schemas.microsoft.com/office/drawing/2014/main" id="{AA78D773-1867-3D52-5AD5-D83F39360F24}"/>
                  </a:ext>
                </a:extLst>
              </p:cNvPr>
              <p:cNvSpPr/>
              <p:nvPr/>
            </p:nvSpPr>
            <p:spPr>
              <a:xfrm>
                <a:off x="4390546" y="2609845"/>
                <a:ext cx="3375801" cy="3303429"/>
              </a:xfrm>
              <a:custGeom>
                <a:avLst/>
                <a:gdLst>
                  <a:gd name="connsiteX0" fmla="*/ 2374347 w 3375801"/>
                  <a:gd name="connsiteY0" fmla="*/ 2996529 h 3303429"/>
                  <a:gd name="connsiteX1" fmla="*/ 3287597 w 3375801"/>
                  <a:gd name="connsiteY1" fmla="*/ 2114518 h 3303429"/>
                  <a:gd name="connsiteX2" fmla="*/ 3251191 w 3375801"/>
                  <a:gd name="connsiteY2" fmla="*/ 876541 h 3303429"/>
                  <a:gd name="connsiteX3" fmla="*/ 2242836 w 3375801"/>
                  <a:gd name="connsiteY3" fmla="*/ 244285 h 3303429"/>
                  <a:gd name="connsiteX4" fmla="*/ 1031700 w 3375801"/>
                  <a:gd name="connsiteY4" fmla="*/ 62946 h 3303429"/>
                  <a:gd name="connsiteX5" fmla="*/ 15710 w 3375801"/>
                  <a:gd name="connsiteY5" fmla="*/ 1157689 h 3303429"/>
                  <a:gd name="connsiteX6" fmla="*/ 459993 w 3375801"/>
                  <a:gd name="connsiteY6" fmla="*/ 2440249 h 3303429"/>
                  <a:gd name="connsiteX7" fmla="*/ 1226074 w 3375801"/>
                  <a:gd name="connsiteY7" fmla="*/ 3278449 h 3303429"/>
                  <a:gd name="connsiteX8" fmla="*/ 2374347 w 3375801"/>
                  <a:gd name="connsiteY8" fmla="*/ 2996529 h 330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5801" h="3303429">
                    <a:moveTo>
                      <a:pt x="2374347" y="2996529"/>
                    </a:moveTo>
                    <a:cubicBezTo>
                      <a:pt x="2768881" y="2789891"/>
                      <a:pt x="3177760" y="2529029"/>
                      <a:pt x="3287597" y="2114518"/>
                    </a:cubicBezTo>
                    <a:cubicBezTo>
                      <a:pt x="3386712" y="1739423"/>
                      <a:pt x="3435692" y="1227571"/>
                      <a:pt x="3251191" y="876541"/>
                    </a:cubicBezTo>
                    <a:cubicBezTo>
                      <a:pt x="3043087" y="480619"/>
                      <a:pt x="2659584" y="352193"/>
                      <a:pt x="2242836" y="244285"/>
                    </a:cubicBezTo>
                    <a:cubicBezTo>
                      <a:pt x="1869052" y="147483"/>
                      <a:pt x="1380494" y="-121092"/>
                      <a:pt x="1031700" y="62946"/>
                    </a:cubicBezTo>
                    <a:cubicBezTo>
                      <a:pt x="634776" y="272438"/>
                      <a:pt x="121999" y="739090"/>
                      <a:pt x="15710" y="1157689"/>
                    </a:cubicBezTo>
                    <a:cubicBezTo>
                      <a:pt x="-78932" y="1529236"/>
                      <a:pt x="277421" y="2093847"/>
                      <a:pt x="459993" y="2440249"/>
                    </a:cubicBezTo>
                    <a:cubicBezTo>
                      <a:pt x="668869" y="2836556"/>
                      <a:pt x="808402" y="3171312"/>
                      <a:pt x="1226074" y="3278449"/>
                    </a:cubicBezTo>
                    <a:cubicBezTo>
                      <a:pt x="1597005" y="3373785"/>
                      <a:pt x="2027559" y="3178176"/>
                      <a:pt x="2374347" y="29965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75" name="Freeform: Shape 1074">
                <a:extLst>
                  <a:ext uri="{FF2B5EF4-FFF2-40B4-BE49-F238E27FC236}">
                    <a16:creationId xmlns:a16="http://schemas.microsoft.com/office/drawing/2014/main" id="{C6131FC5-5047-B28B-8EC1-F619EF371BE8}"/>
                  </a:ext>
                </a:extLst>
              </p:cNvPr>
              <p:cNvSpPr/>
              <p:nvPr/>
            </p:nvSpPr>
            <p:spPr>
              <a:xfrm>
                <a:off x="4428860" y="2607348"/>
                <a:ext cx="3333638" cy="3269772"/>
              </a:xfrm>
              <a:custGeom>
                <a:avLst/>
                <a:gdLst>
                  <a:gd name="connsiteX0" fmla="*/ 2370512 w 3333638"/>
                  <a:gd name="connsiteY0" fmla="*/ 3003654 h 3269772"/>
                  <a:gd name="connsiteX1" fmla="*/ 3214806 w 3333638"/>
                  <a:gd name="connsiteY1" fmla="*/ 2112002 h 3269772"/>
                  <a:gd name="connsiteX2" fmla="*/ 3223522 w 3333638"/>
                  <a:gd name="connsiteY2" fmla="*/ 861297 h 3269772"/>
                  <a:gd name="connsiteX3" fmla="*/ 2185625 w 3333638"/>
                  <a:gd name="connsiteY3" fmla="*/ 290053 h 3269772"/>
                  <a:gd name="connsiteX4" fmla="*/ 937697 w 3333638"/>
                  <a:gd name="connsiteY4" fmla="*/ 60738 h 3269772"/>
                  <a:gd name="connsiteX5" fmla="*/ 19665 w 3333638"/>
                  <a:gd name="connsiteY5" fmla="*/ 1176924 h 3269772"/>
                  <a:gd name="connsiteX6" fmla="*/ 404865 w 3333638"/>
                  <a:gd name="connsiteY6" fmla="*/ 2511240 h 3269772"/>
                  <a:gd name="connsiteX7" fmla="*/ 1212212 w 3333638"/>
                  <a:gd name="connsiteY7" fmla="*/ 3237597 h 3269772"/>
                  <a:gd name="connsiteX8" fmla="*/ 2370512 w 3333638"/>
                  <a:gd name="connsiteY8" fmla="*/ 3003654 h 3269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638" h="3269772">
                    <a:moveTo>
                      <a:pt x="2370512" y="3003654"/>
                    </a:moveTo>
                    <a:cubicBezTo>
                      <a:pt x="2750699" y="2796245"/>
                      <a:pt x="3106897" y="2520419"/>
                      <a:pt x="3214806" y="2112002"/>
                    </a:cubicBezTo>
                    <a:cubicBezTo>
                      <a:pt x="3316775" y="1724873"/>
                      <a:pt x="3417279" y="1214719"/>
                      <a:pt x="3223522" y="861297"/>
                    </a:cubicBezTo>
                    <a:cubicBezTo>
                      <a:pt x="3014800" y="480494"/>
                      <a:pt x="2595585" y="396265"/>
                      <a:pt x="2185625" y="290053"/>
                    </a:cubicBezTo>
                    <a:cubicBezTo>
                      <a:pt x="1799191" y="189935"/>
                      <a:pt x="1289268" y="-133019"/>
                      <a:pt x="937697" y="60738"/>
                    </a:cubicBezTo>
                    <a:cubicBezTo>
                      <a:pt x="556508" y="270770"/>
                      <a:pt x="124334" y="765730"/>
                      <a:pt x="19665" y="1176924"/>
                    </a:cubicBezTo>
                    <a:cubicBezTo>
                      <a:pt x="-78448" y="1561121"/>
                      <a:pt x="212651" y="2161829"/>
                      <a:pt x="404865" y="2511240"/>
                    </a:cubicBezTo>
                    <a:cubicBezTo>
                      <a:pt x="614357" y="2892120"/>
                      <a:pt x="801635" y="3132157"/>
                      <a:pt x="1212212" y="3237597"/>
                    </a:cubicBezTo>
                    <a:cubicBezTo>
                      <a:pt x="1595175" y="3336095"/>
                      <a:pt x="2021102" y="3194326"/>
                      <a:pt x="2370512" y="30036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78" name="Freeform: Shape 1077">
                <a:extLst>
                  <a:ext uri="{FF2B5EF4-FFF2-40B4-BE49-F238E27FC236}">
                    <a16:creationId xmlns:a16="http://schemas.microsoft.com/office/drawing/2014/main" id="{4C975D8B-DA49-116D-8A84-DC4A2F7D2CD8}"/>
                  </a:ext>
                </a:extLst>
              </p:cNvPr>
              <p:cNvSpPr/>
              <p:nvPr/>
            </p:nvSpPr>
            <p:spPr>
              <a:xfrm>
                <a:off x="4465597" y="2604029"/>
                <a:ext cx="3297610" cy="3240257"/>
              </a:xfrm>
              <a:custGeom>
                <a:avLst/>
                <a:gdLst>
                  <a:gd name="connsiteX0" fmla="*/ 2368253 w 3297610"/>
                  <a:gd name="connsiteY0" fmla="*/ 3011601 h 3240257"/>
                  <a:gd name="connsiteX1" fmla="*/ 3143667 w 3297610"/>
                  <a:gd name="connsiteY1" fmla="*/ 2110307 h 3240257"/>
                  <a:gd name="connsiteX2" fmla="*/ 3197583 w 3297610"/>
                  <a:gd name="connsiteY2" fmla="*/ 846953 h 3240257"/>
                  <a:gd name="connsiteX3" fmla="*/ 2130145 w 3297610"/>
                  <a:gd name="connsiteY3" fmla="*/ 336721 h 3240257"/>
                  <a:gd name="connsiteX4" fmla="*/ 845347 w 3297610"/>
                  <a:gd name="connsiteY4" fmla="*/ 59352 h 3240257"/>
                  <a:gd name="connsiteX5" fmla="*/ 25197 w 3297610"/>
                  <a:gd name="connsiteY5" fmla="*/ 1196981 h 3240257"/>
                  <a:gd name="connsiteX6" fmla="*/ 351236 w 3297610"/>
                  <a:gd name="connsiteY6" fmla="*/ 2583130 h 3240257"/>
                  <a:gd name="connsiteX7" fmla="*/ 1199772 w 3297610"/>
                  <a:gd name="connsiteY7" fmla="*/ 3197645 h 3240257"/>
                  <a:gd name="connsiteX8" fmla="*/ 2368176 w 3297610"/>
                  <a:gd name="connsiteY8" fmla="*/ 3011756 h 3240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7610" h="3240257">
                    <a:moveTo>
                      <a:pt x="2368253" y="3011601"/>
                    </a:moveTo>
                    <a:cubicBezTo>
                      <a:pt x="2734325" y="2803729"/>
                      <a:pt x="3037610" y="2512708"/>
                      <a:pt x="3143667" y="2110307"/>
                    </a:cubicBezTo>
                    <a:cubicBezTo>
                      <a:pt x="3248491" y="1711146"/>
                      <a:pt x="3400750" y="1202611"/>
                      <a:pt x="3197583" y="846953"/>
                    </a:cubicBezTo>
                    <a:cubicBezTo>
                      <a:pt x="2988554" y="481113"/>
                      <a:pt x="2533317" y="441159"/>
                      <a:pt x="2130145" y="336721"/>
                    </a:cubicBezTo>
                    <a:cubicBezTo>
                      <a:pt x="1731138" y="233364"/>
                      <a:pt x="1199617" y="-144355"/>
                      <a:pt x="845347" y="59352"/>
                    </a:cubicBezTo>
                    <a:cubicBezTo>
                      <a:pt x="479739" y="269539"/>
                      <a:pt x="128246" y="793269"/>
                      <a:pt x="25197" y="1196981"/>
                    </a:cubicBezTo>
                    <a:cubicBezTo>
                      <a:pt x="-76464" y="1593828"/>
                      <a:pt x="149149" y="2230788"/>
                      <a:pt x="351236" y="2583130"/>
                    </a:cubicBezTo>
                    <a:cubicBezTo>
                      <a:pt x="560960" y="2948739"/>
                      <a:pt x="796368" y="3093902"/>
                      <a:pt x="1199772" y="3197645"/>
                    </a:cubicBezTo>
                    <a:cubicBezTo>
                      <a:pt x="1594768" y="3299383"/>
                      <a:pt x="2016143" y="3211683"/>
                      <a:pt x="2368176" y="301175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79" name="Freeform: Shape 1078">
                <a:extLst>
                  <a:ext uri="{FF2B5EF4-FFF2-40B4-BE49-F238E27FC236}">
                    <a16:creationId xmlns:a16="http://schemas.microsoft.com/office/drawing/2014/main" id="{783648AE-079C-B129-B427-2B18EBDA6339}"/>
                  </a:ext>
                </a:extLst>
              </p:cNvPr>
              <p:cNvSpPr/>
              <p:nvPr/>
            </p:nvSpPr>
            <p:spPr>
              <a:xfrm>
                <a:off x="4499869" y="2600116"/>
                <a:ext cx="3267148" cy="3216006"/>
              </a:xfrm>
              <a:custGeom>
                <a:avLst/>
                <a:gdLst>
                  <a:gd name="connsiteX0" fmla="*/ 2368459 w 3267148"/>
                  <a:gd name="connsiteY0" fmla="*/ 3020220 h 3216006"/>
                  <a:gd name="connsiteX1" fmla="*/ 3074994 w 3267148"/>
                  <a:gd name="connsiteY1" fmla="*/ 2109207 h 3216006"/>
                  <a:gd name="connsiteX2" fmla="*/ 3174032 w 3267148"/>
                  <a:gd name="connsiteY2" fmla="*/ 833203 h 3216006"/>
                  <a:gd name="connsiteX3" fmla="*/ 2077052 w 3267148"/>
                  <a:gd name="connsiteY3" fmla="*/ 384060 h 3216006"/>
                  <a:gd name="connsiteX4" fmla="*/ 755385 w 3267148"/>
                  <a:gd name="connsiteY4" fmla="*/ 58637 h 3216006"/>
                  <a:gd name="connsiteX5" fmla="*/ 33193 w 3267148"/>
                  <a:gd name="connsiteY5" fmla="*/ 1217631 h 3216006"/>
                  <a:gd name="connsiteX6" fmla="*/ 300072 w 3267148"/>
                  <a:gd name="connsiteY6" fmla="*/ 2655537 h 3216006"/>
                  <a:gd name="connsiteX7" fmla="*/ 1189873 w 3267148"/>
                  <a:gd name="connsiteY7" fmla="*/ 3158209 h 3216006"/>
                  <a:gd name="connsiteX8" fmla="*/ 2368305 w 3267148"/>
                  <a:gd name="connsiteY8" fmla="*/ 3020297 h 3216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7148" h="3216006">
                    <a:moveTo>
                      <a:pt x="2368459" y="3020220"/>
                    </a:moveTo>
                    <a:cubicBezTo>
                      <a:pt x="2720493" y="2812193"/>
                      <a:pt x="2970787" y="2505668"/>
                      <a:pt x="3074994" y="2109207"/>
                    </a:cubicBezTo>
                    <a:cubicBezTo>
                      <a:pt x="3182748" y="1698013"/>
                      <a:pt x="3386995" y="1190866"/>
                      <a:pt x="3174032" y="833203"/>
                    </a:cubicBezTo>
                    <a:cubicBezTo>
                      <a:pt x="2965002" y="482095"/>
                      <a:pt x="2473360" y="486646"/>
                      <a:pt x="2077052" y="384060"/>
                    </a:cubicBezTo>
                    <a:cubicBezTo>
                      <a:pt x="1665473" y="277462"/>
                      <a:pt x="1112201" y="-155406"/>
                      <a:pt x="755385" y="58637"/>
                    </a:cubicBezTo>
                    <a:cubicBezTo>
                      <a:pt x="405203" y="268669"/>
                      <a:pt x="134545" y="821401"/>
                      <a:pt x="33193" y="1217631"/>
                    </a:cubicBezTo>
                    <a:cubicBezTo>
                      <a:pt x="-71939" y="1627205"/>
                      <a:pt x="87803" y="2300495"/>
                      <a:pt x="300072" y="2655537"/>
                    </a:cubicBezTo>
                    <a:cubicBezTo>
                      <a:pt x="509718" y="3006104"/>
                      <a:pt x="793566" y="3056163"/>
                      <a:pt x="1189873" y="3158209"/>
                    </a:cubicBezTo>
                    <a:cubicBezTo>
                      <a:pt x="1596979" y="3263187"/>
                      <a:pt x="2013881" y="3229711"/>
                      <a:pt x="2368305" y="302029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0" name="Freeform: Shape 1079">
                <a:extLst>
                  <a:ext uri="{FF2B5EF4-FFF2-40B4-BE49-F238E27FC236}">
                    <a16:creationId xmlns:a16="http://schemas.microsoft.com/office/drawing/2014/main" id="{0A789EC7-CE9B-2E77-2998-CB76578CC3D9}"/>
                  </a:ext>
                </a:extLst>
              </p:cNvPr>
              <p:cNvSpPr/>
              <p:nvPr/>
            </p:nvSpPr>
            <p:spPr>
              <a:xfrm>
                <a:off x="4530202" y="2595585"/>
                <a:ext cx="3242767" cy="3198539"/>
              </a:xfrm>
              <a:custGeom>
                <a:avLst/>
                <a:gdLst>
                  <a:gd name="connsiteX0" fmla="*/ 2372604 w 3242767"/>
                  <a:gd name="connsiteY0" fmla="*/ 3029379 h 3198539"/>
                  <a:gd name="connsiteX1" fmla="*/ 3010259 w 3242767"/>
                  <a:gd name="connsiteY1" fmla="*/ 2108724 h 3198539"/>
                  <a:gd name="connsiteX2" fmla="*/ 3154497 w 3242767"/>
                  <a:gd name="connsiteY2" fmla="*/ 819993 h 3198539"/>
                  <a:gd name="connsiteX3" fmla="*/ 2027976 w 3242767"/>
                  <a:gd name="connsiteY3" fmla="*/ 431862 h 3198539"/>
                  <a:gd name="connsiteX4" fmla="*/ 669516 w 3242767"/>
                  <a:gd name="connsiteY4" fmla="*/ 58386 h 3198539"/>
                  <a:gd name="connsiteX5" fmla="*/ 45282 w 3242767"/>
                  <a:gd name="connsiteY5" fmla="*/ 1238823 h 3198539"/>
                  <a:gd name="connsiteX6" fmla="*/ 253078 w 3242767"/>
                  <a:gd name="connsiteY6" fmla="*/ 2728484 h 3198539"/>
                  <a:gd name="connsiteX7" fmla="*/ 1184145 w 3242767"/>
                  <a:gd name="connsiteY7" fmla="*/ 3119315 h 3198539"/>
                  <a:gd name="connsiteX8" fmla="*/ 2372681 w 3242767"/>
                  <a:gd name="connsiteY8" fmla="*/ 3029379 h 319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42767" h="3198539">
                    <a:moveTo>
                      <a:pt x="2372604" y="3029379"/>
                    </a:moveTo>
                    <a:cubicBezTo>
                      <a:pt x="2710831" y="2821429"/>
                      <a:pt x="2907904" y="2499092"/>
                      <a:pt x="3010259" y="2108724"/>
                    </a:cubicBezTo>
                    <a:cubicBezTo>
                      <a:pt x="3120867" y="1685498"/>
                      <a:pt x="3377488" y="1179585"/>
                      <a:pt x="3154497" y="819993"/>
                    </a:cubicBezTo>
                    <a:cubicBezTo>
                      <a:pt x="2945776" y="483464"/>
                      <a:pt x="2417495" y="532752"/>
                      <a:pt x="2027976" y="431862"/>
                    </a:cubicBezTo>
                    <a:cubicBezTo>
                      <a:pt x="1603746" y="321948"/>
                      <a:pt x="1028569" y="-166224"/>
                      <a:pt x="669516" y="58386"/>
                    </a:cubicBezTo>
                    <a:cubicBezTo>
                      <a:pt x="334530" y="267878"/>
                      <a:pt x="144938" y="850075"/>
                      <a:pt x="45282" y="1238823"/>
                    </a:cubicBezTo>
                    <a:cubicBezTo>
                      <a:pt x="-63320" y="1661047"/>
                      <a:pt x="30241" y="2370898"/>
                      <a:pt x="253078" y="2728484"/>
                    </a:cubicBezTo>
                    <a:cubicBezTo>
                      <a:pt x="462261" y="3064165"/>
                      <a:pt x="795011" y="3018966"/>
                      <a:pt x="1184145" y="3119315"/>
                    </a:cubicBezTo>
                    <a:cubicBezTo>
                      <a:pt x="1603283" y="3227532"/>
                      <a:pt x="2015943" y="3248666"/>
                      <a:pt x="2372681" y="302937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1" name="Freeform: Shape 1080">
                <a:extLst>
                  <a:ext uri="{FF2B5EF4-FFF2-40B4-BE49-F238E27FC236}">
                    <a16:creationId xmlns:a16="http://schemas.microsoft.com/office/drawing/2014/main" id="{BC84A8E5-0AEE-B201-3DF2-8FB599FAFE8C}"/>
                  </a:ext>
                </a:extLst>
              </p:cNvPr>
              <p:cNvSpPr/>
              <p:nvPr/>
            </p:nvSpPr>
            <p:spPr>
              <a:xfrm>
                <a:off x="4553971" y="2590726"/>
                <a:ext cx="3226504" cy="3187950"/>
              </a:xfrm>
              <a:custGeom>
                <a:avLst/>
                <a:gdLst>
                  <a:gd name="connsiteX0" fmla="*/ 2383391 w 3226504"/>
                  <a:gd name="connsiteY0" fmla="*/ 3038865 h 3187950"/>
                  <a:gd name="connsiteX1" fmla="*/ 2952166 w 3226504"/>
                  <a:gd name="connsiteY1" fmla="*/ 2108570 h 3187950"/>
                  <a:gd name="connsiteX2" fmla="*/ 3141527 w 3226504"/>
                  <a:gd name="connsiteY2" fmla="*/ 807189 h 3187950"/>
                  <a:gd name="connsiteX3" fmla="*/ 1985463 w 3226504"/>
                  <a:gd name="connsiteY3" fmla="*/ 480070 h 3187950"/>
                  <a:gd name="connsiteX4" fmla="*/ 590135 w 3226504"/>
                  <a:gd name="connsiteY4" fmla="*/ 58540 h 3187950"/>
                  <a:gd name="connsiteX5" fmla="*/ 63859 w 3226504"/>
                  <a:gd name="connsiteY5" fmla="*/ 1260420 h 3187950"/>
                  <a:gd name="connsiteX6" fmla="*/ 212494 w 3226504"/>
                  <a:gd name="connsiteY6" fmla="*/ 2801914 h 3187950"/>
                  <a:gd name="connsiteX7" fmla="*/ 1184827 w 3226504"/>
                  <a:gd name="connsiteY7" fmla="*/ 3080825 h 3187950"/>
                  <a:gd name="connsiteX8" fmla="*/ 2383391 w 3226504"/>
                  <a:gd name="connsiteY8" fmla="*/ 3038865 h 3187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6504" h="3187950">
                    <a:moveTo>
                      <a:pt x="2383391" y="3038865"/>
                    </a:moveTo>
                    <a:cubicBezTo>
                      <a:pt x="2707964" y="2831302"/>
                      <a:pt x="2851740" y="2492921"/>
                      <a:pt x="2952166" y="2108570"/>
                    </a:cubicBezTo>
                    <a:cubicBezTo>
                      <a:pt x="3065629" y="1673310"/>
                      <a:pt x="3374930" y="1168401"/>
                      <a:pt x="3141527" y="807189"/>
                    </a:cubicBezTo>
                    <a:cubicBezTo>
                      <a:pt x="2933423" y="485083"/>
                      <a:pt x="2368118" y="579185"/>
                      <a:pt x="1985463" y="480070"/>
                    </a:cubicBezTo>
                    <a:cubicBezTo>
                      <a:pt x="1548662" y="366916"/>
                      <a:pt x="951347" y="-177023"/>
                      <a:pt x="590135" y="58540"/>
                    </a:cubicBezTo>
                    <a:cubicBezTo>
                      <a:pt x="270112" y="267261"/>
                      <a:pt x="161818" y="879077"/>
                      <a:pt x="63859" y="1260420"/>
                    </a:cubicBezTo>
                    <a:cubicBezTo>
                      <a:pt x="-48214" y="1695293"/>
                      <a:pt x="-21218" y="2442014"/>
                      <a:pt x="212494" y="2801914"/>
                    </a:cubicBezTo>
                    <a:cubicBezTo>
                      <a:pt x="420983" y="3122940"/>
                      <a:pt x="802790" y="2982250"/>
                      <a:pt x="1184827" y="3080825"/>
                    </a:cubicBezTo>
                    <a:cubicBezTo>
                      <a:pt x="1615998" y="3192205"/>
                      <a:pt x="2024647" y="3268258"/>
                      <a:pt x="2383391" y="303886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2" name="Freeform: Shape 1081">
                <a:extLst>
                  <a:ext uri="{FF2B5EF4-FFF2-40B4-BE49-F238E27FC236}">
                    <a16:creationId xmlns:a16="http://schemas.microsoft.com/office/drawing/2014/main" id="{6DCDC111-A52E-60FE-1D6D-D469E5566821}"/>
                  </a:ext>
                </a:extLst>
              </p:cNvPr>
              <p:cNvSpPr/>
              <p:nvPr/>
            </p:nvSpPr>
            <p:spPr>
              <a:xfrm>
                <a:off x="4568996" y="2585529"/>
                <a:ext cx="3220062" cy="3183237"/>
              </a:xfrm>
              <a:custGeom>
                <a:avLst/>
                <a:gdLst>
                  <a:gd name="connsiteX0" fmla="*/ 2402845 w 3220062"/>
                  <a:gd name="connsiteY0" fmla="*/ 3048690 h 3183237"/>
                  <a:gd name="connsiteX1" fmla="*/ 2902741 w 3220062"/>
                  <a:gd name="connsiteY1" fmla="*/ 2108752 h 3183237"/>
                  <a:gd name="connsiteX2" fmla="*/ 3137301 w 3220062"/>
                  <a:gd name="connsiteY2" fmla="*/ 794722 h 3183237"/>
                  <a:gd name="connsiteX3" fmla="*/ 1951696 w 3220062"/>
                  <a:gd name="connsiteY3" fmla="*/ 528615 h 3183237"/>
                  <a:gd name="connsiteX4" fmla="*/ 519498 w 3220062"/>
                  <a:gd name="connsiteY4" fmla="*/ 59031 h 3183237"/>
                  <a:gd name="connsiteX5" fmla="*/ 91104 w 3220062"/>
                  <a:gd name="connsiteY5" fmla="*/ 1282277 h 3183237"/>
                  <a:gd name="connsiteX6" fmla="*/ 180577 w 3220062"/>
                  <a:gd name="connsiteY6" fmla="*/ 2875527 h 3183237"/>
                  <a:gd name="connsiteX7" fmla="*/ 1194100 w 3220062"/>
                  <a:gd name="connsiteY7" fmla="*/ 3042597 h 3183237"/>
                  <a:gd name="connsiteX8" fmla="*/ 2402690 w 3220062"/>
                  <a:gd name="connsiteY8" fmla="*/ 3048690 h 3183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0062" h="3183237">
                    <a:moveTo>
                      <a:pt x="2402845" y="3048690"/>
                    </a:moveTo>
                    <a:cubicBezTo>
                      <a:pt x="2713920" y="2841743"/>
                      <a:pt x="2804166" y="2487088"/>
                      <a:pt x="2902741" y="2108752"/>
                    </a:cubicBezTo>
                    <a:cubicBezTo>
                      <a:pt x="3019057" y="1661538"/>
                      <a:pt x="3381426" y="1157322"/>
                      <a:pt x="3137301" y="794722"/>
                    </a:cubicBezTo>
                    <a:cubicBezTo>
                      <a:pt x="2930046" y="486809"/>
                      <a:pt x="2327563" y="626033"/>
                      <a:pt x="1951696" y="528615"/>
                    </a:cubicBezTo>
                    <a:cubicBezTo>
                      <a:pt x="1502322" y="412221"/>
                      <a:pt x="882484" y="-187870"/>
                      <a:pt x="519498" y="59031"/>
                    </a:cubicBezTo>
                    <a:cubicBezTo>
                      <a:pt x="214284" y="266672"/>
                      <a:pt x="187442" y="908415"/>
                      <a:pt x="91104" y="1282277"/>
                    </a:cubicBezTo>
                    <a:cubicBezTo>
                      <a:pt x="-24441" y="1729877"/>
                      <a:pt x="-64396" y="2513621"/>
                      <a:pt x="180577" y="2875527"/>
                    </a:cubicBezTo>
                    <a:cubicBezTo>
                      <a:pt x="388064" y="3182052"/>
                      <a:pt x="819235" y="2945718"/>
                      <a:pt x="1194100" y="3042597"/>
                    </a:cubicBezTo>
                    <a:cubicBezTo>
                      <a:pt x="1637304" y="3157215"/>
                      <a:pt x="2042173" y="3288495"/>
                      <a:pt x="2402690" y="304869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3" name="Freeform: Shape 1082">
                <a:extLst>
                  <a:ext uri="{FF2B5EF4-FFF2-40B4-BE49-F238E27FC236}">
                    <a16:creationId xmlns:a16="http://schemas.microsoft.com/office/drawing/2014/main" id="{AB32A8C6-5488-A0E2-460D-2C2CC372B5F9}"/>
                  </a:ext>
                </a:extLst>
              </p:cNvPr>
              <p:cNvSpPr/>
              <p:nvPr/>
            </p:nvSpPr>
            <p:spPr>
              <a:xfrm>
                <a:off x="4575239" y="2579941"/>
                <a:ext cx="3223194" cy="3183120"/>
              </a:xfrm>
              <a:custGeom>
                <a:avLst/>
                <a:gdLst>
                  <a:gd name="connsiteX0" fmla="*/ 2431079 w 3223194"/>
                  <a:gd name="connsiteY0" fmla="*/ 3058906 h 3183120"/>
                  <a:gd name="connsiteX1" fmla="*/ 2862096 w 3223194"/>
                  <a:gd name="connsiteY1" fmla="*/ 2109327 h 3183120"/>
                  <a:gd name="connsiteX2" fmla="*/ 3141779 w 3223194"/>
                  <a:gd name="connsiteY2" fmla="*/ 782570 h 3183120"/>
                  <a:gd name="connsiteX3" fmla="*/ 1926632 w 3223194"/>
                  <a:gd name="connsiteY3" fmla="*/ 577475 h 3183120"/>
                  <a:gd name="connsiteX4" fmla="*/ 457565 w 3223194"/>
                  <a:gd name="connsiteY4" fmla="*/ 59838 h 3183120"/>
                  <a:gd name="connsiteX5" fmla="*/ 127129 w 3223194"/>
                  <a:gd name="connsiteY5" fmla="*/ 1304526 h 3183120"/>
                  <a:gd name="connsiteX6" fmla="*/ 157519 w 3223194"/>
                  <a:gd name="connsiteY6" fmla="*/ 2949610 h 3183120"/>
                  <a:gd name="connsiteX7" fmla="*/ 1212307 w 3223194"/>
                  <a:gd name="connsiteY7" fmla="*/ 3004836 h 3183120"/>
                  <a:gd name="connsiteX8" fmla="*/ 2431002 w 3223194"/>
                  <a:gd name="connsiteY8" fmla="*/ 3058906 h 318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3194" h="3183120">
                    <a:moveTo>
                      <a:pt x="2431079" y="3058906"/>
                    </a:moveTo>
                    <a:cubicBezTo>
                      <a:pt x="2728888" y="2852731"/>
                      <a:pt x="2765372" y="2481646"/>
                      <a:pt x="2862096" y="2109327"/>
                    </a:cubicBezTo>
                    <a:cubicBezTo>
                      <a:pt x="2981343" y="1650080"/>
                      <a:pt x="3397011" y="1146327"/>
                      <a:pt x="3141779" y="782570"/>
                    </a:cubicBezTo>
                    <a:cubicBezTo>
                      <a:pt x="2935526" y="488695"/>
                      <a:pt x="2295712" y="673119"/>
                      <a:pt x="1926632" y="577475"/>
                    </a:cubicBezTo>
                    <a:cubicBezTo>
                      <a:pt x="1464608" y="457765"/>
                      <a:pt x="822016" y="-198865"/>
                      <a:pt x="457565" y="59838"/>
                    </a:cubicBezTo>
                    <a:cubicBezTo>
                      <a:pt x="166852" y="266168"/>
                      <a:pt x="221848" y="938146"/>
                      <a:pt x="127129" y="1304526"/>
                    </a:cubicBezTo>
                    <a:cubicBezTo>
                      <a:pt x="8113" y="1764776"/>
                      <a:pt x="-99178" y="2585930"/>
                      <a:pt x="157519" y="2949610"/>
                    </a:cubicBezTo>
                    <a:cubicBezTo>
                      <a:pt x="363849" y="3241942"/>
                      <a:pt x="844539" y="2909655"/>
                      <a:pt x="1212307" y="3004836"/>
                    </a:cubicBezTo>
                    <a:cubicBezTo>
                      <a:pt x="1667544" y="3122695"/>
                      <a:pt x="2068942" y="3309510"/>
                      <a:pt x="2431002" y="305890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84" name="Freeform: Shape 1083">
                <a:extLst>
                  <a:ext uri="{FF2B5EF4-FFF2-40B4-BE49-F238E27FC236}">
                    <a16:creationId xmlns:a16="http://schemas.microsoft.com/office/drawing/2014/main" id="{24A865E4-5CFF-640D-0338-97275FFC8655}"/>
                  </a:ext>
                </a:extLst>
              </p:cNvPr>
              <p:cNvSpPr/>
              <p:nvPr/>
            </p:nvSpPr>
            <p:spPr>
              <a:xfrm>
                <a:off x="4574616" y="2574268"/>
                <a:ext cx="3233910" cy="3186151"/>
              </a:xfrm>
              <a:custGeom>
                <a:avLst/>
                <a:gdLst>
                  <a:gd name="connsiteX0" fmla="*/ 2828318 w 3233910"/>
                  <a:gd name="connsiteY0" fmla="*/ 2109987 h 3186151"/>
                  <a:gd name="connsiteX1" fmla="*/ 3153201 w 3233910"/>
                  <a:gd name="connsiteY1" fmla="*/ 770580 h 3186151"/>
                  <a:gd name="connsiteX2" fmla="*/ 1908512 w 3233910"/>
                  <a:gd name="connsiteY2" fmla="*/ 626573 h 3186151"/>
                  <a:gd name="connsiteX3" fmla="*/ 402652 w 3233910"/>
                  <a:gd name="connsiteY3" fmla="*/ 60883 h 3186151"/>
                  <a:gd name="connsiteX4" fmla="*/ 170175 w 3233910"/>
                  <a:gd name="connsiteY4" fmla="*/ 1327014 h 3186151"/>
                  <a:gd name="connsiteX5" fmla="*/ 141404 w 3233910"/>
                  <a:gd name="connsiteY5" fmla="*/ 3023854 h 3186151"/>
                  <a:gd name="connsiteX6" fmla="*/ 1237458 w 3233910"/>
                  <a:gd name="connsiteY6" fmla="*/ 2967238 h 3186151"/>
                  <a:gd name="connsiteX7" fmla="*/ 2466180 w 3233910"/>
                  <a:gd name="connsiteY7" fmla="*/ 3069285 h 3186151"/>
                  <a:gd name="connsiteX8" fmla="*/ 2828318 w 3233910"/>
                  <a:gd name="connsiteY8" fmla="*/ 2110064 h 3186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3910" h="3186151">
                    <a:moveTo>
                      <a:pt x="2828318" y="2109987"/>
                    </a:moveTo>
                    <a:cubicBezTo>
                      <a:pt x="2950419" y="1638707"/>
                      <a:pt x="3419925" y="1135031"/>
                      <a:pt x="3153201" y="770580"/>
                    </a:cubicBezTo>
                    <a:cubicBezTo>
                      <a:pt x="2948182" y="490434"/>
                      <a:pt x="2270727" y="720366"/>
                      <a:pt x="1908512" y="626573"/>
                    </a:cubicBezTo>
                    <a:cubicBezTo>
                      <a:pt x="1433915" y="503624"/>
                      <a:pt x="768029" y="-210007"/>
                      <a:pt x="402652" y="60883"/>
                    </a:cubicBezTo>
                    <a:cubicBezTo>
                      <a:pt x="126286" y="265747"/>
                      <a:pt x="263197" y="968039"/>
                      <a:pt x="170175" y="1327014"/>
                    </a:cubicBezTo>
                    <a:cubicBezTo>
                      <a:pt x="47611" y="1799914"/>
                      <a:pt x="-127326" y="2658939"/>
                      <a:pt x="141404" y="3023854"/>
                    </a:cubicBezTo>
                    <a:cubicBezTo>
                      <a:pt x="346345" y="3302147"/>
                      <a:pt x="876786" y="2873831"/>
                      <a:pt x="1237458" y="2967238"/>
                    </a:cubicBezTo>
                    <a:cubicBezTo>
                      <a:pt x="1704727" y="3088336"/>
                      <a:pt x="2102963" y="3331072"/>
                      <a:pt x="2466180" y="3069285"/>
                    </a:cubicBezTo>
                    <a:cubicBezTo>
                      <a:pt x="2750877" y="2864112"/>
                      <a:pt x="2733445" y="2476289"/>
                      <a:pt x="2828318" y="21100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75000">
                      <a:srgbClr val="0078D4">
                        <a:alpha val="0"/>
                      </a:srgbClr>
                    </a:gs>
                    <a:gs pos="2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2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1031" name="Graphic 5">
              <a:extLst>
                <a:ext uri="{FF2B5EF4-FFF2-40B4-BE49-F238E27FC236}">
                  <a16:creationId xmlns:a16="http://schemas.microsoft.com/office/drawing/2014/main" id="{40072C21-5C29-3C90-3B72-03CB0B25C757}"/>
                </a:ext>
              </a:extLst>
            </p:cNvPr>
            <p:cNvGrpSpPr/>
            <p:nvPr/>
          </p:nvGrpSpPr>
          <p:grpSpPr>
            <a:xfrm rot="20743245">
              <a:off x="-1641318" y="712755"/>
              <a:ext cx="8683276" cy="5650143"/>
              <a:chOff x="3224705" y="2448010"/>
              <a:chExt cx="5745675" cy="3738674"/>
            </a:xfrm>
            <a:noFill/>
          </p:grpSpPr>
          <p:sp>
            <p:nvSpPr>
              <p:cNvPr id="1051" name="Freeform: Shape 1050">
                <a:extLst>
                  <a:ext uri="{FF2B5EF4-FFF2-40B4-BE49-F238E27FC236}">
                    <a16:creationId xmlns:a16="http://schemas.microsoft.com/office/drawing/2014/main" id="{05C679A4-6645-E351-4342-260D92F6A618}"/>
                  </a:ext>
                </a:extLst>
              </p:cNvPr>
              <p:cNvSpPr/>
              <p:nvPr/>
            </p:nvSpPr>
            <p:spPr>
              <a:xfrm>
                <a:off x="3224705" y="2973429"/>
                <a:ext cx="4086746" cy="2988613"/>
              </a:xfrm>
              <a:custGeom>
                <a:avLst/>
                <a:gdLst>
                  <a:gd name="connsiteX0" fmla="*/ 3021857 w 4086746"/>
                  <a:gd name="connsiteY0" fmla="*/ 21082 h 2988613"/>
                  <a:gd name="connsiteX1" fmla="*/ 1949714 w 4086746"/>
                  <a:gd name="connsiteY1" fmla="*/ 140561 h 2988613"/>
                  <a:gd name="connsiteX2" fmla="*/ 17620 w 4086746"/>
                  <a:gd name="connsiteY2" fmla="*/ 326759 h 2988613"/>
                  <a:gd name="connsiteX3" fmla="*/ 1162808 w 4086746"/>
                  <a:gd name="connsiteY3" fmla="*/ 2051134 h 2988613"/>
                  <a:gd name="connsiteX4" fmla="*/ 2164991 w 4086746"/>
                  <a:gd name="connsiteY4" fmla="*/ 2546943 h 2988613"/>
                  <a:gd name="connsiteX5" fmla="*/ 3449172 w 4086746"/>
                  <a:gd name="connsiteY5" fmla="*/ 2922733 h 2988613"/>
                  <a:gd name="connsiteX6" fmla="*/ 3803596 w 4086746"/>
                  <a:gd name="connsiteY6" fmla="*/ 1748620 h 2988613"/>
                  <a:gd name="connsiteX7" fmla="*/ 3997970 w 4086746"/>
                  <a:gd name="connsiteY7" fmla="*/ 855117 h 2988613"/>
                  <a:gd name="connsiteX8" fmla="*/ 3021857 w 4086746"/>
                  <a:gd name="connsiteY8" fmla="*/ 21160 h 2988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6746" h="2988613">
                    <a:moveTo>
                      <a:pt x="3021857" y="21082"/>
                    </a:moveTo>
                    <a:cubicBezTo>
                      <a:pt x="2524275" y="34658"/>
                      <a:pt x="2338926" y="-88523"/>
                      <a:pt x="1949714" y="140561"/>
                    </a:cubicBezTo>
                    <a:cubicBezTo>
                      <a:pt x="1650594" y="316654"/>
                      <a:pt x="147126" y="-24349"/>
                      <a:pt x="17620" y="326759"/>
                    </a:cubicBezTo>
                    <a:cubicBezTo>
                      <a:pt x="-151995" y="786777"/>
                      <a:pt x="953624" y="1647191"/>
                      <a:pt x="1162808" y="2051134"/>
                    </a:cubicBezTo>
                    <a:cubicBezTo>
                      <a:pt x="1489850" y="2682542"/>
                      <a:pt x="1817123" y="2418671"/>
                      <a:pt x="2164991" y="2546943"/>
                    </a:cubicBezTo>
                    <a:cubicBezTo>
                      <a:pt x="2623313" y="2715940"/>
                      <a:pt x="3059267" y="3153822"/>
                      <a:pt x="3449172" y="2922733"/>
                    </a:cubicBezTo>
                    <a:cubicBezTo>
                      <a:pt x="3746441" y="2746562"/>
                      <a:pt x="3674708" y="2098108"/>
                      <a:pt x="3803596" y="1748620"/>
                    </a:cubicBezTo>
                    <a:cubicBezTo>
                      <a:pt x="3970588" y="1295698"/>
                      <a:pt x="4222272" y="1242631"/>
                      <a:pt x="3997970" y="855117"/>
                    </a:cubicBezTo>
                    <a:cubicBezTo>
                      <a:pt x="3822185" y="551446"/>
                      <a:pt x="3400038" y="10824"/>
                      <a:pt x="3021857" y="211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53" name="Freeform: Shape 1052">
                <a:extLst>
                  <a:ext uri="{FF2B5EF4-FFF2-40B4-BE49-F238E27FC236}">
                    <a16:creationId xmlns:a16="http://schemas.microsoft.com/office/drawing/2014/main" id="{23E537D2-F5A1-C988-4350-0C0C3841214D}"/>
                  </a:ext>
                </a:extLst>
              </p:cNvPr>
              <p:cNvSpPr/>
              <p:nvPr/>
            </p:nvSpPr>
            <p:spPr>
              <a:xfrm>
                <a:off x="3285345" y="2945042"/>
                <a:ext cx="4163768" cy="2979360"/>
              </a:xfrm>
              <a:custGeom>
                <a:avLst/>
                <a:gdLst>
                  <a:gd name="connsiteX0" fmla="*/ 3793170 w 4163768"/>
                  <a:gd name="connsiteY0" fmla="*/ 1782639 h 2979360"/>
                  <a:gd name="connsiteX1" fmla="*/ 4094681 w 4163768"/>
                  <a:gd name="connsiteY1" fmla="*/ 868155 h 2979360"/>
                  <a:gd name="connsiteX2" fmla="*/ 2987366 w 4163768"/>
                  <a:gd name="connsiteY2" fmla="*/ 28 h 2979360"/>
                  <a:gd name="connsiteX3" fmla="*/ 1885912 w 4163768"/>
                  <a:gd name="connsiteY3" fmla="*/ 197641 h 2979360"/>
                  <a:gd name="connsiteX4" fmla="*/ 15678 w 4163768"/>
                  <a:gd name="connsiteY4" fmla="*/ 437446 h 2979360"/>
                  <a:gd name="connsiteX5" fmla="*/ 1132404 w 4163768"/>
                  <a:gd name="connsiteY5" fmla="*/ 2066409 h 2979360"/>
                  <a:gd name="connsiteX6" fmla="*/ 2140990 w 4163768"/>
                  <a:gd name="connsiteY6" fmla="*/ 2635648 h 2979360"/>
                  <a:gd name="connsiteX7" fmla="*/ 3375266 w 4163768"/>
                  <a:gd name="connsiteY7" fmla="*/ 2903143 h 2979360"/>
                  <a:gd name="connsiteX8" fmla="*/ 3793247 w 4163768"/>
                  <a:gd name="connsiteY8" fmla="*/ 1782639 h 2979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63768" h="2979360">
                    <a:moveTo>
                      <a:pt x="3793170" y="1782639"/>
                    </a:moveTo>
                    <a:cubicBezTo>
                      <a:pt x="3948438" y="1338818"/>
                      <a:pt x="4315975" y="1250115"/>
                      <a:pt x="4094681" y="868155"/>
                    </a:cubicBezTo>
                    <a:cubicBezTo>
                      <a:pt x="3912417" y="553917"/>
                      <a:pt x="3371717" y="-4523"/>
                      <a:pt x="2987366" y="28"/>
                    </a:cubicBezTo>
                    <a:cubicBezTo>
                      <a:pt x="2503822" y="5735"/>
                      <a:pt x="2269030" y="-27894"/>
                      <a:pt x="1885912" y="197641"/>
                    </a:cubicBezTo>
                    <a:cubicBezTo>
                      <a:pt x="1575531" y="380291"/>
                      <a:pt x="141019" y="77932"/>
                      <a:pt x="15678" y="437446"/>
                    </a:cubicBezTo>
                    <a:cubicBezTo>
                      <a:pt x="-141132" y="887207"/>
                      <a:pt x="925072" y="1670179"/>
                      <a:pt x="1132404" y="2066409"/>
                    </a:cubicBezTo>
                    <a:cubicBezTo>
                      <a:pt x="1452196" y="2678688"/>
                      <a:pt x="1784560" y="2511310"/>
                      <a:pt x="2140990" y="2635648"/>
                    </a:cubicBezTo>
                    <a:cubicBezTo>
                      <a:pt x="2589439" y="2792072"/>
                      <a:pt x="2991608" y="3130376"/>
                      <a:pt x="3375266" y="2903143"/>
                    </a:cubicBezTo>
                    <a:cubicBezTo>
                      <a:pt x="3683333" y="2720725"/>
                      <a:pt x="3668215" y="2140071"/>
                      <a:pt x="3793247" y="178263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56" name="Freeform: Shape 1055">
                <a:extLst>
                  <a:ext uri="{FF2B5EF4-FFF2-40B4-BE49-F238E27FC236}">
                    <a16:creationId xmlns:a16="http://schemas.microsoft.com/office/drawing/2014/main" id="{520EC553-0F76-6CED-3BF9-593952CAE105}"/>
                  </a:ext>
                </a:extLst>
              </p:cNvPr>
              <p:cNvSpPr/>
              <p:nvPr/>
            </p:nvSpPr>
            <p:spPr>
              <a:xfrm>
                <a:off x="3345777" y="2895587"/>
                <a:ext cx="4247432" cy="2996098"/>
              </a:xfrm>
              <a:custGeom>
                <a:avLst/>
                <a:gdLst>
                  <a:gd name="connsiteX0" fmla="*/ 3783028 w 4247432"/>
                  <a:gd name="connsiteY0" fmla="*/ 1837724 h 2996098"/>
                  <a:gd name="connsiteX1" fmla="*/ 4191599 w 4247432"/>
                  <a:gd name="connsiteY1" fmla="*/ 902338 h 2996098"/>
                  <a:gd name="connsiteX2" fmla="*/ 2953081 w 4247432"/>
                  <a:gd name="connsiteY2" fmla="*/ 41 h 2996098"/>
                  <a:gd name="connsiteX3" fmla="*/ 1822318 w 4247432"/>
                  <a:gd name="connsiteY3" fmla="*/ 275790 h 2996098"/>
                  <a:gd name="connsiteX4" fmla="*/ 13867 w 4247432"/>
                  <a:gd name="connsiteY4" fmla="*/ 569202 h 2996098"/>
                  <a:gd name="connsiteX5" fmla="*/ 1102053 w 4247432"/>
                  <a:gd name="connsiteY5" fmla="*/ 2102675 h 2996098"/>
                  <a:gd name="connsiteX6" fmla="*/ 2117041 w 4247432"/>
                  <a:gd name="connsiteY6" fmla="*/ 2745420 h 2996098"/>
                  <a:gd name="connsiteX7" fmla="*/ 3301335 w 4247432"/>
                  <a:gd name="connsiteY7" fmla="*/ 2904699 h 2996098"/>
                  <a:gd name="connsiteX8" fmla="*/ 3782951 w 4247432"/>
                  <a:gd name="connsiteY8" fmla="*/ 1837724 h 299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47432" h="2996098">
                    <a:moveTo>
                      <a:pt x="3783028" y="1837724"/>
                    </a:moveTo>
                    <a:cubicBezTo>
                      <a:pt x="3926880" y="1403159"/>
                      <a:pt x="4410039" y="1278667"/>
                      <a:pt x="4191599" y="902338"/>
                    </a:cubicBezTo>
                    <a:cubicBezTo>
                      <a:pt x="4002856" y="577532"/>
                      <a:pt x="3343681" y="1506"/>
                      <a:pt x="2953081" y="41"/>
                    </a:cubicBezTo>
                    <a:cubicBezTo>
                      <a:pt x="2483575" y="-1733"/>
                      <a:pt x="2199342" y="53802"/>
                      <a:pt x="1822318" y="275790"/>
                    </a:cubicBezTo>
                    <a:cubicBezTo>
                      <a:pt x="1500752" y="465073"/>
                      <a:pt x="134888" y="201125"/>
                      <a:pt x="13867" y="569202"/>
                    </a:cubicBezTo>
                    <a:cubicBezTo>
                      <a:pt x="-130603" y="1008626"/>
                      <a:pt x="896726" y="1714158"/>
                      <a:pt x="1102053" y="2102675"/>
                    </a:cubicBezTo>
                    <a:cubicBezTo>
                      <a:pt x="1414672" y="2695824"/>
                      <a:pt x="1751896" y="2625171"/>
                      <a:pt x="2117041" y="2745420"/>
                    </a:cubicBezTo>
                    <a:cubicBezTo>
                      <a:pt x="2555309" y="2889658"/>
                      <a:pt x="2924002" y="3128075"/>
                      <a:pt x="3301335" y="2904699"/>
                    </a:cubicBezTo>
                    <a:cubicBezTo>
                      <a:pt x="3620201" y="2716033"/>
                      <a:pt x="3661930" y="2203256"/>
                      <a:pt x="3782951" y="183772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57" name="Freeform: Shape 1056">
                <a:extLst>
                  <a:ext uri="{FF2B5EF4-FFF2-40B4-BE49-F238E27FC236}">
                    <a16:creationId xmlns:a16="http://schemas.microsoft.com/office/drawing/2014/main" id="{EA98835D-E607-FC7D-59BB-9DB47AD87B3F}"/>
                  </a:ext>
                </a:extLst>
              </p:cNvPr>
              <p:cNvSpPr/>
              <p:nvPr/>
            </p:nvSpPr>
            <p:spPr>
              <a:xfrm>
                <a:off x="3406170" y="2845727"/>
                <a:ext cx="4334890" cy="3021757"/>
              </a:xfrm>
              <a:custGeom>
                <a:avLst/>
                <a:gdLst>
                  <a:gd name="connsiteX0" fmla="*/ 3772848 w 4334890"/>
                  <a:gd name="connsiteY0" fmla="*/ 1893214 h 3021757"/>
                  <a:gd name="connsiteX1" fmla="*/ 4288557 w 4334890"/>
                  <a:gd name="connsiteY1" fmla="*/ 936924 h 3021757"/>
                  <a:gd name="connsiteX2" fmla="*/ 2918837 w 4334890"/>
                  <a:gd name="connsiteY2" fmla="*/ 381 h 3021757"/>
                  <a:gd name="connsiteX3" fmla="*/ 1758762 w 4334890"/>
                  <a:gd name="connsiteY3" fmla="*/ 354188 h 3021757"/>
                  <a:gd name="connsiteX4" fmla="*/ 12172 w 4334890"/>
                  <a:gd name="connsiteY4" fmla="*/ 701207 h 3021757"/>
                  <a:gd name="connsiteX5" fmla="*/ 1071897 w 4334890"/>
                  <a:gd name="connsiteY5" fmla="*/ 2139267 h 3021757"/>
                  <a:gd name="connsiteX6" fmla="*/ 2093286 w 4334890"/>
                  <a:gd name="connsiteY6" fmla="*/ 2855443 h 3021757"/>
                  <a:gd name="connsiteX7" fmla="*/ 3227676 w 4334890"/>
                  <a:gd name="connsiteY7" fmla="*/ 2906427 h 3021757"/>
                  <a:gd name="connsiteX8" fmla="*/ 3772926 w 4334890"/>
                  <a:gd name="connsiteY8" fmla="*/ 1893060 h 3021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34890" h="3021757">
                    <a:moveTo>
                      <a:pt x="3772848" y="1893214"/>
                    </a:moveTo>
                    <a:cubicBezTo>
                      <a:pt x="3905671" y="1468137"/>
                      <a:pt x="4503989" y="1307701"/>
                      <a:pt x="4288557" y="936924"/>
                    </a:cubicBezTo>
                    <a:cubicBezTo>
                      <a:pt x="4093411" y="601629"/>
                      <a:pt x="3315684" y="8094"/>
                      <a:pt x="2918837" y="381"/>
                    </a:cubicBezTo>
                    <a:cubicBezTo>
                      <a:pt x="2463446" y="-8412"/>
                      <a:pt x="2129770" y="135826"/>
                      <a:pt x="1758762" y="354188"/>
                    </a:cubicBezTo>
                    <a:cubicBezTo>
                      <a:pt x="1425935" y="550027"/>
                      <a:pt x="128642" y="324415"/>
                      <a:pt x="12172" y="701207"/>
                    </a:cubicBezTo>
                    <a:cubicBezTo>
                      <a:pt x="-120342" y="1129987"/>
                      <a:pt x="868421" y="1758386"/>
                      <a:pt x="1071897" y="2139267"/>
                    </a:cubicBezTo>
                    <a:cubicBezTo>
                      <a:pt x="1377265" y="2713288"/>
                      <a:pt x="1719270" y="2739667"/>
                      <a:pt x="2093286" y="2855443"/>
                    </a:cubicBezTo>
                    <a:cubicBezTo>
                      <a:pt x="2521218" y="2987957"/>
                      <a:pt x="2856591" y="3126024"/>
                      <a:pt x="3227676" y="2906427"/>
                    </a:cubicBezTo>
                    <a:cubicBezTo>
                      <a:pt x="3557340" y="2711514"/>
                      <a:pt x="3656147" y="2266690"/>
                      <a:pt x="3772926" y="189306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58" name="Freeform: Shape 1057">
                <a:extLst>
                  <a:ext uri="{FF2B5EF4-FFF2-40B4-BE49-F238E27FC236}">
                    <a16:creationId xmlns:a16="http://schemas.microsoft.com/office/drawing/2014/main" id="{24C96E45-6856-66F8-CDB6-DB5A7EEA59B4}"/>
                  </a:ext>
                </a:extLst>
              </p:cNvPr>
              <p:cNvSpPr/>
              <p:nvPr/>
            </p:nvSpPr>
            <p:spPr>
              <a:xfrm>
                <a:off x="3466359" y="2795931"/>
                <a:ext cx="4425026" cy="3063471"/>
              </a:xfrm>
              <a:custGeom>
                <a:avLst/>
                <a:gdLst>
                  <a:gd name="connsiteX0" fmla="*/ 3762949 w 4425026"/>
                  <a:gd name="connsiteY0" fmla="*/ 1948641 h 3063471"/>
                  <a:gd name="connsiteX1" fmla="*/ 4385718 w 4425026"/>
                  <a:gd name="connsiteY1" fmla="*/ 971448 h 3063471"/>
                  <a:gd name="connsiteX2" fmla="*/ 2884795 w 4425026"/>
                  <a:gd name="connsiteY2" fmla="*/ 735 h 3063471"/>
                  <a:gd name="connsiteX3" fmla="*/ 1695410 w 4425026"/>
                  <a:gd name="connsiteY3" fmla="*/ 432677 h 3063471"/>
                  <a:gd name="connsiteX4" fmla="*/ 10603 w 4425026"/>
                  <a:gd name="connsiteY4" fmla="*/ 833304 h 3063471"/>
                  <a:gd name="connsiteX5" fmla="*/ 1041789 w 4425026"/>
                  <a:gd name="connsiteY5" fmla="*/ 2175951 h 3063471"/>
                  <a:gd name="connsiteX6" fmla="*/ 2069581 w 4425026"/>
                  <a:gd name="connsiteY6" fmla="*/ 2965634 h 3063471"/>
                  <a:gd name="connsiteX7" fmla="*/ 3154065 w 4425026"/>
                  <a:gd name="connsiteY7" fmla="*/ 2908401 h 3063471"/>
                  <a:gd name="connsiteX8" fmla="*/ 3762949 w 4425026"/>
                  <a:gd name="connsiteY8" fmla="*/ 1948564 h 3063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25026" h="3063471">
                    <a:moveTo>
                      <a:pt x="3762949" y="1948641"/>
                    </a:moveTo>
                    <a:cubicBezTo>
                      <a:pt x="3885128" y="1533127"/>
                      <a:pt x="4598295" y="1336594"/>
                      <a:pt x="4385718" y="971448"/>
                    </a:cubicBezTo>
                    <a:cubicBezTo>
                      <a:pt x="4184094" y="625586"/>
                      <a:pt x="3287967" y="14927"/>
                      <a:pt x="2884795" y="735"/>
                    </a:cubicBezTo>
                    <a:cubicBezTo>
                      <a:pt x="2443596" y="-14769"/>
                      <a:pt x="2060325" y="217863"/>
                      <a:pt x="1695410" y="432677"/>
                    </a:cubicBezTo>
                    <a:cubicBezTo>
                      <a:pt x="1351399" y="635150"/>
                      <a:pt x="122214" y="447718"/>
                      <a:pt x="10603" y="833304"/>
                    </a:cubicBezTo>
                    <a:cubicBezTo>
                      <a:pt x="-110418" y="1251362"/>
                      <a:pt x="840318" y="1802706"/>
                      <a:pt x="1041789" y="2175951"/>
                    </a:cubicBezTo>
                    <a:cubicBezTo>
                      <a:pt x="1339983" y="2730842"/>
                      <a:pt x="1686617" y="2854485"/>
                      <a:pt x="2069581" y="2965634"/>
                    </a:cubicBezTo>
                    <a:cubicBezTo>
                      <a:pt x="2487022" y="3086809"/>
                      <a:pt x="2789228" y="3124141"/>
                      <a:pt x="3154065" y="2908401"/>
                    </a:cubicBezTo>
                    <a:cubicBezTo>
                      <a:pt x="3494528" y="2707240"/>
                      <a:pt x="3650644" y="2330524"/>
                      <a:pt x="3762949" y="19485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59" name="Freeform: Shape 1058">
                <a:extLst>
                  <a:ext uri="{FF2B5EF4-FFF2-40B4-BE49-F238E27FC236}">
                    <a16:creationId xmlns:a16="http://schemas.microsoft.com/office/drawing/2014/main" id="{F1361047-42BB-52FA-0D53-1BD833D5440C}"/>
                  </a:ext>
                </a:extLst>
              </p:cNvPr>
              <p:cNvSpPr/>
              <p:nvPr/>
            </p:nvSpPr>
            <p:spPr>
              <a:xfrm>
                <a:off x="3526436" y="2746166"/>
                <a:ext cx="4516838" cy="3129085"/>
              </a:xfrm>
              <a:custGeom>
                <a:avLst/>
                <a:gdLst>
                  <a:gd name="connsiteX0" fmla="*/ 3753086 w 4516838"/>
                  <a:gd name="connsiteY0" fmla="*/ 2004037 h 3129085"/>
                  <a:gd name="connsiteX1" fmla="*/ 4482992 w 4516838"/>
                  <a:gd name="connsiteY1" fmla="*/ 1005942 h 3129085"/>
                  <a:gd name="connsiteX2" fmla="*/ 2850866 w 4516838"/>
                  <a:gd name="connsiteY2" fmla="*/ 1059 h 3129085"/>
                  <a:gd name="connsiteX3" fmla="*/ 1632171 w 4516838"/>
                  <a:gd name="connsiteY3" fmla="*/ 511136 h 3129085"/>
                  <a:gd name="connsiteX4" fmla="*/ 9147 w 4516838"/>
                  <a:gd name="connsiteY4" fmla="*/ 965447 h 3129085"/>
                  <a:gd name="connsiteX5" fmla="*/ 1011871 w 4516838"/>
                  <a:gd name="connsiteY5" fmla="*/ 2212681 h 3129085"/>
                  <a:gd name="connsiteX6" fmla="*/ 2046065 w 4516838"/>
                  <a:gd name="connsiteY6" fmla="*/ 3075871 h 3129085"/>
                  <a:gd name="connsiteX7" fmla="*/ 3080644 w 4516838"/>
                  <a:gd name="connsiteY7" fmla="*/ 2910345 h 3129085"/>
                  <a:gd name="connsiteX8" fmla="*/ 3753163 w 4516838"/>
                  <a:gd name="connsiteY8" fmla="*/ 2004114 h 3129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16838" h="3129085">
                    <a:moveTo>
                      <a:pt x="3753086" y="2004037"/>
                    </a:moveTo>
                    <a:cubicBezTo>
                      <a:pt x="3864928" y="1598166"/>
                      <a:pt x="4692561" y="1365534"/>
                      <a:pt x="4482992" y="1005942"/>
                    </a:cubicBezTo>
                    <a:cubicBezTo>
                      <a:pt x="4274888" y="649589"/>
                      <a:pt x="3260286" y="21962"/>
                      <a:pt x="2850866" y="1059"/>
                    </a:cubicBezTo>
                    <a:cubicBezTo>
                      <a:pt x="2423783" y="-20770"/>
                      <a:pt x="1990992" y="299870"/>
                      <a:pt x="1632171" y="511136"/>
                    </a:cubicBezTo>
                    <a:cubicBezTo>
                      <a:pt x="1276976" y="720166"/>
                      <a:pt x="115667" y="570837"/>
                      <a:pt x="9147" y="965447"/>
                    </a:cubicBezTo>
                    <a:cubicBezTo>
                      <a:pt x="-100767" y="1372553"/>
                      <a:pt x="812252" y="1847149"/>
                      <a:pt x="1011871" y="2212681"/>
                    </a:cubicBezTo>
                    <a:cubicBezTo>
                      <a:pt x="1302892" y="2748444"/>
                      <a:pt x="1654000" y="2969583"/>
                      <a:pt x="2046065" y="3075871"/>
                    </a:cubicBezTo>
                    <a:cubicBezTo>
                      <a:pt x="2452939" y="3186094"/>
                      <a:pt x="2721978" y="3122305"/>
                      <a:pt x="3080644" y="2910345"/>
                    </a:cubicBezTo>
                    <a:cubicBezTo>
                      <a:pt x="3431906" y="2702935"/>
                      <a:pt x="3645563" y="2394405"/>
                      <a:pt x="3753163" y="20041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60" name="Freeform: Shape 1059">
                <a:extLst>
                  <a:ext uri="{FF2B5EF4-FFF2-40B4-BE49-F238E27FC236}">
                    <a16:creationId xmlns:a16="http://schemas.microsoft.com/office/drawing/2014/main" id="{94114D8B-CE40-AA81-210E-AC2CB11E422E}"/>
                  </a:ext>
                </a:extLst>
              </p:cNvPr>
              <p:cNvSpPr/>
              <p:nvPr/>
            </p:nvSpPr>
            <p:spPr>
              <a:xfrm>
                <a:off x="3586413" y="2696421"/>
                <a:ext cx="4609879" cy="3215724"/>
              </a:xfrm>
              <a:custGeom>
                <a:avLst/>
                <a:gdLst>
                  <a:gd name="connsiteX0" fmla="*/ 3743322 w 4609879"/>
                  <a:gd name="connsiteY0" fmla="*/ 2059413 h 3215724"/>
                  <a:gd name="connsiteX1" fmla="*/ 4580365 w 4609879"/>
                  <a:gd name="connsiteY1" fmla="*/ 1040414 h 3215724"/>
                  <a:gd name="connsiteX2" fmla="*/ 2817037 w 4609879"/>
                  <a:gd name="connsiteY2" fmla="*/ 1361 h 3215724"/>
                  <a:gd name="connsiteX3" fmla="*/ 1568955 w 4609879"/>
                  <a:gd name="connsiteY3" fmla="*/ 589575 h 3215724"/>
                  <a:gd name="connsiteX4" fmla="*/ 7791 w 4609879"/>
                  <a:gd name="connsiteY4" fmla="*/ 1097493 h 3215724"/>
                  <a:gd name="connsiteX5" fmla="*/ 981976 w 4609879"/>
                  <a:gd name="connsiteY5" fmla="*/ 2249313 h 3215724"/>
                  <a:gd name="connsiteX6" fmla="*/ 2022571 w 4609879"/>
                  <a:gd name="connsiteY6" fmla="*/ 3185934 h 3215724"/>
                  <a:gd name="connsiteX7" fmla="*/ 3007169 w 4609879"/>
                  <a:gd name="connsiteY7" fmla="*/ 2912190 h 3215724"/>
                  <a:gd name="connsiteX8" fmla="*/ 3743322 w 4609879"/>
                  <a:gd name="connsiteY8" fmla="*/ 2059567 h 3215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09879" h="3215724">
                    <a:moveTo>
                      <a:pt x="3743322" y="2059413"/>
                    </a:moveTo>
                    <a:cubicBezTo>
                      <a:pt x="3845138" y="1663337"/>
                      <a:pt x="4786926" y="1394376"/>
                      <a:pt x="4580365" y="1040414"/>
                    </a:cubicBezTo>
                    <a:cubicBezTo>
                      <a:pt x="4365783" y="673495"/>
                      <a:pt x="3232782" y="29284"/>
                      <a:pt x="2817037" y="1361"/>
                    </a:cubicBezTo>
                    <a:cubicBezTo>
                      <a:pt x="2401292" y="-26560"/>
                      <a:pt x="1921836" y="381934"/>
                      <a:pt x="1568955" y="589575"/>
                    </a:cubicBezTo>
                    <a:cubicBezTo>
                      <a:pt x="1202498" y="805237"/>
                      <a:pt x="108757" y="693858"/>
                      <a:pt x="7791" y="1097493"/>
                    </a:cubicBezTo>
                    <a:cubicBezTo>
                      <a:pt x="-91324" y="1493568"/>
                      <a:pt x="784362" y="1891418"/>
                      <a:pt x="981976" y="2249313"/>
                    </a:cubicBezTo>
                    <a:cubicBezTo>
                      <a:pt x="1265746" y="2765947"/>
                      <a:pt x="1621328" y="3084968"/>
                      <a:pt x="2022571" y="3185934"/>
                    </a:cubicBezTo>
                    <a:cubicBezTo>
                      <a:pt x="2418724" y="3285589"/>
                      <a:pt x="2654827" y="3120217"/>
                      <a:pt x="3007169" y="2912190"/>
                    </a:cubicBezTo>
                    <a:cubicBezTo>
                      <a:pt x="3369229" y="2698533"/>
                      <a:pt x="3640813" y="2458265"/>
                      <a:pt x="3743322" y="205956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61" name="Freeform: Shape 1060">
                <a:extLst>
                  <a:ext uri="{FF2B5EF4-FFF2-40B4-BE49-F238E27FC236}">
                    <a16:creationId xmlns:a16="http://schemas.microsoft.com/office/drawing/2014/main" id="{E025369E-1E5B-0722-C16C-30B5D8C84BF9}"/>
                  </a:ext>
                </a:extLst>
              </p:cNvPr>
              <p:cNvSpPr/>
              <p:nvPr/>
            </p:nvSpPr>
            <p:spPr>
              <a:xfrm>
                <a:off x="3646345" y="2646648"/>
                <a:ext cx="4703818" cy="3313713"/>
              </a:xfrm>
              <a:custGeom>
                <a:avLst/>
                <a:gdLst>
                  <a:gd name="connsiteX0" fmla="*/ 3733681 w 4703818"/>
                  <a:gd name="connsiteY0" fmla="*/ 2114893 h 3313713"/>
                  <a:gd name="connsiteX1" fmla="*/ 4677784 w 4703818"/>
                  <a:gd name="connsiteY1" fmla="*/ 1074915 h 3313713"/>
                  <a:gd name="connsiteX2" fmla="*/ 2783330 w 4703818"/>
                  <a:gd name="connsiteY2" fmla="*/ 1615 h 3313713"/>
                  <a:gd name="connsiteX3" fmla="*/ 1505937 w 4703818"/>
                  <a:gd name="connsiteY3" fmla="*/ 667886 h 3313713"/>
                  <a:gd name="connsiteX4" fmla="*/ 6557 w 4703818"/>
                  <a:gd name="connsiteY4" fmla="*/ 1229411 h 3313713"/>
                  <a:gd name="connsiteX5" fmla="*/ 952280 w 4703818"/>
                  <a:gd name="connsiteY5" fmla="*/ 2285819 h 3313713"/>
                  <a:gd name="connsiteX6" fmla="*/ 1999200 w 4703818"/>
                  <a:gd name="connsiteY6" fmla="*/ 3295947 h 3313713"/>
                  <a:gd name="connsiteX7" fmla="*/ 2933893 w 4703818"/>
                  <a:gd name="connsiteY7" fmla="*/ 2913910 h 3313713"/>
                  <a:gd name="connsiteX8" fmla="*/ 3733681 w 4703818"/>
                  <a:gd name="connsiteY8" fmla="*/ 2114816 h 3313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03818" h="3313713">
                    <a:moveTo>
                      <a:pt x="3733681" y="2114893"/>
                    </a:moveTo>
                    <a:cubicBezTo>
                      <a:pt x="3825777" y="1728690"/>
                      <a:pt x="4881491" y="1423323"/>
                      <a:pt x="4677784" y="1074915"/>
                    </a:cubicBezTo>
                    <a:cubicBezTo>
                      <a:pt x="4456722" y="697428"/>
                      <a:pt x="3205245" y="37019"/>
                      <a:pt x="2783330" y="1615"/>
                    </a:cubicBezTo>
                    <a:cubicBezTo>
                      <a:pt x="2384478" y="-31860"/>
                      <a:pt x="1852725" y="463871"/>
                      <a:pt x="1505937" y="667886"/>
                    </a:cubicBezTo>
                    <a:cubicBezTo>
                      <a:pt x="1128296" y="890105"/>
                      <a:pt x="101738" y="816675"/>
                      <a:pt x="6557" y="1229411"/>
                    </a:cubicBezTo>
                    <a:cubicBezTo>
                      <a:pt x="-82223" y="1614457"/>
                      <a:pt x="756517" y="1935560"/>
                      <a:pt x="952280" y="2285819"/>
                    </a:cubicBezTo>
                    <a:cubicBezTo>
                      <a:pt x="1228877" y="2783324"/>
                      <a:pt x="1588778" y="3200611"/>
                      <a:pt x="1999200" y="3295947"/>
                    </a:cubicBezTo>
                    <a:cubicBezTo>
                      <a:pt x="2384478" y="3385421"/>
                      <a:pt x="2587799" y="3118157"/>
                      <a:pt x="2933893" y="2913910"/>
                    </a:cubicBezTo>
                    <a:cubicBezTo>
                      <a:pt x="3306752" y="2694082"/>
                      <a:pt x="3636494" y="2522076"/>
                      <a:pt x="3733681" y="21148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62" name="Freeform: Shape 1061">
                <a:extLst>
                  <a:ext uri="{FF2B5EF4-FFF2-40B4-BE49-F238E27FC236}">
                    <a16:creationId xmlns:a16="http://schemas.microsoft.com/office/drawing/2014/main" id="{C518FA82-E29F-1814-0C25-5ECFFB00ABDB}"/>
                  </a:ext>
                </a:extLst>
              </p:cNvPr>
              <p:cNvSpPr/>
              <p:nvPr/>
            </p:nvSpPr>
            <p:spPr>
              <a:xfrm>
                <a:off x="3706188" y="2596973"/>
                <a:ext cx="4798420" cy="3416920"/>
              </a:xfrm>
              <a:custGeom>
                <a:avLst/>
                <a:gdLst>
                  <a:gd name="connsiteX0" fmla="*/ 3724051 w 4798420"/>
                  <a:gd name="connsiteY0" fmla="*/ 2170199 h 3416920"/>
                  <a:gd name="connsiteX1" fmla="*/ 4775292 w 4798420"/>
                  <a:gd name="connsiteY1" fmla="*/ 1109318 h 3416920"/>
                  <a:gd name="connsiteX2" fmla="*/ 2749635 w 4798420"/>
                  <a:gd name="connsiteY2" fmla="*/ 1848 h 3416920"/>
                  <a:gd name="connsiteX3" fmla="*/ 1442932 w 4798420"/>
                  <a:gd name="connsiteY3" fmla="*/ 746255 h 3416920"/>
                  <a:gd name="connsiteX4" fmla="*/ 5412 w 4798420"/>
                  <a:gd name="connsiteY4" fmla="*/ 1361387 h 3416920"/>
                  <a:gd name="connsiteX5" fmla="*/ 922596 w 4798420"/>
                  <a:gd name="connsiteY5" fmla="*/ 2322304 h 3416920"/>
                  <a:gd name="connsiteX6" fmla="*/ 1975918 w 4798420"/>
                  <a:gd name="connsiteY6" fmla="*/ 3405863 h 3416920"/>
                  <a:gd name="connsiteX7" fmla="*/ 2860706 w 4798420"/>
                  <a:gd name="connsiteY7" fmla="*/ 2915608 h 3416920"/>
                  <a:gd name="connsiteX8" fmla="*/ 3724129 w 4798420"/>
                  <a:gd name="connsiteY8" fmla="*/ 2170122 h 3416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98420" h="3416920">
                    <a:moveTo>
                      <a:pt x="3724051" y="2170199"/>
                    </a:moveTo>
                    <a:cubicBezTo>
                      <a:pt x="3806815" y="1793946"/>
                      <a:pt x="4975991" y="1452172"/>
                      <a:pt x="4775292" y="1109318"/>
                    </a:cubicBezTo>
                    <a:cubicBezTo>
                      <a:pt x="4547751" y="721341"/>
                      <a:pt x="3177798" y="45042"/>
                      <a:pt x="2749635" y="1848"/>
                    </a:cubicBezTo>
                    <a:cubicBezTo>
                      <a:pt x="2364821" y="-36950"/>
                      <a:pt x="1783627" y="545787"/>
                      <a:pt x="1442932" y="746255"/>
                    </a:cubicBezTo>
                    <a:cubicBezTo>
                      <a:pt x="1054030" y="975107"/>
                      <a:pt x="94192" y="939472"/>
                      <a:pt x="5412" y="1361387"/>
                    </a:cubicBezTo>
                    <a:cubicBezTo>
                      <a:pt x="-73263" y="1735248"/>
                      <a:pt x="728761" y="1979759"/>
                      <a:pt x="922596" y="2322304"/>
                    </a:cubicBezTo>
                    <a:cubicBezTo>
                      <a:pt x="1191943" y="2800681"/>
                      <a:pt x="1556163" y="3316697"/>
                      <a:pt x="1975918" y="3405863"/>
                    </a:cubicBezTo>
                    <a:cubicBezTo>
                      <a:pt x="2350320" y="3485463"/>
                      <a:pt x="2520860" y="3115999"/>
                      <a:pt x="2860706" y="2915608"/>
                    </a:cubicBezTo>
                    <a:cubicBezTo>
                      <a:pt x="3244364" y="2689532"/>
                      <a:pt x="3632649" y="2585944"/>
                      <a:pt x="3724129" y="2170122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63" name="Freeform: Shape 1062">
                <a:extLst>
                  <a:ext uri="{FF2B5EF4-FFF2-40B4-BE49-F238E27FC236}">
                    <a16:creationId xmlns:a16="http://schemas.microsoft.com/office/drawing/2014/main" id="{92203107-8483-EA82-663C-A8D65C964A2F}"/>
                  </a:ext>
                </a:extLst>
              </p:cNvPr>
              <p:cNvSpPr/>
              <p:nvPr/>
            </p:nvSpPr>
            <p:spPr>
              <a:xfrm>
                <a:off x="3765757" y="2547325"/>
                <a:ext cx="4893698" cy="3522930"/>
              </a:xfrm>
              <a:custGeom>
                <a:avLst/>
                <a:gdLst>
                  <a:gd name="connsiteX0" fmla="*/ 3714695 w 4893698"/>
                  <a:gd name="connsiteY0" fmla="*/ 2225478 h 3522930"/>
                  <a:gd name="connsiteX1" fmla="*/ 4872995 w 4893698"/>
                  <a:gd name="connsiteY1" fmla="*/ 1143693 h 3522930"/>
                  <a:gd name="connsiteX2" fmla="*/ 2716137 w 4893698"/>
                  <a:gd name="connsiteY2" fmla="*/ 2054 h 3522930"/>
                  <a:gd name="connsiteX3" fmla="*/ 1380123 w 4893698"/>
                  <a:gd name="connsiteY3" fmla="*/ 824596 h 3522930"/>
                  <a:gd name="connsiteX4" fmla="*/ 4386 w 4893698"/>
                  <a:gd name="connsiteY4" fmla="*/ 1493335 h 3522930"/>
                  <a:gd name="connsiteX5" fmla="*/ 893031 w 4893698"/>
                  <a:gd name="connsiteY5" fmla="*/ 2358840 h 3522930"/>
                  <a:gd name="connsiteX6" fmla="*/ 1952756 w 4893698"/>
                  <a:gd name="connsiteY6" fmla="*/ 3515905 h 3522930"/>
                  <a:gd name="connsiteX7" fmla="*/ 2787562 w 4893698"/>
                  <a:gd name="connsiteY7" fmla="*/ 2917357 h 3522930"/>
                  <a:gd name="connsiteX8" fmla="*/ 3714541 w 4893698"/>
                  <a:gd name="connsiteY8" fmla="*/ 2225478 h 3522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93698" h="3522930">
                    <a:moveTo>
                      <a:pt x="3714695" y="2225478"/>
                    </a:moveTo>
                    <a:cubicBezTo>
                      <a:pt x="3788357" y="1859175"/>
                      <a:pt x="5070764" y="1480917"/>
                      <a:pt x="4872995" y="1143693"/>
                    </a:cubicBezTo>
                    <a:cubicBezTo>
                      <a:pt x="4639053" y="745149"/>
                      <a:pt x="3150470" y="53347"/>
                      <a:pt x="2716137" y="2054"/>
                    </a:cubicBezTo>
                    <a:cubicBezTo>
                      <a:pt x="2345360" y="-41757"/>
                      <a:pt x="1714801" y="627676"/>
                      <a:pt x="1380123" y="824596"/>
                    </a:cubicBezTo>
                    <a:cubicBezTo>
                      <a:pt x="980036" y="1060081"/>
                      <a:pt x="86455" y="1062164"/>
                      <a:pt x="4386" y="1493335"/>
                    </a:cubicBezTo>
                    <a:cubicBezTo>
                      <a:pt x="-64647" y="1856012"/>
                      <a:pt x="701202" y="2023930"/>
                      <a:pt x="893031" y="2358840"/>
                    </a:cubicBezTo>
                    <a:cubicBezTo>
                      <a:pt x="1155205" y="2818087"/>
                      <a:pt x="1523590" y="3433219"/>
                      <a:pt x="1952756" y="3515905"/>
                    </a:cubicBezTo>
                    <a:cubicBezTo>
                      <a:pt x="2316282" y="3585942"/>
                      <a:pt x="2454040" y="3113968"/>
                      <a:pt x="2787562" y="2917357"/>
                    </a:cubicBezTo>
                    <a:cubicBezTo>
                      <a:pt x="3182018" y="2685033"/>
                      <a:pt x="3629232" y="2649938"/>
                      <a:pt x="3714541" y="22254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64" name="Freeform: Shape 1063">
                <a:extLst>
                  <a:ext uri="{FF2B5EF4-FFF2-40B4-BE49-F238E27FC236}">
                    <a16:creationId xmlns:a16="http://schemas.microsoft.com/office/drawing/2014/main" id="{C194CA22-A17C-3D07-A021-FAD785612D8D}"/>
                  </a:ext>
                </a:extLst>
              </p:cNvPr>
              <p:cNvSpPr/>
              <p:nvPr/>
            </p:nvSpPr>
            <p:spPr>
              <a:xfrm>
                <a:off x="3825389" y="2497697"/>
                <a:ext cx="4989429" cy="3630406"/>
              </a:xfrm>
              <a:custGeom>
                <a:avLst/>
                <a:gdLst>
                  <a:gd name="connsiteX0" fmla="*/ 3705354 w 4989429"/>
                  <a:gd name="connsiteY0" fmla="*/ 2280737 h 3630406"/>
                  <a:gd name="connsiteX1" fmla="*/ 4970792 w 4989429"/>
                  <a:gd name="connsiteY1" fmla="*/ 1178049 h 3630406"/>
                  <a:gd name="connsiteX2" fmla="*/ 2682730 w 4989429"/>
                  <a:gd name="connsiteY2" fmla="*/ 2241 h 3630406"/>
                  <a:gd name="connsiteX3" fmla="*/ 1317406 w 4989429"/>
                  <a:gd name="connsiteY3" fmla="*/ 902918 h 3630406"/>
                  <a:gd name="connsiteX4" fmla="*/ 3453 w 4989429"/>
                  <a:gd name="connsiteY4" fmla="*/ 1625341 h 3630406"/>
                  <a:gd name="connsiteX5" fmla="*/ 863635 w 4989429"/>
                  <a:gd name="connsiteY5" fmla="*/ 2395433 h 3630406"/>
                  <a:gd name="connsiteX6" fmla="*/ 1929762 w 4989429"/>
                  <a:gd name="connsiteY6" fmla="*/ 3625929 h 3630406"/>
                  <a:gd name="connsiteX7" fmla="*/ 2714663 w 4989429"/>
                  <a:gd name="connsiteY7" fmla="*/ 2919163 h 3630406"/>
                  <a:gd name="connsiteX8" fmla="*/ 3705277 w 4989429"/>
                  <a:gd name="connsiteY8" fmla="*/ 2280814 h 3630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89429" h="3630406">
                    <a:moveTo>
                      <a:pt x="3705354" y="2280737"/>
                    </a:moveTo>
                    <a:cubicBezTo>
                      <a:pt x="3770145" y="1924384"/>
                      <a:pt x="5165629" y="1509720"/>
                      <a:pt x="4970792" y="1178049"/>
                    </a:cubicBezTo>
                    <a:cubicBezTo>
                      <a:pt x="4730370" y="769015"/>
                      <a:pt x="3123080" y="62173"/>
                      <a:pt x="2682730" y="2241"/>
                    </a:cubicBezTo>
                    <a:cubicBezTo>
                      <a:pt x="2325838" y="-46353"/>
                      <a:pt x="1645991" y="709546"/>
                      <a:pt x="1317406" y="902918"/>
                    </a:cubicBezTo>
                    <a:cubicBezTo>
                      <a:pt x="906058" y="1144960"/>
                      <a:pt x="78271" y="1184760"/>
                      <a:pt x="3453" y="1625341"/>
                    </a:cubicBezTo>
                    <a:cubicBezTo>
                      <a:pt x="-56171" y="1976757"/>
                      <a:pt x="673658" y="2068236"/>
                      <a:pt x="863635" y="2395433"/>
                    </a:cubicBezTo>
                    <a:cubicBezTo>
                      <a:pt x="1118636" y="2835628"/>
                      <a:pt x="1491186" y="3550339"/>
                      <a:pt x="1929762" y="3625929"/>
                    </a:cubicBezTo>
                    <a:cubicBezTo>
                      <a:pt x="2282335" y="3686709"/>
                      <a:pt x="2387313" y="3111917"/>
                      <a:pt x="2714663" y="2919163"/>
                    </a:cubicBezTo>
                    <a:cubicBezTo>
                      <a:pt x="3119918" y="2680592"/>
                      <a:pt x="3626525" y="2714067"/>
                      <a:pt x="3705277" y="228081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66" name="Freeform: Shape 1065">
                <a:extLst>
                  <a:ext uri="{FF2B5EF4-FFF2-40B4-BE49-F238E27FC236}">
                    <a16:creationId xmlns:a16="http://schemas.microsoft.com/office/drawing/2014/main" id="{CE20AD25-455C-02C0-A864-7ED1D0AEFEFF}"/>
                  </a:ext>
                </a:extLst>
              </p:cNvPr>
              <p:cNvSpPr/>
              <p:nvPr/>
            </p:nvSpPr>
            <p:spPr>
              <a:xfrm>
                <a:off x="3884910" y="2448010"/>
                <a:ext cx="5085470" cy="3738674"/>
              </a:xfrm>
              <a:custGeom>
                <a:avLst/>
                <a:gdLst>
                  <a:gd name="connsiteX0" fmla="*/ 5068621 w 5085470"/>
                  <a:gd name="connsiteY0" fmla="*/ 1212464 h 3738674"/>
                  <a:gd name="connsiteX1" fmla="*/ 2649357 w 5085470"/>
                  <a:gd name="connsiteY1" fmla="*/ 2408 h 3738674"/>
                  <a:gd name="connsiteX2" fmla="*/ 1254723 w 5085470"/>
                  <a:gd name="connsiteY2" fmla="*/ 981143 h 3738674"/>
                  <a:gd name="connsiteX3" fmla="*/ 2629 w 5085470"/>
                  <a:gd name="connsiteY3" fmla="*/ 1757174 h 3738674"/>
                  <a:gd name="connsiteX4" fmla="*/ 834273 w 5085470"/>
                  <a:gd name="connsiteY4" fmla="*/ 2431853 h 3738674"/>
                  <a:gd name="connsiteX5" fmla="*/ 1906801 w 5085470"/>
                  <a:gd name="connsiteY5" fmla="*/ 3735856 h 3738674"/>
                  <a:gd name="connsiteX6" fmla="*/ 2641798 w 5085470"/>
                  <a:gd name="connsiteY6" fmla="*/ 2920796 h 3738674"/>
                  <a:gd name="connsiteX7" fmla="*/ 3696046 w 5085470"/>
                  <a:gd name="connsiteY7" fmla="*/ 2336054 h 3738674"/>
                  <a:gd name="connsiteX8" fmla="*/ 5068621 w 5085470"/>
                  <a:gd name="connsiteY8" fmla="*/ 1212464 h 373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5470" h="3738674">
                    <a:moveTo>
                      <a:pt x="5068621" y="1212464"/>
                    </a:moveTo>
                    <a:cubicBezTo>
                      <a:pt x="4821720" y="792863"/>
                      <a:pt x="3095646" y="71519"/>
                      <a:pt x="2649357" y="2408"/>
                    </a:cubicBezTo>
                    <a:cubicBezTo>
                      <a:pt x="2306348" y="-50736"/>
                      <a:pt x="1577214" y="791397"/>
                      <a:pt x="1254723" y="981143"/>
                    </a:cubicBezTo>
                    <a:cubicBezTo>
                      <a:pt x="832190" y="1229819"/>
                      <a:pt x="69503" y="1307260"/>
                      <a:pt x="2629" y="1757174"/>
                    </a:cubicBezTo>
                    <a:cubicBezTo>
                      <a:pt x="-47970" y="2097406"/>
                      <a:pt x="646301" y="2112292"/>
                      <a:pt x="834273" y="2431853"/>
                    </a:cubicBezTo>
                    <a:cubicBezTo>
                      <a:pt x="1082023" y="2852919"/>
                      <a:pt x="1458738" y="3667825"/>
                      <a:pt x="1906801" y="3735856"/>
                    </a:cubicBezTo>
                    <a:cubicBezTo>
                      <a:pt x="2248499" y="3787689"/>
                      <a:pt x="2320695" y="3109771"/>
                      <a:pt x="2641798" y="2920796"/>
                    </a:cubicBezTo>
                    <a:cubicBezTo>
                      <a:pt x="3057851" y="2675977"/>
                      <a:pt x="3624313" y="2778024"/>
                      <a:pt x="3696046" y="2336054"/>
                    </a:cubicBezTo>
                    <a:cubicBezTo>
                      <a:pt x="3752276" y="1989652"/>
                      <a:pt x="5260450" y="1538503"/>
                      <a:pt x="5068621" y="121246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grpSp>
          <p:nvGrpSpPr>
            <p:cNvPr id="1032" name="Graphic 5">
              <a:extLst>
                <a:ext uri="{FF2B5EF4-FFF2-40B4-BE49-F238E27FC236}">
                  <a16:creationId xmlns:a16="http://schemas.microsoft.com/office/drawing/2014/main" id="{64B179B0-18E9-89B0-C038-469A6ABBED41}"/>
                </a:ext>
              </a:extLst>
            </p:cNvPr>
            <p:cNvGrpSpPr/>
            <p:nvPr/>
          </p:nvGrpSpPr>
          <p:grpSpPr>
            <a:xfrm rot="753948">
              <a:off x="-682780" y="-299489"/>
              <a:ext cx="5854605" cy="7484643"/>
              <a:chOff x="4061078" y="1549502"/>
              <a:chExt cx="3873961" cy="4952549"/>
            </a:xfrm>
            <a:noFill/>
          </p:grpSpPr>
          <p:sp>
            <p:nvSpPr>
              <p:cNvPr id="1034" name="Freeform: Shape 1033">
                <a:extLst>
                  <a:ext uri="{FF2B5EF4-FFF2-40B4-BE49-F238E27FC236}">
                    <a16:creationId xmlns:a16="http://schemas.microsoft.com/office/drawing/2014/main" id="{02FCC2B1-6F74-630D-9AB5-1FA7B41057AC}"/>
                  </a:ext>
                </a:extLst>
              </p:cNvPr>
              <p:cNvSpPr/>
              <p:nvPr/>
            </p:nvSpPr>
            <p:spPr>
              <a:xfrm>
                <a:off x="4475868" y="1549502"/>
                <a:ext cx="3007008" cy="4952549"/>
              </a:xfrm>
              <a:custGeom>
                <a:avLst/>
                <a:gdLst>
                  <a:gd name="connsiteX0" fmla="*/ 2976817 w 3007008"/>
                  <a:gd name="connsiteY0" fmla="*/ 2669180 h 4952549"/>
                  <a:gd name="connsiteX1" fmla="*/ 2432801 w 3007008"/>
                  <a:gd name="connsiteY1" fmla="*/ 1308330 h 4952549"/>
                  <a:gd name="connsiteX2" fmla="*/ 1795840 w 3007008"/>
                  <a:gd name="connsiteY2" fmla="*/ 7 h 4952549"/>
                  <a:gd name="connsiteX3" fmla="*/ 437072 w 3007008"/>
                  <a:gd name="connsiteY3" fmla="*/ 1607682 h 4952549"/>
                  <a:gd name="connsiteX4" fmla="*/ 310112 w 3007008"/>
                  <a:gd name="connsiteY4" fmla="*/ 2718545 h 4952549"/>
                  <a:gd name="connsiteX5" fmla="*/ 413007 w 3007008"/>
                  <a:gd name="connsiteY5" fmla="*/ 3875302 h 4952549"/>
                  <a:gd name="connsiteX6" fmla="*/ 1776248 w 3007008"/>
                  <a:gd name="connsiteY6" fmla="*/ 4952536 h 4952549"/>
                  <a:gd name="connsiteX7" fmla="*/ 2522815 w 3007008"/>
                  <a:gd name="connsiteY7" fmla="*/ 3870057 h 4952549"/>
                  <a:gd name="connsiteX8" fmla="*/ 2976817 w 3007008"/>
                  <a:gd name="connsiteY8" fmla="*/ 2669180 h 4952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07008" h="4952549">
                    <a:moveTo>
                      <a:pt x="2976817" y="2669180"/>
                    </a:moveTo>
                    <a:cubicBezTo>
                      <a:pt x="2795478" y="2205613"/>
                      <a:pt x="2780206" y="1596883"/>
                      <a:pt x="2432801" y="1308330"/>
                    </a:cubicBezTo>
                    <a:cubicBezTo>
                      <a:pt x="2165768" y="1086497"/>
                      <a:pt x="2170087" y="2861"/>
                      <a:pt x="1795840" y="7"/>
                    </a:cubicBezTo>
                    <a:cubicBezTo>
                      <a:pt x="1305585" y="-3772"/>
                      <a:pt x="857599" y="1434442"/>
                      <a:pt x="437072" y="1607682"/>
                    </a:cubicBezTo>
                    <a:cubicBezTo>
                      <a:pt x="-439463" y="1968739"/>
                      <a:pt x="265838" y="2328563"/>
                      <a:pt x="310112" y="2718545"/>
                    </a:cubicBezTo>
                    <a:cubicBezTo>
                      <a:pt x="365185" y="3203940"/>
                      <a:pt x="63519" y="3586749"/>
                      <a:pt x="413007" y="3875302"/>
                    </a:cubicBezTo>
                    <a:cubicBezTo>
                      <a:pt x="679500" y="4095361"/>
                      <a:pt x="1403775" y="4949682"/>
                      <a:pt x="1776248" y="4952536"/>
                    </a:cubicBezTo>
                    <a:cubicBezTo>
                      <a:pt x="2258944" y="4956238"/>
                      <a:pt x="2234184" y="4212294"/>
                      <a:pt x="2522815" y="3870057"/>
                    </a:cubicBezTo>
                    <a:cubicBezTo>
                      <a:pt x="2749045" y="3601790"/>
                      <a:pt x="3114576" y="3021444"/>
                      <a:pt x="2976817" y="2669180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37" name="Freeform: Shape 1036">
                <a:extLst>
                  <a:ext uri="{FF2B5EF4-FFF2-40B4-BE49-F238E27FC236}">
                    <a16:creationId xmlns:a16="http://schemas.microsoft.com/office/drawing/2014/main" id="{303F678D-092C-231A-8BB2-D9F347D7FCDB}"/>
                  </a:ext>
                </a:extLst>
              </p:cNvPr>
              <p:cNvSpPr/>
              <p:nvPr/>
            </p:nvSpPr>
            <p:spPr>
              <a:xfrm>
                <a:off x="4482456" y="1627788"/>
                <a:ext cx="3018571" cy="4778052"/>
              </a:xfrm>
              <a:custGeom>
                <a:avLst/>
                <a:gdLst>
                  <a:gd name="connsiteX0" fmla="*/ 1752691 w 3018571"/>
                  <a:gd name="connsiteY0" fmla="*/ 4776677 h 4778052"/>
                  <a:gd name="connsiteX1" fmla="*/ 2591277 w 3018571"/>
                  <a:gd name="connsiteY1" fmla="*/ 3811826 h 4778052"/>
                  <a:gd name="connsiteX2" fmla="*/ 2984730 w 3018571"/>
                  <a:gd name="connsiteY2" fmla="*/ 2584107 h 4778052"/>
                  <a:gd name="connsiteX3" fmla="*/ 2466168 w 3018571"/>
                  <a:gd name="connsiteY3" fmla="*/ 1202817 h 4778052"/>
                  <a:gd name="connsiteX4" fmla="*/ 1720373 w 3018571"/>
                  <a:gd name="connsiteY4" fmla="*/ 11 h 4778052"/>
                  <a:gd name="connsiteX5" fmla="*/ 440974 w 3018571"/>
                  <a:gd name="connsiteY5" fmla="*/ 1547522 h 4778052"/>
                  <a:gd name="connsiteX6" fmla="*/ 238116 w 3018571"/>
                  <a:gd name="connsiteY6" fmla="*/ 2690858 h 4778052"/>
                  <a:gd name="connsiteX7" fmla="*/ 359985 w 3018571"/>
                  <a:gd name="connsiteY7" fmla="*/ 3853863 h 4778052"/>
                  <a:gd name="connsiteX8" fmla="*/ 1752691 w 3018571"/>
                  <a:gd name="connsiteY8" fmla="*/ 4776754 h 4778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18571" h="4778052">
                    <a:moveTo>
                      <a:pt x="1752691" y="4776677"/>
                    </a:moveTo>
                    <a:cubicBezTo>
                      <a:pt x="2216181" y="4812235"/>
                      <a:pt x="2306966" y="4149435"/>
                      <a:pt x="2591277" y="3811826"/>
                    </a:cubicBezTo>
                    <a:cubicBezTo>
                      <a:pt x="2825220" y="3533917"/>
                      <a:pt x="3119172" y="2944162"/>
                      <a:pt x="2984730" y="2584107"/>
                    </a:cubicBezTo>
                    <a:cubicBezTo>
                      <a:pt x="2815579" y="2131107"/>
                      <a:pt x="2808174" y="1486896"/>
                      <a:pt x="2466168" y="1202817"/>
                    </a:cubicBezTo>
                    <a:cubicBezTo>
                      <a:pt x="2189185" y="972730"/>
                      <a:pt x="2101099" y="-3845"/>
                      <a:pt x="1720373" y="11"/>
                    </a:cubicBezTo>
                    <a:cubicBezTo>
                      <a:pt x="1244079" y="4794"/>
                      <a:pt x="830648" y="1354614"/>
                      <a:pt x="440974" y="1547522"/>
                    </a:cubicBezTo>
                    <a:cubicBezTo>
                      <a:pt x="-382030" y="1955091"/>
                      <a:pt x="190216" y="2298408"/>
                      <a:pt x="238116" y="2690858"/>
                    </a:cubicBezTo>
                    <a:cubicBezTo>
                      <a:pt x="294422" y="3162909"/>
                      <a:pt x="16205" y="3569861"/>
                      <a:pt x="359985" y="3853863"/>
                    </a:cubicBezTo>
                    <a:cubicBezTo>
                      <a:pt x="635965" y="4081944"/>
                      <a:pt x="1362169" y="4746827"/>
                      <a:pt x="1752691" y="4776754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38" name="Freeform: Shape 1037">
                <a:extLst>
                  <a:ext uri="{FF2B5EF4-FFF2-40B4-BE49-F238E27FC236}">
                    <a16:creationId xmlns:a16="http://schemas.microsoft.com/office/drawing/2014/main" id="{F8D11613-E17B-36FD-42E2-208E30446414}"/>
                  </a:ext>
                </a:extLst>
              </p:cNvPr>
              <p:cNvSpPr/>
              <p:nvPr/>
            </p:nvSpPr>
            <p:spPr>
              <a:xfrm>
                <a:off x="4484173" y="1705758"/>
                <a:ext cx="3036493" cy="4605873"/>
              </a:xfrm>
              <a:custGeom>
                <a:avLst/>
                <a:gdLst>
                  <a:gd name="connsiteX0" fmla="*/ 1734082 w 3036493"/>
                  <a:gd name="connsiteY0" fmla="*/ 4601058 h 4605873"/>
                  <a:gd name="connsiteX1" fmla="*/ 2664764 w 3036493"/>
                  <a:gd name="connsiteY1" fmla="*/ 3753833 h 4605873"/>
                  <a:gd name="connsiteX2" fmla="*/ 2997591 w 3036493"/>
                  <a:gd name="connsiteY2" fmla="*/ 2499272 h 4605873"/>
                  <a:gd name="connsiteX3" fmla="*/ 2504559 w 3036493"/>
                  <a:gd name="connsiteY3" fmla="*/ 1097465 h 4605873"/>
                  <a:gd name="connsiteX4" fmla="*/ 1649930 w 3036493"/>
                  <a:gd name="connsiteY4" fmla="*/ 100 h 4605873"/>
                  <a:gd name="connsiteX5" fmla="*/ 449901 w 3036493"/>
                  <a:gd name="connsiteY5" fmla="*/ 1487524 h 4605873"/>
                  <a:gd name="connsiteX6" fmla="*/ 171221 w 3036493"/>
                  <a:gd name="connsiteY6" fmla="*/ 2663410 h 4605873"/>
                  <a:gd name="connsiteX7" fmla="*/ 311988 w 3036493"/>
                  <a:gd name="connsiteY7" fmla="*/ 3832586 h 4605873"/>
                  <a:gd name="connsiteX8" fmla="*/ 1734159 w 3036493"/>
                  <a:gd name="connsiteY8" fmla="*/ 4601135 h 46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36493" h="4605873">
                    <a:moveTo>
                      <a:pt x="1734082" y="4601058"/>
                    </a:moveTo>
                    <a:cubicBezTo>
                      <a:pt x="2177440" y="4664460"/>
                      <a:pt x="2384618" y="4086814"/>
                      <a:pt x="2664764" y="3753833"/>
                    </a:cubicBezTo>
                    <a:cubicBezTo>
                      <a:pt x="2906420" y="3466283"/>
                      <a:pt x="3128562" y="2867271"/>
                      <a:pt x="2997591" y="2499272"/>
                    </a:cubicBezTo>
                    <a:cubicBezTo>
                      <a:pt x="2840240" y="2056917"/>
                      <a:pt x="2841089" y="1377070"/>
                      <a:pt x="2504559" y="1097465"/>
                    </a:cubicBezTo>
                    <a:cubicBezTo>
                      <a:pt x="2217549" y="859048"/>
                      <a:pt x="2037290" y="-10699"/>
                      <a:pt x="1649930" y="100"/>
                    </a:cubicBezTo>
                    <a:cubicBezTo>
                      <a:pt x="1187597" y="12981"/>
                      <a:pt x="808491" y="1275410"/>
                      <a:pt x="449901" y="1487524"/>
                    </a:cubicBezTo>
                    <a:cubicBezTo>
                      <a:pt x="-320113" y="1942838"/>
                      <a:pt x="120622" y="2268337"/>
                      <a:pt x="171221" y="2663410"/>
                    </a:cubicBezTo>
                    <a:cubicBezTo>
                      <a:pt x="229996" y="3121963"/>
                      <a:pt x="-26007" y="3553212"/>
                      <a:pt x="311988" y="3832586"/>
                    </a:cubicBezTo>
                    <a:cubicBezTo>
                      <a:pt x="597533" y="4068688"/>
                      <a:pt x="1324122" y="4542514"/>
                      <a:pt x="1734159" y="4601135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40" name="Freeform: Shape 1039">
                <a:extLst>
                  <a:ext uri="{FF2B5EF4-FFF2-40B4-BE49-F238E27FC236}">
                    <a16:creationId xmlns:a16="http://schemas.microsoft.com/office/drawing/2014/main" id="{2672E3AD-70CF-0C49-2CD5-5AC8F5EE4540}"/>
                  </a:ext>
                </a:extLst>
              </p:cNvPr>
              <p:cNvSpPr/>
              <p:nvPr/>
            </p:nvSpPr>
            <p:spPr>
              <a:xfrm>
                <a:off x="4477865" y="1783678"/>
                <a:ext cx="3064583" cy="4435839"/>
              </a:xfrm>
              <a:custGeom>
                <a:avLst/>
                <a:gdLst>
                  <a:gd name="connsiteX0" fmla="*/ 1723421 w 3064583"/>
                  <a:gd name="connsiteY0" fmla="*/ 4425487 h 4435839"/>
                  <a:gd name="connsiteX1" fmla="*/ 2746122 w 3064583"/>
                  <a:gd name="connsiteY1" fmla="*/ 3695890 h 4435839"/>
                  <a:gd name="connsiteX2" fmla="*/ 3018400 w 3064583"/>
                  <a:gd name="connsiteY2" fmla="*/ 2414487 h 4435839"/>
                  <a:gd name="connsiteX3" fmla="*/ 2550822 w 3064583"/>
                  <a:gd name="connsiteY3" fmla="*/ 992240 h 4435839"/>
                  <a:gd name="connsiteX4" fmla="*/ 1587359 w 3064583"/>
                  <a:gd name="connsiteY4" fmla="*/ 315 h 4435839"/>
                  <a:gd name="connsiteX5" fmla="*/ 466700 w 3064583"/>
                  <a:gd name="connsiteY5" fmla="*/ 1427576 h 4435839"/>
                  <a:gd name="connsiteX6" fmla="*/ 112198 w 3064583"/>
                  <a:gd name="connsiteY6" fmla="*/ 2635935 h 4435839"/>
                  <a:gd name="connsiteX7" fmla="*/ 271940 w 3064583"/>
                  <a:gd name="connsiteY7" fmla="*/ 3811281 h 4435839"/>
                  <a:gd name="connsiteX8" fmla="*/ 1723498 w 3064583"/>
                  <a:gd name="connsiteY8" fmla="*/ 4425487 h 4435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64583" h="4435839">
                    <a:moveTo>
                      <a:pt x="1723421" y="4425487"/>
                    </a:moveTo>
                    <a:cubicBezTo>
                      <a:pt x="2146185" y="4513187"/>
                      <a:pt x="2470296" y="4024167"/>
                      <a:pt x="2746122" y="3695890"/>
                    </a:cubicBezTo>
                    <a:cubicBezTo>
                      <a:pt x="2995492" y="3398699"/>
                      <a:pt x="3145592" y="2790508"/>
                      <a:pt x="3018400" y="2414487"/>
                    </a:cubicBezTo>
                    <a:cubicBezTo>
                      <a:pt x="2872465" y="1983084"/>
                      <a:pt x="2881952" y="1267371"/>
                      <a:pt x="2550822" y="992240"/>
                    </a:cubicBezTo>
                    <a:cubicBezTo>
                      <a:pt x="2253785" y="745493"/>
                      <a:pt x="1981275" y="-17734"/>
                      <a:pt x="1587359" y="315"/>
                    </a:cubicBezTo>
                    <a:cubicBezTo>
                      <a:pt x="1138987" y="20832"/>
                      <a:pt x="794205" y="1197181"/>
                      <a:pt x="466700" y="1427576"/>
                    </a:cubicBezTo>
                    <a:cubicBezTo>
                      <a:pt x="-250479" y="1932100"/>
                      <a:pt x="58205" y="2238316"/>
                      <a:pt x="112198" y="2635935"/>
                    </a:cubicBezTo>
                    <a:cubicBezTo>
                      <a:pt x="172593" y="3081144"/>
                      <a:pt x="-60347" y="3536534"/>
                      <a:pt x="271940" y="3811281"/>
                    </a:cubicBezTo>
                    <a:cubicBezTo>
                      <a:pt x="566972" y="4055483"/>
                      <a:pt x="1293253" y="4336245"/>
                      <a:pt x="1723498" y="4425487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41" name="Freeform: Shape 1040">
                <a:extLst>
                  <a:ext uri="{FF2B5EF4-FFF2-40B4-BE49-F238E27FC236}">
                    <a16:creationId xmlns:a16="http://schemas.microsoft.com/office/drawing/2014/main" id="{929F8E88-658D-AAB1-1E96-0935A6260F75}"/>
                  </a:ext>
                </a:extLst>
              </p:cNvPr>
              <p:cNvSpPr/>
              <p:nvPr/>
            </p:nvSpPr>
            <p:spPr>
              <a:xfrm>
                <a:off x="4460130" y="1861400"/>
                <a:ext cx="3107969" cy="4268490"/>
              </a:xfrm>
              <a:custGeom>
                <a:avLst/>
                <a:gdLst>
                  <a:gd name="connsiteX0" fmla="*/ 1724263 w 3107969"/>
                  <a:gd name="connsiteY0" fmla="*/ 4250116 h 4268490"/>
                  <a:gd name="connsiteX1" fmla="*/ 2838983 w 3107969"/>
                  <a:gd name="connsiteY1" fmla="*/ 3638145 h 4268490"/>
                  <a:gd name="connsiteX2" fmla="*/ 3050712 w 3107969"/>
                  <a:gd name="connsiteY2" fmla="*/ 2329900 h 4268490"/>
                  <a:gd name="connsiteX3" fmla="*/ 2608666 w 3107969"/>
                  <a:gd name="connsiteY3" fmla="*/ 887212 h 4268490"/>
                  <a:gd name="connsiteX4" fmla="*/ 1536291 w 3107969"/>
                  <a:gd name="connsiteY4" fmla="*/ 728 h 4268490"/>
                  <a:gd name="connsiteX5" fmla="*/ 495001 w 3107969"/>
                  <a:gd name="connsiteY5" fmla="*/ 1367826 h 4268490"/>
                  <a:gd name="connsiteX6" fmla="*/ 64601 w 3107969"/>
                  <a:gd name="connsiteY6" fmla="*/ 2608657 h 4268490"/>
                  <a:gd name="connsiteX7" fmla="*/ 243317 w 3107969"/>
                  <a:gd name="connsiteY7" fmla="*/ 3790251 h 4268490"/>
                  <a:gd name="connsiteX8" fmla="*/ 1724340 w 3107969"/>
                  <a:gd name="connsiteY8" fmla="*/ 4250116 h 4268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07969" h="4268490">
                    <a:moveTo>
                      <a:pt x="1724263" y="4250116"/>
                    </a:moveTo>
                    <a:cubicBezTo>
                      <a:pt x="2126510" y="4359027"/>
                      <a:pt x="2567400" y="3961794"/>
                      <a:pt x="2838983" y="3638145"/>
                    </a:cubicBezTo>
                    <a:cubicBezTo>
                      <a:pt x="3096066" y="3331235"/>
                      <a:pt x="3173893" y="2714020"/>
                      <a:pt x="3050712" y="2329900"/>
                    </a:cubicBezTo>
                    <a:cubicBezTo>
                      <a:pt x="2915808" y="1909528"/>
                      <a:pt x="2934396" y="1157793"/>
                      <a:pt x="2608666" y="887212"/>
                    </a:cubicBezTo>
                    <a:cubicBezTo>
                      <a:pt x="2301601" y="632135"/>
                      <a:pt x="1936918" y="-24880"/>
                      <a:pt x="1536291" y="728"/>
                    </a:cubicBezTo>
                    <a:cubicBezTo>
                      <a:pt x="1101957" y="28496"/>
                      <a:pt x="791576" y="1119844"/>
                      <a:pt x="495001" y="1367826"/>
                    </a:cubicBezTo>
                    <a:cubicBezTo>
                      <a:pt x="-169265" y="1923180"/>
                      <a:pt x="7215" y="2208570"/>
                      <a:pt x="64601" y="2608657"/>
                    </a:cubicBezTo>
                    <a:cubicBezTo>
                      <a:pt x="126539" y="3040445"/>
                      <a:pt x="-83262" y="3520055"/>
                      <a:pt x="243317" y="3790251"/>
                    </a:cubicBezTo>
                    <a:cubicBezTo>
                      <a:pt x="547914" y="4042475"/>
                      <a:pt x="1273500" y="4128092"/>
                      <a:pt x="1724340" y="42501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43" name="Freeform: Shape 1042">
                <a:extLst>
                  <a:ext uri="{FF2B5EF4-FFF2-40B4-BE49-F238E27FC236}">
                    <a16:creationId xmlns:a16="http://schemas.microsoft.com/office/drawing/2014/main" id="{A80D2F80-08EF-AE3E-F6E0-539476F418C9}"/>
                  </a:ext>
                </a:extLst>
              </p:cNvPr>
              <p:cNvSpPr/>
              <p:nvPr/>
            </p:nvSpPr>
            <p:spPr>
              <a:xfrm>
                <a:off x="4426209" y="1938811"/>
                <a:ext cx="3173562" cy="4104897"/>
              </a:xfrm>
              <a:custGeom>
                <a:avLst/>
                <a:gdLst>
                  <a:gd name="connsiteX0" fmla="*/ 1741215 w 3173562"/>
                  <a:gd name="connsiteY0" fmla="*/ 4075055 h 4104897"/>
                  <a:gd name="connsiteX1" fmla="*/ 2947955 w 3173562"/>
                  <a:gd name="connsiteY1" fmla="*/ 3580712 h 4104897"/>
                  <a:gd name="connsiteX2" fmla="*/ 3099057 w 3173562"/>
                  <a:gd name="connsiteY2" fmla="*/ 2245625 h 4104897"/>
                  <a:gd name="connsiteX3" fmla="*/ 2682464 w 3173562"/>
                  <a:gd name="connsiteY3" fmla="*/ 782497 h 4104897"/>
                  <a:gd name="connsiteX4" fmla="*/ 1501255 w 3173562"/>
                  <a:gd name="connsiteY4" fmla="*/ 1452 h 4104897"/>
                  <a:gd name="connsiteX5" fmla="*/ 539335 w 3173562"/>
                  <a:gd name="connsiteY5" fmla="*/ 1308387 h 4104897"/>
                  <a:gd name="connsiteX6" fmla="*/ 33114 w 3173562"/>
                  <a:gd name="connsiteY6" fmla="*/ 2581691 h 4104897"/>
                  <a:gd name="connsiteX7" fmla="*/ 230727 w 3173562"/>
                  <a:gd name="connsiteY7" fmla="*/ 3769455 h 4104897"/>
                  <a:gd name="connsiteX8" fmla="*/ 1741215 w 3173562"/>
                  <a:gd name="connsiteY8" fmla="*/ 4074978 h 4104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73562" h="4104897">
                    <a:moveTo>
                      <a:pt x="1741215" y="4075055"/>
                    </a:moveTo>
                    <a:cubicBezTo>
                      <a:pt x="2123407" y="4202555"/>
                      <a:pt x="2680613" y="3899655"/>
                      <a:pt x="2947955" y="3580712"/>
                    </a:cubicBezTo>
                    <a:cubicBezTo>
                      <a:pt x="3212750" y="3264160"/>
                      <a:pt x="3218073" y="2637921"/>
                      <a:pt x="3099057" y="2245625"/>
                    </a:cubicBezTo>
                    <a:cubicBezTo>
                      <a:pt x="2974874" y="1836359"/>
                      <a:pt x="3002796" y="1048604"/>
                      <a:pt x="2682464" y="782497"/>
                    </a:cubicBezTo>
                    <a:cubicBezTo>
                      <a:pt x="2365449" y="519089"/>
                      <a:pt x="1908516" y="-31946"/>
                      <a:pt x="1501255" y="1452"/>
                    </a:cubicBezTo>
                    <a:cubicBezTo>
                      <a:pt x="1080960" y="36008"/>
                      <a:pt x="805288" y="1043668"/>
                      <a:pt x="539335" y="1308387"/>
                    </a:cubicBezTo>
                    <a:cubicBezTo>
                      <a:pt x="-71324" y="1916191"/>
                      <a:pt x="-27821" y="2179059"/>
                      <a:pt x="33114" y="2581691"/>
                    </a:cubicBezTo>
                    <a:cubicBezTo>
                      <a:pt x="96440" y="3000135"/>
                      <a:pt x="-90144" y="3503888"/>
                      <a:pt x="230727" y="3769455"/>
                    </a:cubicBezTo>
                    <a:cubicBezTo>
                      <a:pt x="544811" y="4029701"/>
                      <a:pt x="1270089" y="3917782"/>
                      <a:pt x="1741215" y="4074978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45" name="Freeform: Shape 1044">
                <a:extLst>
                  <a:ext uri="{FF2B5EF4-FFF2-40B4-BE49-F238E27FC236}">
                    <a16:creationId xmlns:a16="http://schemas.microsoft.com/office/drawing/2014/main" id="{995ED6C7-3C07-12A5-4380-5CA6E7B52B9C}"/>
                  </a:ext>
                </a:extLst>
              </p:cNvPr>
              <p:cNvSpPr/>
              <p:nvPr/>
            </p:nvSpPr>
            <p:spPr>
              <a:xfrm>
                <a:off x="4376099" y="2015664"/>
                <a:ext cx="3263713" cy="3947335"/>
              </a:xfrm>
              <a:custGeom>
                <a:avLst/>
                <a:gdLst>
                  <a:gd name="connsiteX0" fmla="*/ 1774433 w 3263713"/>
                  <a:gd name="connsiteY0" fmla="*/ 3900552 h 3947335"/>
                  <a:gd name="connsiteX1" fmla="*/ 3073192 w 3263713"/>
                  <a:gd name="connsiteY1" fmla="*/ 3523836 h 3947335"/>
                  <a:gd name="connsiteX2" fmla="*/ 3163745 w 3263713"/>
                  <a:gd name="connsiteY2" fmla="*/ 2161907 h 3947335"/>
                  <a:gd name="connsiteX3" fmla="*/ 2772683 w 3263713"/>
                  <a:gd name="connsiteY3" fmla="*/ 678262 h 3947335"/>
                  <a:gd name="connsiteX4" fmla="*/ 1482563 w 3263713"/>
                  <a:gd name="connsiteY4" fmla="*/ 2735 h 3947335"/>
                  <a:gd name="connsiteX5" fmla="*/ 600012 w 3263713"/>
                  <a:gd name="connsiteY5" fmla="*/ 1249583 h 3947335"/>
                  <a:gd name="connsiteX6" fmla="*/ 17970 w 3263713"/>
                  <a:gd name="connsiteY6" fmla="*/ 2555437 h 3947335"/>
                  <a:gd name="connsiteX7" fmla="*/ 234558 w 3263713"/>
                  <a:gd name="connsiteY7" fmla="*/ 3749449 h 3947335"/>
                  <a:gd name="connsiteX8" fmla="*/ 1774433 w 3263713"/>
                  <a:gd name="connsiteY8" fmla="*/ 3900629 h 394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3713" h="3947335">
                    <a:moveTo>
                      <a:pt x="1774433" y="3900552"/>
                    </a:moveTo>
                    <a:cubicBezTo>
                      <a:pt x="2137188" y="4044635"/>
                      <a:pt x="2810169" y="3838151"/>
                      <a:pt x="3073192" y="3523836"/>
                    </a:cubicBezTo>
                    <a:cubicBezTo>
                      <a:pt x="3345701" y="3197643"/>
                      <a:pt x="3278210" y="2562533"/>
                      <a:pt x="3163745" y="2161907"/>
                    </a:cubicBezTo>
                    <a:cubicBezTo>
                      <a:pt x="3049975" y="1763902"/>
                      <a:pt x="3087538" y="939895"/>
                      <a:pt x="2772683" y="678262"/>
                    </a:cubicBezTo>
                    <a:cubicBezTo>
                      <a:pt x="2445641" y="406524"/>
                      <a:pt x="1896534" y="-38994"/>
                      <a:pt x="1482563" y="2735"/>
                    </a:cubicBezTo>
                    <a:cubicBezTo>
                      <a:pt x="1068593" y="44463"/>
                      <a:pt x="835884" y="968666"/>
                      <a:pt x="600012" y="1249583"/>
                    </a:cubicBezTo>
                    <a:cubicBezTo>
                      <a:pt x="44118" y="1911380"/>
                      <a:pt x="-46590" y="2150260"/>
                      <a:pt x="17970" y="2555437"/>
                    </a:cubicBezTo>
                    <a:cubicBezTo>
                      <a:pt x="82530" y="2960460"/>
                      <a:pt x="-80606" y="3488355"/>
                      <a:pt x="234558" y="3749449"/>
                    </a:cubicBezTo>
                    <a:cubicBezTo>
                      <a:pt x="558206" y="4017716"/>
                      <a:pt x="1283870" y="3705792"/>
                      <a:pt x="1774433" y="390062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46" name="Freeform: Shape 1045">
                <a:extLst>
                  <a:ext uri="{FF2B5EF4-FFF2-40B4-BE49-F238E27FC236}">
                    <a16:creationId xmlns:a16="http://schemas.microsoft.com/office/drawing/2014/main" id="{73CDB8E8-D713-CD90-7827-3FB6DD0466CA}"/>
                  </a:ext>
                </a:extLst>
              </p:cNvPr>
              <p:cNvSpPr/>
              <p:nvPr/>
            </p:nvSpPr>
            <p:spPr>
              <a:xfrm>
                <a:off x="4316854" y="2091550"/>
                <a:ext cx="3371549" cy="3814147"/>
              </a:xfrm>
              <a:custGeom>
                <a:avLst/>
                <a:gdLst>
                  <a:gd name="connsiteX0" fmla="*/ 1816709 w 3371549"/>
                  <a:gd name="connsiteY0" fmla="*/ 3727016 h 3814147"/>
                  <a:gd name="connsiteX1" fmla="*/ 3207564 w 3371549"/>
                  <a:gd name="connsiteY1" fmla="*/ 3467928 h 3814147"/>
                  <a:gd name="connsiteX2" fmla="*/ 3237568 w 3371549"/>
                  <a:gd name="connsiteY2" fmla="*/ 2079156 h 3814147"/>
                  <a:gd name="connsiteX3" fmla="*/ 2871960 w 3371549"/>
                  <a:gd name="connsiteY3" fmla="*/ 575071 h 3814147"/>
                  <a:gd name="connsiteX4" fmla="*/ 1473006 w 3371549"/>
                  <a:gd name="connsiteY4" fmla="*/ 4984 h 3814147"/>
                  <a:gd name="connsiteX5" fmla="*/ 669824 w 3371549"/>
                  <a:gd name="connsiteY5" fmla="*/ 1191668 h 3814147"/>
                  <a:gd name="connsiteX6" fmla="*/ 11883 w 3371549"/>
                  <a:gd name="connsiteY6" fmla="*/ 2529996 h 3814147"/>
                  <a:gd name="connsiteX7" fmla="*/ 247369 w 3371549"/>
                  <a:gd name="connsiteY7" fmla="*/ 3730178 h 3814147"/>
                  <a:gd name="connsiteX8" fmla="*/ 1816709 w 3371549"/>
                  <a:gd name="connsiteY8" fmla="*/ 3727016 h 3814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1549" h="3814147">
                    <a:moveTo>
                      <a:pt x="1816709" y="3727016"/>
                    </a:moveTo>
                    <a:cubicBezTo>
                      <a:pt x="2160874" y="3886063"/>
                      <a:pt x="2948707" y="3777615"/>
                      <a:pt x="3207564" y="3467928"/>
                    </a:cubicBezTo>
                    <a:cubicBezTo>
                      <a:pt x="3487786" y="3132092"/>
                      <a:pt x="3347173" y="2488190"/>
                      <a:pt x="3237568" y="2079156"/>
                    </a:cubicBezTo>
                    <a:cubicBezTo>
                      <a:pt x="3133902" y="1692567"/>
                      <a:pt x="3181416" y="832231"/>
                      <a:pt x="2871960" y="575071"/>
                    </a:cubicBezTo>
                    <a:cubicBezTo>
                      <a:pt x="2534890" y="295002"/>
                      <a:pt x="1893533" y="-45307"/>
                      <a:pt x="1473006" y="4984"/>
                    </a:cubicBezTo>
                    <a:cubicBezTo>
                      <a:pt x="1080710" y="51880"/>
                      <a:pt x="876308" y="895248"/>
                      <a:pt x="669824" y="1191668"/>
                    </a:cubicBezTo>
                    <a:cubicBezTo>
                      <a:pt x="170313" y="1908693"/>
                      <a:pt x="-56379" y="2122427"/>
                      <a:pt x="11883" y="2529996"/>
                    </a:cubicBezTo>
                    <a:cubicBezTo>
                      <a:pt x="80145" y="2937564"/>
                      <a:pt x="-62010" y="3473713"/>
                      <a:pt x="247369" y="3730178"/>
                    </a:cubicBezTo>
                    <a:cubicBezTo>
                      <a:pt x="580505" y="4006544"/>
                      <a:pt x="1307942" y="3491916"/>
                      <a:pt x="1816709" y="3727016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47" name="Freeform: Shape 1046">
                <a:extLst>
                  <a:ext uri="{FF2B5EF4-FFF2-40B4-BE49-F238E27FC236}">
                    <a16:creationId xmlns:a16="http://schemas.microsoft.com/office/drawing/2014/main" id="{4759CD44-B3DC-65A0-879E-1CC263F8002E}"/>
                  </a:ext>
                </a:extLst>
              </p:cNvPr>
              <p:cNvSpPr/>
              <p:nvPr/>
            </p:nvSpPr>
            <p:spPr>
              <a:xfrm>
                <a:off x="4254170" y="2165535"/>
                <a:ext cx="3489733" cy="3780696"/>
              </a:xfrm>
              <a:custGeom>
                <a:avLst/>
                <a:gdLst>
                  <a:gd name="connsiteX0" fmla="*/ 1862424 w 3489733"/>
                  <a:gd name="connsiteY0" fmla="*/ 3555381 h 3780696"/>
                  <a:gd name="connsiteX1" fmla="*/ 3345298 w 3489733"/>
                  <a:gd name="connsiteY1" fmla="*/ 3413920 h 3780696"/>
                  <a:gd name="connsiteX2" fmla="*/ 3314677 w 3489733"/>
                  <a:gd name="connsiteY2" fmla="*/ 1998383 h 3780696"/>
                  <a:gd name="connsiteX3" fmla="*/ 2974599 w 3489733"/>
                  <a:gd name="connsiteY3" fmla="*/ 473858 h 3780696"/>
                  <a:gd name="connsiteX4" fmla="*/ 1466734 w 3489733"/>
                  <a:gd name="connsiteY4" fmla="*/ 9211 h 3780696"/>
                  <a:gd name="connsiteX5" fmla="*/ 742922 w 3489733"/>
                  <a:gd name="connsiteY5" fmla="*/ 1135733 h 3780696"/>
                  <a:gd name="connsiteX6" fmla="*/ 9159 w 3489733"/>
                  <a:gd name="connsiteY6" fmla="*/ 2506532 h 3780696"/>
                  <a:gd name="connsiteX7" fmla="*/ 263620 w 3489733"/>
                  <a:gd name="connsiteY7" fmla="*/ 3712886 h 3780696"/>
                  <a:gd name="connsiteX8" fmla="*/ 1862424 w 3489733"/>
                  <a:gd name="connsiteY8" fmla="*/ 3555381 h 3780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9733" h="3780696">
                    <a:moveTo>
                      <a:pt x="1862424" y="3555381"/>
                    </a:moveTo>
                    <a:cubicBezTo>
                      <a:pt x="2188927" y="3728158"/>
                      <a:pt x="3090761" y="3718902"/>
                      <a:pt x="3345298" y="3413920"/>
                    </a:cubicBezTo>
                    <a:cubicBezTo>
                      <a:pt x="3633311" y="3068443"/>
                      <a:pt x="3419114" y="2415825"/>
                      <a:pt x="3314677" y="1998383"/>
                    </a:cubicBezTo>
                    <a:cubicBezTo>
                      <a:pt x="3220807" y="1623210"/>
                      <a:pt x="3278656" y="726467"/>
                      <a:pt x="2974599" y="473858"/>
                    </a:cubicBezTo>
                    <a:cubicBezTo>
                      <a:pt x="2627580" y="185459"/>
                      <a:pt x="1893894" y="-50104"/>
                      <a:pt x="1466734" y="9211"/>
                    </a:cubicBezTo>
                    <a:cubicBezTo>
                      <a:pt x="1088321" y="61816"/>
                      <a:pt x="920789" y="824040"/>
                      <a:pt x="742922" y="1135733"/>
                    </a:cubicBezTo>
                    <a:cubicBezTo>
                      <a:pt x="301800" y="1908755"/>
                      <a:pt x="-63037" y="2096496"/>
                      <a:pt x="9159" y="2506532"/>
                    </a:cubicBezTo>
                    <a:cubicBezTo>
                      <a:pt x="75802" y="2884945"/>
                      <a:pt x="-40051" y="3461048"/>
                      <a:pt x="263620" y="3712886"/>
                    </a:cubicBezTo>
                    <a:cubicBezTo>
                      <a:pt x="606320" y="3997273"/>
                      <a:pt x="1337228" y="3277473"/>
                      <a:pt x="1862424" y="355538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48" name="Freeform: Shape 1047">
                <a:extLst>
                  <a:ext uri="{FF2B5EF4-FFF2-40B4-BE49-F238E27FC236}">
                    <a16:creationId xmlns:a16="http://schemas.microsoft.com/office/drawing/2014/main" id="{B55B1FFF-DB75-A23D-0414-1E3BC17000C1}"/>
                  </a:ext>
                </a:extLst>
              </p:cNvPr>
              <p:cNvSpPr/>
              <p:nvPr/>
            </p:nvSpPr>
            <p:spPr>
              <a:xfrm>
                <a:off x="4190357" y="2234963"/>
                <a:ext cx="3614123" cy="3758010"/>
              </a:xfrm>
              <a:custGeom>
                <a:avLst/>
                <a:gdLst>
                  <a:gd name="connsiteX0" fmla="*/ 1909345 w 3614123"/>
                  <a:gd name="connsiteY0" fmla="*/ 3388303 h 3758010"/>
                  <a:gd name="connsiteX1" fmla="*/ 3484238 w 3614123"/>
                  <a:gd name="connsiteY1" fmla="*/ 3364469 h 3758010"/>
                  <a:gd name="connsiteX2" fmla="*/ 3393067 w 3614123"/>
                  <a:gd name="connsiteY2" fmla="*/ 1922090 h 3758010"/>
                  <a:gd name="connsiteX3" fmla="*/ 3078443 w 3614123"/>
                  <a:gd name="connsiteY3" fmla="*/ 377125 h 3758010"/>
                  <a:gd name="connsiteX4" fmla="*/ 1461744 w 3614123"/>
                  <a:gd name="connsiteY4" fmla="*/ 17919 h 3758010"/>
                  <a:gd name="connsiteX5" fmla="*/ 817301 w 3614123"/>
                  <a:gd name="connsiteY5" fmla="*/ 1084276 h 3758010"/>
                  <a:gd name="connsiteX6" fmla="*/ 7718 w 3614123"/>
                  <a:gd name="connsiteY6" fmla="*/ 2487549 h 3758010"/>
                  <a:gd name="connsiteX7" fmla="*/ 281153 w 3614123"/>
                  <a:gd name="connsiteY7" fmla="*/ 3700150 h 3758010"/>
                  <a:gd name="connsiteX8" fmla="*/ 1909345 w 3614123"/>
                  <a:gd name="connsiteY8" fmla="*/ 3388303 h 3758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14123" h="3758010">
                    <a:moveTo>
                      <a:pt x="1909345" y="3388303"/>
                    </a:moveTo>
                    <a:cubicBezTo>
                      <a:pt x="2219418" y="3574116"/>
                      <a:pt x="3233943" y="3664824"/>
                      <a:pt x="3484238" y="3364469"/>
                    </a:cubicBezTo>
                    <a:cubicBezTo>
                      <a:pt x="3779964" y="3009351"/>
                      <a:pt x="3491874" y="2348094"/>
                      <a:pt x="3393067" y="1922090"/>
                    </a:cubicBezTo>
                    <a:cubicBezTo>
                      <a:pt x="3308684" y="1558333"/>
                      <a:pt x="3377101" y="625260"/>
                      <a:pt x="3078443" y="377125"/>
                    </a:cubicBezTo>
                    <a:cubicBezTo>
                      <a:pt x="2721397" y="80473"/>
                      <a:pt x="1895307" y="-50884"/>
                      <a:pt x="1461744" y="17919"/>
                    </a:cubicBezTo>
                    <a:cubicBezTo>
                      <a:pt x="1097138" y="75845"/>
                      <a:pt x="967324" y="757388"/>
                      <a:pt x="817301" y="1084276"/>
                    </a:cubicBezTo>
                    <a:cubicBezTo>
                      <a:pt x="436652" y="1913683"/>
                      <a:pt x="-68566" y="2075121"/>
                      <a:pt x="7718" y="2487549"/>
                    </a:cubicBezTo>
                    <a:cubicBezTo>
                      <a:pt x="75286" y="2852695"/>
                      <a:pt x="-16810" y="3452863"/>
                      <a:pt x="281153" y="3700150"/>
                    </a:cubicBezTo>
                    <a:cubicBezTo>
                      <a:pt x="633340" y="3992560"/>
                      <a:pt x="1370034" y="3065041"/>
                      <a:pt x="1909345" y="3388303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49" name="Freeform: Shape 1048">
                <a:extLst>
                  <a:ext uri="{FF2B5EF4-FFF2-40B4-BE49-F238E27FC236}">
                    <a16:creationId xmlns:a16="http://schemas.microsoft.com/office/drawing/2014/main" id="{9D53D59B-614C-6ADD-0812-89B8451C3553}"/>
                  </a:ext>
                </a:extLst>
              </p:cNvPr>
              <p:cNvSpPr/>
              <p:nvPr/>
            </p:nvSpPr>
            <p:spPr>
              <a:xfrm>
                <a:off x="4125770" y="2293347"/>
                <a:ext cx="3742715" cy="3749606"/>
              </a:xfrm>
              <a:custGeom>
                <a:avLst/>
                <a:gdLst>
                  <a:gd name="connsiteX0" fmla="*/ 1956963 w 3742715"/>
                  <a:gd name="connsiteY0" fmla="*/ 3232269 h 3749606"/>
                  <a:gd name="connsiteX1" fmla="*/ 3623876 w 3742715"/>
                  <a:gd name="connsiteY1" fmla="*/ 3326063 h 3749606"/>
                  <a:gd name="connsiteX2" fmla="*/ 3472155 w 3742715"/>
                  <a:gd name="connsiteY2" fmla="*/ 1856842 h 3749606"/>
                  <a:gd name="connsiteX3" fmla="*/ 3183063 w 3742715"/>
                  <a:gd name="connsiteY3" fmla="*/ 291359 h 3749606"/>
                  <a:gd name="connsiteX4" fmla="*/ 1457529 w 3742715"/>
                  <a:gd name="connsiteY4" fmla="*/ 37593 h 3749606"/>
                  <a:gd name="connsiteX5" fmla="*/ 892456 w 3742715"/>
                  <a:gd name="connsiteY5" fmla="*/ 1043864 h 3749606"/>
                  <a:gd name="connsiteX6" fmla="*/ 6974 w 3742715"/>
                  <a:gd name="connsiteY6" fmla="*/ 2479687 h 3749606"/>
                  <a:gd name="connsiteX7" fmla="*/ 299306 w 3742715"/>
                  <a:gd name="connsiteY7" fmla="*/ 3698459 h 3749606"/>
                  <a:gd name="connsiteX8" fmla="*/ 1956963 w 3742715"/>
                  <a:gd name="connsiteY8" fmla="*/ 3232269 h 3749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42715" h="3749606">
                    <a:moveTo>
                      <a:pt x="1956963" y="3232269"/>
                    </a:moveTo>
                    <a:cubicBezTo>
                      <a:pt x="2251687" y="3430655"/>
                      <a:pt x="3377822" y="3621712"/>
                      <a:pt x="3623876" y="3326063"/>
                    </a:cubicBezTo>
                    <a:cubicBezTo>
                      <a:pt x="3927315" y="2961226"/>
                      <a:pt x="3564869" y="2291484"/>
                      <a:pt x="3472155" y="1856842"/>
                    </a:cubicBezTo>
                    <a:cubicBezTo>
                      <a:pt x="3397028" y="1504577"/>
                      <a:pt x="3476244" y="535021"/>
                      <a:pt x="3183063" y="291359"/>
                    </a:cubicBezTo>
                    <a:cubicBezTo>
                      <a:pt x="2815989" y="-13623"/>
                      <a:pt x="1897339" y="-41237"/>
                      <a:pt x="1457529" y="37593"/>
                    </a:cubicBezTo>
                    <a:cubicBezTo>
                      <a:pt x="1106653" y="100533"/>
                      <a:pt x="1015405" y="701550"/>
                      <a:pt x="892456" y="1043864"/>
                    </a:cubicBezTo>
                    <a:cubicBezTo>
                      <a:pt x="574361" y="1929346"/>
                      <a:pt x="-74247" y="2064945"/>
                      <a:pt x="6974" y="2479687"/>
                    </a:cubicBezTo>
                    <a:cubicBezTo>
                      <a:pt x="74696" y="2831643"/>
                      <a:pt x="7128" y="3455800"/>
                      <a:pt x="299306" y="3698459"/>
                    </a:cubicBezTo>
                    <a:cubicBezTo>
                      <a:pt x="661058" y="3998967"/>
                      <a:pt x="1405928" y="2861262"/>
                      <a:pt x="1956963" y="3232269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  <p:sp>
            <p:nvSpPr>
              <p:cNvPr id="1050" name="Freeform: Shape 1049">
                <a:extLst>
                  <a:ext uri="{FF2B5EF4-FFF2-40B4-BE49-F238E27FC236}">
                    <a16:creationId xmlns:a16="http://schemas.microsoft.com/office/drawing/2014/main" id="{15D311B9-0A8E-1F22-9D95-D3A04501F658}"/>
                  </a:ext>
                </a:extLst>
              </p:cNvPr>
              <p:cNvSpPr/>
              <p:nvPr/>
            </p:nvSpPr>
            <p:spPr>
              <a:xfrm>
                <a:off x="4061078" y="2330966"/>
                <a:ext cx="3873961" cy="3763840"/>
              </a:xfrm>
              <a:custGeom>
                <a:avLst/>
                <a:gdLst>
                  <a:gd name="connsiteX0" fmla="*/ 3763695 w 3873961"/>
                  <a:gd name="connsiteY0" fmla="*/ 3308421 h 3763840"/>
                  <a:gd name="connsiteX1" fmla="*/ 3551425 w 3873961"/>
                  <a:gd name="connsiteY1" fmla="*/ 1812358 h 3763840"/>
                  <a:gd name="connsiteX2" fmla="*/ 3287786 w 3873961"/>
                  <a:gd name="connsiteY2" fmla="*/ 226435 h 3763840"/>
                  <a:gd name="connsiteX3" fmla="*/ 1453342 w 3873961"/>
                  <a:gd name="connsiteY3" fmla="*/ 78186 h 3763840"/>
                  <a:gd name="connsiteX4" fmla="*/ 967638 w 3873961"/>
                  <a:gd name="connsiteY4" fmla="*/ 1024294 h 3763840"/>
                  <a:gd name="connsiteX5" fmla="*/ 6334 w 3873961"/>
                  <a:gd name="connsiteY5" fmla="*/ 2492590 h 3763840"/>
                  <a:gd name="connsiteX6" fmla="*/ 317642 w 3873961"/>
                  <a:gd name="connsiteY6" fmla="*/ 3717532 h 3763840"/>
                  <a:gd name="connsiteX7" fmla="*/ 2004763 w 3873961"/>
                  <a:gd name="connsiteY7" fmla="*/ 3096923 h 3763840"/>
                  <a:gd name="connsiteX8" fmla="*/ 3763772 w 3873961"/>
                  <a:gd name="connsiteY8" fmla="*/ 3308421 h 3763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73961" h="3763840">
                    <a:moveTo>
                      <a:pt x="3763695" y="3308421"/>
                    </a:moveTo>
                    <a:cubicBezTo>
                      <a:pt x="4074847" y="2933942"/>
                      <a:pt x="3637583" y="2255716"/>
                      <a:pt x="3551425" y="1812358"/>
                    </a:cubicBezTo>
                    <a:cubicBezTo>
                      <a:pt x="3485169" y="1471586"/>
                      <a:pt x="3575568" y="465623"/>
                      <a:pt x="3287786" y="226435"/>
                    </a:cubicBezTo>
                    <a:cubicBezTo>
                      <a:pt x="2910685" y="-86878"/>
                      <a:pt x="1899323" y="-11288"/>
                      <a:pt x="1453342" y="78186"/>
                    </a:cubicBezTo>
                    <a:cubicBezTo>
                      <a:pt x="1116041" y="145831"/>
                      <a:pt x="1064131" y="666245"/>
                      <a:pt x="967638" y="1024294"/>
                    </a:cubicBezTo>
                    <a:cubicBezTo>
                      <a:pt x="714026" y="1965311"/>
                      <a:pt x="-78589" y="2075380"/>
                      <a:pt x="6334" y="2492590"/>
                    </a:cubicBezTo>
                    <a:cubicBezTo>
                      <a:pt x="75291" y="2831202"/>
                      <a:pt x="31094" y="3479501"/>
                      <a:pt x="317642" y="3717532"/>
                    </a:cubicBezTo>
                    <a:cubicBezTo>
                      <a:pt x="688958" y="4026062"/>
                      <a:pt x="1444780" y="2676242"/>
                      <a:pt x="2004763" y="3096923"/>
                    </a:cubicBezTo>
                    <a:cubicBezTo>
                      <a:pt x="2285294" y="3307727"/>
                      <a:pt x="3521961" y="3599365"/>
                      <a:pt x="3763772" y="3308421"/>
                    </a:cubicBezTo>
                    <a:close/>
                  </a:path>
                </a:pathLst>
              </a:custGeom>
              <a:ln w="3175" cap="flat">
                <a:gradFill>
                  <a:gsLst>
                    <a:gs pos="25000">
                      <a:srgbClr val="0078D4">
                        <a:alpha val="0"/>
                      </a:srgbClr>
                    </a:gs>
                    <a:gs pos="75000">
                      <a:srgbClr val="0078D4">
                        <a:alpha val="0"/>
                      </a:srgbClr>
                    </a:gs>
                    <a:gs pos="50000">
                      <a:srgbClr val="0078D4">
                        <a:alpha val="50000"/>
                      </a:srgbClr>
                    </a:gs>
                    <a:gs pos="0">
                      <a:srgbClr val="49C4B1">
                        <a:lumMod val="60000"/>
                        <a:lumOff val="40000"/>
                      </a:srgbClr>
                    </a:gs>
                    <a:gs pos="100000">
                      <a:srgbClr val="0078D4">
                        <a:alpha val="47000"/>
                      </a:srgbClr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</p:grpSp>
      <p:sp>
        <p:nvSpPr>
          <p:cNvPr id="90" name="Rectangle: Rounded Corners 4">
            <a:extLst>
              <a:ext uri="{FF2B5EF4-FFF2-40B4-BE49-F238E27FC236}">
                <a16:creationId xmlns:a16="http://schemas.microsoft.com/office/drawing/2014/main" id="{72A76BAE-FDD7-E6C4-7783-67B25BA50F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 rot="10800000">
            <a:off x="7108854" y="1126336"/>
            <a:ext cx="2216415" cy="4897977"/>
          </a:xfrm>
          <a:prstGeom prst="roundRect">
            <a:avLst>
              <a:gd name="adj" fmla="val 11776"/>
            </a:avLst>
          </a:prstGeom>
          <a:solidFill>
            <a:schemeClr val="tx2">
              <a:lumMod val="25000"/>
              <a:lumOff val="75000"/>
              <a:alpha val="2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635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F3965C42-AD95-4885-656D-15BBF12C2FEA}"/>
              </a:ext>
            </a:extLst>
          </p:cNvPr>
          <p:cNvSpPr txBox="1">
            <a:spLocks/>
          </p:cNvSpPr>
          <p:nvPr/>
        </p:nvSpPr>
        <p:spPr>
          <a:xfrm>
            <a:off x="780620" y="71978"/>
            <a:ext cx="11018520" cy="861774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900" dirty="0">
                <a:solidFill>
                  <a:srgbClr val="8661C5"/>
                </a:solidFill>
              </a:rPr>
              <a:t>Multi-Agent Agentic RAG System</a:t>
            </a:r>
            <a:br>
              <a:rPr lang="en-US" dirty="0"/>
            </a:br>
            <a:r>
              <a:rPr lang="en-US" sz="2000" dirty="0">
                <a:latin typeface="+mn-lt"/>
              </a:rPr>
              <a:t>R+D Intelligent Assistant (w/ Sematic Kernel)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8B796DA-8813-39F7-5705-CF779D75B90E}"/>
              </a:ext>
            </a:extLst>
          </p:cNvPr>
          <p:cNvSpPr/>
          <p:nvPr/>
        </p:nvSpPr>
        <p:spPr>
          <a:xfrm>
            <a:off x="7520877" y="4693467"/>
            <a:ext cx="1363960" cy="824270"/>
          </a:xfrm>
          <a:prstGeom prst="round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190500" dist="38100" dir="2700000" algn="tl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72000" tIns="146304" rIns="18288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endParaRPr kumimoji="0" lang="en-CA" sz="10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3495B15-A4CB-595C-BB22-AD8A11B91B1A}"/>
              </a:ext>
            </a:extLst>
          </p:cNvPr>
          <p:cNvGrpSpPr/>
          <p:nvPr/>
        </p:nvGrpSpPr>
        <p:grpSpPr>
          <a:xfrm>
            <a:off x="7525137" y="4468231"/>
            <a:ext cx="1532689" cy="326669"/>
            <a:chOff x="1011594" y="1491259"/>
            <a:chExt cx="2359118" cy="502809"/>
          </a:xfrm>
        </p:grpSpPr>
        <p:sp>
          <p:nvSpPr>
            <p:cNvPr id="7" name="!! purple box">
              <a:extLst>
                <a:ext uri="{FF2B5EF4-FFF2-40B4-BE49-F238E27FC236}">
                  <a16:creationId xmlns:a16="http://schemas.microsoft.com/office/drawing/2014/main" id="{5C779A9C-007A-294A-EE59-87B4DD67F16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011594" y="1491259"/>
              <a:ext cx="2099411" cy="502809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146304" rIns="18288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766A073-3E5F-0951-978A-310268329F4C}"/>
                </a:ext>
              </a:extLst>
            </p:cNvPr>
            <p:cNvSpPr txBox="1"/>
            <p:nvPr/>
          </p:nvSpPr>
          <p:spPr>
            <a:xfrm>
              <a:off x="1039006" y="1554482"/>
              <a:ext cx="2331706" cy="40267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 Web Retriever</a:t>
              </a: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99BCA94-C367-7533-3651-1F317AD98A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lum bright="70000" contrast="-70000"/>
            </a:blip>
            <a:stretch>
              <a:fillRect/>
            </a:stretch>
          </p:blipFill>
          <p:spPr>
            <a:xfrm>
              <a:off x="1181830" y="1588089"/>
              <a:ext cx="306883" cy="306883"/>
            </a:xfrm>
            <a:prstGeom prst="rect">
              <a:avLst/>
            </a:prstGeom>
          </p:spPr>
        </p:pic>
      </p:grpSp>
      <p:sp>
        <p:nvSpPr>
          <p:cNvPr id="12" name="!! Purple box">
            <a:extLst>
              <a:ext uri="{FF2B5EF4-FFF2-40B4-BE49-F238E27FC236}">
                <a16:creationId xmlns:a16="http://schemas.microsoft.com/office/drawing/2014/main" id="{F45AB870-3737-B83A-54DD-B06E0F5DE68C}"/>
              </a:ext>
            </a:extLst>
          </p:cNvPr>
          <p:cNvSpPr txBox="1"/>
          <p:nvPr/>
        </p:nvSpPr>
        <p:spPr>
          <a:xfrm>
            <a:off x="1748229" y="2881612"/>
            <a:ext cx="1115964" cy="367229"/>
          </a:xfrm>
          <a:prstGeom prst="roundRect">
            <a:avLst>
              <a:gd name="adj" fmla="val 16667"/>
            </a:avLst>
          </a:prstGeom>
          <a:solidFill>
            <a:srgbClr val="8661C5"/>
          </a:solidFill>
          <a:ln w="15875">
            <a:noFill/>
            <a:headEnd type="none" w="med" len="med"/>
            <a:tailEnd type="none" w="med" len="med"/>
          </a:ln>
          <a:effectLst>
            <a:outerShdw blurRad="101600" dist="1270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72000" rIns="179285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14102" fontAlgn="base">
              <a:spcBef>
                <a:spcPct val="0"/>
              </a:spcBef>
              <a:spcAft>
                <a:spcPct val="0"/>
              </a:spcAft>
              <a:defRPr sz="196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1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Sans Text Semibold"/>
                <a:ea typeface="+mn-ea"/>
                <a:cs typeface="Segoe UI" pitchFamily="34" charset="0"/>
              </a:rPr>
              <a:t>Search Query</a:t>
            </a:r>
          </a:p>
        </p:txBody>
      </p:sp>
      <p:sp>
        <p:nvSpPr>
          <p:cNvPr id="16" name="Rectangle: Rounded Corners 2">
            <a:extLst>
              <a:ext uri="{FF2B5EF4-FFF2-40B4-BE49-F238E27FC236}">
                <a16:creationId xmlns:a16="http://schemas.microsoft.com/office/drawing/2014/main" id="{AF67B86F-D65C-C04A-56BF-85687B6B5577}"/>
              </a:ext>
            </a:extLst>
          </p:cNvPr>
          <p:cNvSpPr/>
          <p:nvPr/>
        </p:nvSpPr>
        <p:spPr>
          <a:xfrm>
            <a:off x="7518096" y="1659309"/>
            <a:ext cx="1363960" cy="934116"/>
          </a:xfrm>
          <a:prstGeom prst="round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190500" dist="38100" dir="2700000" algn="tl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72000" tIns="146304" rIns="18288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endParaRPr kumimoji="0" lang="en-CA" sz="10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2CAA2DC-D637-DC9A-632F-5686E4B1786C}"/>
              </a:ext>
            </a:extLst>
          </p:cNvPr>
          <p:cNvGrpSpPr/>
          <p:nvPr/>
        </p:nvGrpSpPr>
        <p:grpSpPr>
          <a:xfrm>
            <a:off x="7518095" y="1472875"/>
            <a:ext cx="1514880" cy="430887"/>
            <a:chOff x="1011592" y="1429831"/>
            <a:chExt cx="2331706" cy="663221"/>
          </a:xfrm>
        </p:grpSpPr>
        <p:sp>
          <p:nvSpPr>
            <p:cNvPr id="18" name="!! purple box">
              <a:extLst>
                <a:ext uri="{FF2B5EF4-FFF2-40B4-BE49-F238E27FC236}">
                  <a16:creationId xmlns:a16="http://schemas.microsoft.com/office/drawing/2014/main" id="{2AC623A9-29A3-4EAA-22DF-EF5035075AD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011594" y="1491259"/>
              <a:ext cx="2099411" cy="502809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FB9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146304" rIns="18288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D8D7BC2-597C-D35E-1C6C-F76315FEC630}"/>
                </a:ext>
              </a:extLst>
            </p:cNvPr>
            <p:cNvSpPr txBox="1"/>
            <p:nvPr/>
          </p:nvSpPr>
          <p:spPr>
            <a:xfrm>
              <a:off x="1011592" y="1429831"/>
              <a:ext cx="2331706" cy="663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SharePoint</a:t>
              </a:r>
            </a:p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Retriever</a:t>
              </a: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1B7FC70B-48A4-CE93-DF22-5E964E3ED6D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58103" y="1583577"/>
              <a:ext cx="306883" cy="306883"/>
            </a:xfrm>
            <a:prstGeom prst="rect">
              <a:avLst/>
            </a:prstGeom>
          </p:spPr>
        </p:pic>
      </p:grpSp>
      <p:sp>
        <p:nvSpPr>
          <p:cNvPr id="27" name="Rectangle: Rounded Corners 2">
            <a:extLst>
              <a:ext uri="{FF2B5EF4-FFF2-40B4-BE49-F238E27FC236}">
                <a16:creationId xmlns:a16="http://schemas.microsoft.com/office/drawing/2014/main" id="{39E2363D-1824-702E-FC77-39E7C82E7F3A}"/>
              </a:ext>
            </a:extLst>
          </p:cNvPr>
          <p:cNvSpPr/>
          <p:nvPr/>
        </p:nvSpPr>
        <p:spPr>
          <a:xfrm>
            <a:off x="4060405" y="4640397"/>
            <a:ext cx="1392282" cy="903804"/>
          </a:xfrm>
          <a:prstGeom prst="round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190500" dist="38100" dir="2700000" algn="tl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72000" tIns="146304" rIns="18288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endParaRPr kumimoji="0" lang="en-CA" sz="10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0EE75E3-CD48-435B-B335-4468628CB31D}"/>
              </a:ext>
            </a:extLst>
          </p:cNvPr>
          <p:cNvGrpSpPr/>
          <p:nvPr/>
        </p:nvGrpSpPr>
        <p:grpSpPr>
          <a:xfrm>
            <a:off x="4061956" y="4631611"/>
            <a:ext cx="1385744" cy="370147"/>
            <a:chOff x="1005474" y="1470457"/>
            <a:chExt cx="2106608" cy="502809"/>
          </a:xfrm>
        </p:grpSpPr>
        <p:sp>
          <p:nvSpPr>
            <p:cNvPr id="29" name="!! purple box">
              <a:extLst>
                <a:ext uri="{FF2B5EF4-FFF2-40B4-BE49-F238E27FC236}">
                  <a16:creationId xmlns:a16="http://schemas.microsoft.com/office/drawing/2014/main" id="{E4E421F0-F108-783D-14E1-778B481AE49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005474" y="1470457"/>
              <a:ext cx="2099411" cy="502809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4364C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146304" rIns="18288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C1A9797-4112-24D6-A44B-851F1D042469}"/>
                </a:ext>
              </a:extLst>
            </p:cNvPr>
            <p:cNvSpPr txBox="1"/>
            <p:nvPr/>
          </p:nvSpPr>
          <p:spPr>
            <a:xfrm>
              <a:off x="1039006" y="1554482"/>
              <a:ext cx="2073076" cy="40267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Verifier</a:t>
              </a:r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FDBD9C2C-82CC-7FC8-B5E2-3DB71088A7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lum bright="70000" contrast="-70000"/>
            </a:blip>
            <a:stretch>
              <a:fillRect/>
            </a:stretch>
          </p:blipFill>
          <p:spPr>
            <a:xfrm>
              <a:off x="1072548" y="1593256"/>
              <a:ext cx="306883" cy="306883"/>
            </a:xfrm>
            <a:prstGeom prst="rect">
              <a:avLst/>
            </a:prstGeom>
          </p:spPr>
        </p:pic>
      </p:grpSp>
      <p:sp>
        <p:nvSpPr>
          <p:cNvPr id="32" name="Round Same Side Corner Rectangle 7178">
            <a:extLst>
              <a:ext uri="{FF2B5EF4-FFF2-40B4-BE49-F238E27FC236}">
                <a16:creationId xmlns:a16="http://schemas.microsoft.com/office/drawing/2014/main" id="{619978A0-F113-2E16-CB95-7755F45D56B1}"/>
              </a:ext>
            </a:extLst>
          </p:cNvPr>
          <p:cNvSpPr/>
          <p:nvPr/>
        </p:nvSpPr>
        <p:spPr bwMode="auto">
          <a:xfrm rot="10800000">
            <a:off x="4068479" y="5511062"/>
            <a:ext cx="743288" cy="300385"/>
          </a:xfrm>
          <a:prstGeom prst="round2SameRect">
            <a:avLst/>
          </a:prstGeom>
          <a:solidFill>
            <a:srgbClr val="9BA0D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3" name="Round Same Side Corner Rectangle 7179">
            <a:extLst>
              <a:ext uri="{FF2B5EF4-FFF2-40B4-BE49-F238E27FC236}">
                <a16:creationId xmlns:a16="http://schemas.microsoft.com/office/drawing/2014/main" id="{83209D64-4490-CDA0-3B48-59AE987636AE}"/>
              </a:ext>
            </a:extLst>
          </p:cNvPr>
          <p:cNvSpPr/>
          <p:nvPr/>
        </p:nvSpPr>
        <p:spPr bwMode="auto">
          <a:xfrm rot="10800000">
            <a:off x="4709399" y="5511062"/>
            <a:ext cx="743288" cy="300385"/>
          </a:xfrm>
          <a:prstGeom prst="round2SameRect">
            <a:avLst/>
          </a:prstGeom>
          <a:solidFill>
            <a:srgbClr val="C1DDE9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6F3EC23-ED39-A9DF-6D43-3FD59CBA7026}"/>
              </a:ext>
            </a:extLst>
          </p:cNvPr>
          <p:cNvSpPr txBox="1"/>
          <p:nvPr/>
        </p:nvSpPr>
        <p:spPr>
          <a:xfrm>
            <a:off x="4096800" y="5544202"/>
            <a:ext cx="71496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mory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09BDAD6-871D-66FE-AED9-733AC21FC84F}"/>
              </a:ext>
            </a:extLst>
          </p:cNvPr>
          <p:cNvSpPr txBox="1"/>
          <p:nvPr/>
        </p:nvSpPr>
        <p:spPr>
          <a:xfrm>
            <a:off x="4709398" y="5544201"/>
            <a:ext cx="72244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oughts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DAE8F546-BEB2-F8E2-4090-2616AA6E94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04161" y="5479763"/>
            <a:ext cx="1011299" cy="49258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190500" dist="38100" dir="2700000" algn="tl" rotWithShape="0">
              <a:schemeClr val="tx1">
                <a:alpha val="20000"/>
              </a:schemeClr>
            </a:outerShdw>
          </a:effectLst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B5FAFE53-C7A6-ECC2-C62C-23259533C851}"/>
              </a:ext>
            </a:extLst>
          </p:cNvPr>
          <p:cNvSpPr txBox="1"/>
          <p:nvPr/>
        </p:nvSpPr>
        <p:spPr>
          <a:xfrm>
            <a:off x="10645454" y="5979573"/>
            <a:ext cx="5958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ea typeface="+mn-ea"/>
                <a:cs typeface="+mn-cs"/>
              </a:rPr>
              <a:t>Page 1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531311F-58D4-5FE5-A6F0-A93ED5FEC884}"/>
              </a:ext>
            </a:extLst>
          </p:cNvPr>
          <p:cNvSpPr txBox="1"/>
          <p:nvPr/>
        </p:nvSpPr>
        <p:spPr>
          <a:xfrm>
            <a:off x="10580194" y="5194315"/>
            <a:ext cx="62884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ea typeface="+mn-ea"/>
                <a:cs typeface="+mn-cs"/>
              </a:rPr>
              <a:t>Page 2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cxnSp>
        <p:nvCxnSpPr>
          <p:cNvPr id="45" name="Elbow Connector 7200">
            <a:extLst>
              <a:ext uri="{FF2B5EF4-FFF2-40B4-BE49-F238E27FC236}">
                <a16:creationId xmlns:a16="http://schemas.microsoft.com/office/drawing/2014/main" id="{2C2D66DE-AF2B-91A0-B50D-39302CC8B176}"/>
              </a:ext>
            </a:extLst>
          </p:cNvPr>
          <p:cNvCxnSpPr>
            <a:cxnSpLocks/>
          </p:cNvCxnSpPr>
          <p:nvPr/>
        </p:nvCxnSpPr>
        <p:spPr>
          <a:xfrm>
            <a:off x="2958059" y="3065226"/>
            <a:ext cx="1049407" cy="171597"/>
          </a:xfrm>
          <a:prstGeom prst="bentConnector3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none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Picture 4" descr="Bing Search logo">
            <a:extLst>
              <a:ext uri="{FF2B5EF4-FFF2-40B4-BE49-F238E27FC236}">
                <a16:creationId xmlns:a16="http://schemas.microsoft.com/office/drawing/2014/main" id="{AC216CED-CD00-9E5D-3265-AC21AC067F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0030" y="4980257"/>
            <a:ext cx="243262" cy="367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1821C5F0-03D2-7D9F-C95D-BE1434DB7EF5}"/>
              </a:ext>
            </a:extLst>
          </p:cNvPr>
          <p:cNvSpPr txBox="1"/>
          <p:nvPr/>
        </p:nvSpPr>
        <p:spPr>
          <a:xfrm>
            <a:off x="8241270" y="1990544"/>
            <a:ext cx="743289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zure AI Agent Service</a:t>
            </a:r>
          </a:p>
        </p:txBody>
      </p:sp>
      <p:pic>
        <p:nvPicPr>
          <p:cNvPr id="62" name="Picture 61" descr="A colorful hexagon with stars&#10;&#10;Description automatically generated">
            <a:extLst>
              <a:ext uri="{FF2B5EF4-FFF2-40B4-BE49-F238E27FC236}">
                <a16:creationId xmlns:a16="http://schemas.microsoft.com/office/drawing/2014/main" id="{7D7A8D11-6368-00F3-95BB-FA313438DC8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5837" y="1992529"/>
            <a:ext cx="459568" cy="459568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FB879E33-02DA-4A5E-1EE5-E698A0D70C56}"/>
              </a:ext>
            </a:extLst>
          </p:cNvPr>
          <p:cNvSpPr txBox="1"/>
          <p:nvPr/>
        </p:nvSpPr>
        <p:spPr>
          <a:xfrm>
            <a:off x="4603442" y="5003576"/>
            <a:ext cx="743289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zure AI Agent Service</a:t>
            </a:r>
          </a:p>
        </p:txBody>
      </p:sp>
      <p:pic>
        <p:nvPicPr>
          <p:cNvPr id="64" name="Picture 63" descr="A colorful hexagon with stars&#10;&#10;Description automatically generated">
            <a:extLst>
              <a:ext uri="{FF2B5EF4-FFF2-40B4-BE49-F238E27FC236}">
                <a16:creationId xmlns:a16="http://schemas.microsoft.com/office/drawing/2014/main" id="{366F784E-6634-5683-8AA0-E31310B586D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8769" y="4973888"/>
            <a:ext cx="459568" cy="459568"/>
          </a:xfrm>
          <a:prstGeom prst="rect">
            <a:avLst/>
          </a:prstGeom>
        </p:spPr>
      </p:pic>
      <p:pic>
        <p:nvPicPr>
          <p:cNvPr id="65" name="Picture 64" descr="A colorful hexagon with stars&#10;&#10;Description automatically generated">
            <a:extLst>
              <a:ext uri="{FF2B5EF4-FFF2-40B4-BE49-F238E27FC236}">
                <a16:creationId xmlns:a16="http://schemas.microsoft.com/office/drawing/2014/main" id="{FA8FF996-8A42-A01D-814E-1CCAC0D7875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517" y="4945682"/>
            <a:ext cx="459568" cy="459568"/>
          </a:xfrm>
          <a:prstGeom prst="rect">
            <a:avLst/>
          </a:prstGeo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8033FE04-0870-E6C4-9016-2B537483676A}"/>
              </a:ext>
            </a:extLst>
          </p:cNvPr>
          <p:cNvSpPr txBox="1"/>
          <p:nvPr/>
        </p:nvSpPr>
        <p:spPr>
          <a:xfrm>
            <a:off x="8289686" y="4904465"/>
            <a:ext cx="743289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zure AI Agent Service</a:t>
            </a:r>
          </a:p>
        </p:txBody>
      </p:sp>
      <p:sp>
        <p:nvSpPr>
          <p:cNvPr id="76" name="Rectangle: Rounded Corners 2">
            <a:extLst>
              <a:ext uri="{FF2B5EF4-FFF2-40B4-BE49-F238E27FC236}">
                <a16:creationId xmlns:a16="http://schemas.microsoft.com/office/drawing/2014/main" id="{DE76D741-B7B2-270C-B626-95734D6A17B8}"/>
              </a:ext>
            </a:extLst>
          </p:cNvPr>
          <p:cNvSpPr/>
          <p:nvPr/>
        </p:nvSpPr>
        <p:spPr>
          <a:xfrm>
            <a:off x="7515837" y="3242334"/>
            <a:ext cx="1363960" cy="824270"/>
          </a:xfrm>
          <a:prstGeom prst="round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190500" dist="38100" dir="2700000" algn="tl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72000" tIns="146304" rIns="18288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endParaRPr kumimoji="0" lang="en-CA" sz="10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29A38D7-A484-A74D-B011-EEAADFAA07E7}"/>
              </a:ext>
            </a:extLst>
          </p:cNvPr>
          <p:cNvGrpSpPr/>
          <p:nvPr/>
        </p:nvGrpSpPr>
        <p:grpSpPr>
          <a:xfrm>
            <a:off x="7515836" y="2998234"/>
            <a:ext cx="1363961" cy="387921"/>
            <a:chOff x="1057232" y="1455237"/>
            <a:chExt cx="2075528" cy="679527"/>
          </a:xfrm>
        </p:grpSpPr>
        <p:sp>
          <p:nvSpPr>
            <p:cNvPr id="78" name="!! purple box">
              <a:extLst>
                <a:ext uri="{FF2B5EF4-FFF2-40B4-BE49-F238E27FC236}">
                  <a16:creationId xmlns:a16="http://schemas.microsoft.com/office/drawing/2014/main" id="{9B5DDE4E-21DF-0766-3813-21F926A5B12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057232" y="1455237"/>
              <a:ext cx="2075528" cy="67952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>
                <a:lumMod val="7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146304" rIns="18288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lang="en-US" sz="1100" kern="0" dirty="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lang="en-US" sz="1100" kern="0" dirty="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Fabric </a:t>
              </a:r>
            </a:p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 Retriever </a:t>
              </a:r>
            </a:p>
          </p:txBody>
        </p:sp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4569040E-0B33-110F-77A0-C14A2F96C22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lum bright="70000" contrast="-70000"/>
            </a:blip>
            <a:stretch>
              <a:fillRect/>
            </a:stretch>
          </p:blipFill>
          <p:spPr>
            <a:xfrm>
              <a:off x="1100240" y="1588089"/>
              <a:ext cx="306883" cy="306883"/>
            </a:xfrm>
            <a:prstGeom prst="rect">
              <a:avLst/>
            </a:prstGeom>
          </p:spPr>
        </p:pic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25120B10-196B-7754-A51E-F1BF811AC95A}"/>
              </a:ext>
            </a:extLst>
          </p:cNvPr>
          <p:cNvSpPr txBox="1"/>
          <p:nvPr/>
        </p:nvSpPr>
        <p:spPr>
          <a:xfrm>
            <a:off x="8284647" y="3491596"/>
            <a:ext cx="743289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Azure AI Ag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rvice</a:t>
            </a:r>
            <a:endParaRPr kumimoji="0" lang="en-US" sz="9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82" name="Picture 81" descr="A colorful hexagon with stars&#10;&#10;Description automatically generated">
            <a:extLst>
              <a:ext uri="{FF2B5EF4-FFF2-40B4-BE49-F238E27FC236}">
                <a16:creationId xmlns:a16="http://schemas.microsoft.com/office/drawing/2014/main" id="{A7DF4C0C-C95A-DB51-7006-7958BBB050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1710" y="3497127"/>
            <a:ext cx="459568" cy="459568"/>
          </a:xfrm>
          <a:prstGeom prst="rect">
            <a:avLst/>
          </a:prstGeom>
        </p:spPr>
      </p:pic>
      <p:sp>
        <p:nvSpPr>
          <p:cNvPr id="83" name="Rectangle: Rounded Corners 2">
            <a:extLst>
              <a:ext uri="{FF2B5EF4-FFF2-40B4-BE49-F238E27FC236}">
                <a16:creationId xmlns:a16="http://schemas.microsoft.com/office/drawing/2014/main" id="{EF063217-4AE6-035F-F9BF-10FC4CD187E1}"/>
              </a:ext>
            </a:extLst>
          </p:cNvPr>
          <p:cNvSpPr/>
          <p:nvPr/>
        </p:nvSpPr>
        <p:spPr>
          <a:xfrm>
            <a:off x="4092085" y="2804141"/>
            <a:ext cx="1363960" cy="824270"/>
          </a:xfrm>
          <a:prstGeom prst="roundRect">
            <a:avLst/>
          </a:prstGeom>
          <a:solidFill>
            <a:srgbClr val="FFFFFF"/>
          </a:solidFill>
          <a:ln w="9525" cap="flat" cmpd="sng" algn="ctr">
            <a:solidFill>
              <a:schemeClr val="tx2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90500" dist="38100" dir="2700000" algn="tl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72000" tIns="146304" rIns="18288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endParaRPr kumimoji="0" lang="en-CA" sz="10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3A1FF912-23A0-458E-3ADE-DD6DF551BAE9}"/>
              </a:ext>
            </a:extLst>
          </p:cNvPr>
          <p:cNvSpPr txBox="1"/>
          <p:nvPr/>
        </p:nvSpPr>
        <p:spPr>
          <a:xfrm>
            <a:off x="4490566" y="2814970"/>
            <a:ext cx="74479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lanner</a:t>
            </a:r>
          </a:p>
        </p:txBody>
      </p:sp>
      <p:pic>
        <p:nvPicPr>
          <p:cNvPr id="91" name="Picture 4" descr="Semantic Kernel's new icon and the art of teamwork ...">
            <a:extLst>
              <a:ext uri="{FF2B5EF4-FFF2-40B4-BE49-F238E27FC236}">
                <a16:creationId xmlns:a16="http://schemas.microsoft.com/office/drawing/2014/main" id="{9A3E4F57-BF9E-95BE-740E-C0DB320295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2163" y="3082217"/>
            <a:ext cx="474285" cy="474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D075AE8F-300E-728C-2821-4248F9F960FD}"/>
              </a:ext>
            </a:extLst>
          </p:cNvPr>
          <p:cNvSpPr txBox="1"/>
          <p:nvPr/>
        </p:nvSpPr>
        <p:spPr>
          <a:xfrm>
            <a:off x="4684296" y="3008067"/>
            <a:ext cx="86577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mantic Kernel Agent Framework</a:t>
            </a:r>
          </a:p>
        </p:txBody>
      </p:sp>
      <p:pic>
        <p:nvPicPr>
          <p:cNvPr id="1026" name="Picture 2" descr="Download Microsoft SharePoint Logo in SVG Vector or PNG File Format ...">
            <a:extLst>
              <a:ext uri="{FF2B5EF4-FFF2-40B4-BE49-F238E27FC236}">
                <a16:creationId xmlns:a16="http://schemas.microsoft.com/office/drawing/2014/main" id="{BD769524-2CF8-0F56-5BAE-3D6D43E70D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8881" y="1963740"/>
            <a:ext cx="833021" cy="555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C73064C0-65F6-FBB4-62A2-B714A434ED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11278" y="3564100"/>
            <a:ext cx="325924" cy="357395"/>
          </a:xfrm>
          <a:prstGeom prst="rect">
            <a:avLst/>
          </a:prstGeom>
        </p:spPr>
      </p:pic>
      <p:pic>
        <p:nvPicPr>
          <p:cNvPr id="95" name="Picture Placeholder 23" descr="Profile image of maker.">
            <a:extLst>
              <a:ext uri="{FF2B5EF4-FFF2-40B4-BE49-F238E27FC236}">
                <a16:creationId xmlns:a16="http://schemas.microsoft.com/office/drawing/2014/main" id="{CF93FEA5-B763-7CAE-9D00-D40A79014568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350053" y="3126170"/>
            <a:ext cx="528299" cy="528299"/>
          </a:xfrm>
          <a:prstGeom prst="ellipse">
            <a:avLst/>
          </a:prstGeom>
          <a:ln>
            <a:noFill/>
          </a:ln>
        </p:spPr>
      </p:pic>
      <p:sp>
        <p:nvSpPr>
          <p:cNvPr id="96" name="Text Placeholder 8">
            <a:extLst>
              <a:ext uri="{FF2B5EF4-FFF2-40B4-BE49-F238E27FC236}">
                <a16:creationId xmlns:a16="http://schemas.microsoft.com/office/drawing/2014/main" id="{EC77D3E8-4186-8173-45E4-4F8B86CEB346}"/>
              </a:ext>
            </a:extLst>
          </p:cNvPr>
          <p:cNvSpPr txBox="1">
            <a:spLocks/>
          </p:cNvSpPr>
          <p:nvPr/>
        </p:nvSpPr>
        <p:spPr>
          <a:xfrm>
            <a:off x="45276" y="3702643"/>
            <a:ext cx="1128224" cy="15388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3pPr>
            <a:lvl4pPr marL="661988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4pPr>
            <a:lvl5pPr marL="855663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A1B45"/>
                </a:solidFill>
                <a:effectLst/>
                <a:uLnTx/>
                <a:uFillTx/>
                <a:latin typeface="Segoe UI Semibold"/>
                <a:ea typeface="+mn-ea"/>
                <a:cs typeface="Segoe UI"/>
              </a:rPr>
              <a:t>Product Manager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A1B45"/>
              </a:solidFill>
              <a:effectLst/>
              <a:uLnTx/>
              <a:uFillTx/>
              <a:latin typeface="Segoe UI Semibold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976FEA7A-4440-3C19-0881-A2F839097B1F}"/>
              </a:ext>
            </a:extLst>
          </p:cNvPr>
          <p:cNvCxnSpPr>
            <a:cxnSpLocks/>
          </p:cNvCxnSpPr>
          <p:nvPr/>
        </p:nvCxnSpPr>
        <p:spPr>
          <a:xfrm>
            <a:off x="4763367" y="3742816"/>
            <a:ext cx="0" cy="752830"/>
          </a:xfrm>
          <a:prstGeom prst="line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arrow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2F2D751E-F6F5-B11C-57BD-3D93E1FDC8BA}"/>
              </a:ext>
            </a:extLst>
          </p:cNvPr>
          <p:cNvCxnSpPr>
            <a:cxnSpLocks/>
          </p:cNvCxnSpPr>
          <p:nvPr/>
        </p:nvCxnSpPr>
        <p:spPr>
          <a:xfrm>
            <a:off x="5625493" y="3236823"/>
            <a:ext cx="1335222" cy="12018"/>
          </a:xfrm>
          <a:prstGeom prst="line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arrow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!! Purple box">
            <a:extLst>
              <a:ext uri="{FF2B5EF4-FFF2-40B4-BE49-F238E27FC236}">
                <a16:creationId xmlns:a16="http://schemas.microsoft.com/office/drawing/2014/main" id="{B65FC527-63BA-B677-724E-E3BCAE515393}"/>
              </a:ext>
            </a:extLst>
          </p:cNvPr>
          <p:cNvSpPr txBox="1"/>
          <p:nvPr/>
        </p:nvSpPr>
        <p:spPr>
          <a:xfrm>
            <a:off x="1777051" y="3904108"/>
            <a:ext cx="1115964" cy="367229"/>
          </a:xfrm>
          <a:prstGeom prst="roundRect">
            <a:avLst>
              <a:gd name="adj" fmla="val 16667"/>
            </a:avLst>
          </a:prstGeom>
          <a:solidFill>
            <a:schemeClr val="accent1">
              <a:lumMod val="60000"/>
              <a:lumOff val="40000"/>
            </a:schemeClr>
          </a:solidFill>
          <a:ln w="15875">
            <a:noFill/>
            <a:headEnd type="none" w="med" len="med"/>
            <a:tailEnd type="none" w="med" len="med"/>
          </a:ln>
          <a:effectLst>
            <a:outerShdw blurRad="101600" dist="1270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72000" rIns="179285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14102" fontAlgn="base">
              <a:spcBef>
                <a:spcPct val="0"/>
              </a:spcBef>
              <a:spcAft>
                <a:spcPct val="0"/>
              </a:spcAft>
              <a:defRPr sz="196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1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Sans Text Semibold"/>
                <a:ea typeface="+mn-ea"/>
                <a:cs typeface="Segoe UI" pitchFamily="34" charset="0"/>
              </a:rPr>
              <a:t>Product</a:t>
            </a:r>
            <a:r>
              <a:rPr lang="en-US" sz="1000" b="1" dirty="0">
                <a:latin typeface="Segoe Sans Text Semibold"/>
              </a:rPr>
              <a:t> Insight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Sans Text Semibold"/>
              <a:ea typeface="+mn-ea"/>
              <a:cs typeface="Segoe UI" pitchFamily="34" charset="0"/>
            </a:endParaRPr>
          </a:p>
        </p:txBody>
      </p:sp>
      <p:cxnSp>
        <p:nvCxnSpPr>
          <p:cNvPr id="109" name="Elbow Connector 7200">
            <a:extLst>
              <a:ext uri="{FF2B5EF4-FFF2-40B4-BE49-F238E27FC236}">
                <a16:creationId xmlns:a16="http://schemas.microsoft.com/office/drawing/2014/main" id="{02CDDB1F-B58A-FCFA-3AA0-EBD12413E731}"/>
              </a:ext>
            </a:extLst>
          </p:cNvPr>
          <p:cNvCxnSpPr>
            <a:cxnSpLocks/>
          </p:cNvCxnSpPr>
          <p:nvPr/>
        </p:nvCxnSpPr>
        <p:spPr>
          <a:xfrm flipV="1">
            <a:off x="2942941" y="3392662"/>
            <a:ext cx="1045372" cy="705940"/>
          </a:xfrm>
          <a:prstGeom prst="bentConnector3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arrow" w="lg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Elbow Connector 7200">
            <a:extLst>
              <a:ext uri="{FF2B5EF4-FFF2-40B4-BE49-F238E27FC236}">
                <a16:creationId xmlns:a16="http://schemas.microsoft.com/office/drawing/2014/main" id="{FDEE8336-A613-C736-90FA-76AC64B27096}"/>
              </a:ext>
            </a:extLst>
          </p:cNvPr>
          <p:cNvCxnSpPr>
            <a:cxnSpLocks/>
          </p:cNvCxnSpPr>
          <p:nvPr/>
        </p:nvCxnSpPr>
        <p:spPr>
          <a:xfrm flipV="1">
            <a:off x="1002834" y="3080582"/>
            <a:ext cx="660776" cy="328691"/>
          </a:xfrm>
          <a:prstGeom prst="bentConnector3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none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Elbow Connector 7200">
            <a:extLst>
              <a:ext uri="{FF2B5EF4-FFF2-40B4-BE49-F238E27FC236}">
                <a16:creationId xmlns:a16="http://schemas.microsoft.com/office/drawing/2014/main" id="{04995D26-E01C-D98C-39D7-6DD02053448F}"/>
              </a:ext>
            </a:extLst>
          </p:cNvPr>
          <p:cNvCxnSpPr>
            <a:cxnSpLocks/>
            <a:stCxn id="96" idx="2"/>
            <a:endCxn id="108" idx="2"/>
          </p:cNvCxnSpPr>
          <p:nvPr/>
        </p:nvCxnSpPr>
        <p:spPr>
          <a:xfrm rot="16200000" flipH="1">
            <a:off x="1264807" y="3201111"/>
            <a:ext cx="414806" cy="1725645"/>
          </a:xfrm>
          <a:prstGeom prst="bentConnector3">
            <a:avLst>
              <a:gd name="adj1" fmla="val 155110"/>
            </a:avLst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arrow" w="lg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4" name="!! Purple box">
            <a:extLst>
              <a:ext uri="{FF2B5EF4-FFF2-40B4-BE49-F238E27FC236}">
                <a16:creationId xmlns:a16="http://schemas.microsoft.com/office/drawing/2014/main" id="{55D0C6C7-8F0A-6D20-97E9-2AE7DDF5AAA8}"/>
              </a:ext>
            </a:extLst>
          </p:cNvPr>
          <p:cNvSpPr txBox="1"/>
          <p:nvPr/>
        </p:nvSpPr>
        <p:spPr>
          <a:xfrm>
            <a:off x="5050406" y="3963202"/>
            <a:ext cx="1239474" cy="369332"/>
          </a:xfrm>
          <a:prstGeom prst="roundRect">
            <a:avLst>
              <a:gd name="adj" fmla="val 16667"/>
            </a:avLst>
          </a:prstGeom>
          <a:solidFill>
            <a:srgbClr val="C1DDE9"/>
          </a:solidFill>
          <a:ln w="15875">
            <a:noFill/>
            <a:headEnd type="none" w="med" len="med"/>
            <a:tailEnd type="none" w="med" len="med"/>
          </a:ln>
          <a:effectLst>
            <a:outerShdw blurRad="101600" dist="1270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72000" rIns="179285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14102" fontAlgn="base">
              <a:spcBef>
                <a:spcPct val="0"/>
              </a:spcBef>
              <a:spcAft>
                <a:spcPct val="0"/>
              </a:spcAft>
              <a:defRPr sz="196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cs typeface="Segoe UI" pitchFamily="34" charset="0"/>
              </a:rPr>
              <a:t>Reflection</a:t>
            </a:r>
            <a:r>
              <a:rPr lang="en-US" sz="105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cs typeface="Segoe UI" pitchFamily="34" charset="0"/>
              </a:rPr>
              <a:t> Pattern</a:t>
            </a:r>
            <a:endParaRPr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 Semibold"/>
              <a:cs typeface="Segoe UI" pitchFamily="34" charset="0"/>
            </a:endParaRPr>
          </a:p>
        </p:txBody>
      </p:sp>
      <p:sp>
        <p:nvSpPr>
          <p:cNvPr id="1025" name="!! Purple box">
            <a:extLst>
              <a:ext uri="{FF2B5EF4-FFF2-40B4-BE49-F238E27FC236}">
                <a16:creationId xmlns:a16="http://schemas.microsoft.com/office/drawing/2014/main" id="{1F46F22A-02BE-7D97-692E-12C5AFF1B851}"/>
              </a:ext>
            </a:extLst>
          </p:cNvPr>
          <p:cNvSpPr txBox="1"/>
          <p:nvPr/>
        </p:nvSpPr>
        <p:spPr>
          <a:xfrm>
            <a:off x="5661034" y="2671634"/>
            <a:ext cx="1239474" cy="369332"/>
          </a:xfrm>
          <a:prstGeom prst="roundRect">
            <a:avLst>
              <a:gd name="adj" fmla="val 16667"/>
            </a:avLst>
          </a:prstGeom>
          <a:solidFill>
            <a:srgbClr val="C1DDE9"/>
          </a:solidFill>
          <a:ln w="15875">
            <a:noFill/>
            <a:headEnd type="none" w="med" len="med"/>
            <a:tailEnd type="none" w="med" len="med"/>
          </a:ln>
          <a:effectLst>
            <a:outerShdw blurRad="101600" dist="1270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72000" rIns="179285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14102" fontAlgn="base">
              <a:spcBef>
                <a:spcPct val="0"/>
              </a:spcBef>
              <a:spcAft>
                <a:spcPct val="0"/>
              </a:spcAft>
              <a:defRPr sz="196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lang="en-US" sz="105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cs typeface="Segoe UI" pitchFamily="34" charset="0"/>
              </a:rPr>
              <a:t>Intelligent Router</a:t>
            </a:r>
            <a:endParaRPr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 Semibold"/>
              <a:cs typeface="Segoe UI" pitchFamily="34" charset="0"/>
            </a:endParaRPr>
          </a:p>
        </p:txBody>
      </p:sp>
      <p:cxnSp>
        <p:nvCxnSpPr>
          <p:cNvPr id="1030" name="Straight Connector 1029">
            <a:extLst>
              <a:ext uri="{FF2B5EF4-FFF2-40B4-BE49-F238E27FC236}">
                <a16:creationId xmlns:a16="http://schemas.microsoft.com/office/drawing/2014/main" id="{FF893F88-6C64-593F-D10C-A8C256E82865}"/>
              </a:ext>
            </a:extLst>
          </p:cNvPr>
          <p:cNvCxnSpPr>
            <a:cxnSpLocks/>
          </p:cNvCxnSpPr>
          <p:nvPr/>
        </p:nvCxnSpPr>
        <p:spPr>
          <a:xfrm>
            <a:off x="4763367" y="5865564"/>
            <a:ext cx="0" cy="424400"/>
          </a:xfrm>
          <a:prstGeom prst="line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arrow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3" name="!! Purple box">
            <a:extLst>
              <a:ext uri="{FF2B5EF4-FFF2-40B4-BE49-F238E27FC236}">
                <a16:creationId xmlns:a16="http://schemas.microsoft.com/office/drawing/2014/main" id="{D5FDA8DC-A21F-F0BB-1D26-BBB8E232128F}"/>
              </a:ext>
            </a:extLst>
          </p:cNvPr>
          <p:cNvSpPr txBox="1"/>
          <p:nvPr/>
        </p:nvSpPr>
        <p:spPr>
          <a:xfrm>
            <a:off x="3230126" y="5991105"/>
            <a:ext cx="1239474" cy="407823"/>
          </a:xfrm>
          <a:prstGeom prst="roundRect">
            <a:avLst>
              <a:gd name="adj" fmla="val 0"/>
            </a:avLst>
          </a:prstGeom>
          <a:solidFill>
            <a:srgbClr val="C1DDE9"/>
          </a:solidFill>
          <a:ln w="15875">
            <a:noFill/>
            <a:headEnd type="none" w="med" len="med"/>
            <a:tailEnd type="none" w="med" len="med"/>
          </a:ln>
          <a:effectLst>
            <a:outerShdw blurRad="101600" dist="1270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72000" rIns="179285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14102" fontAlgn="base">
              <a:spcBef>
                <a:spcPct val="0"/>
              </a:spcBef>
              <a:spcAft>
                <a:spcPct val="0"/>
              </a:spcAft>
              <a:defRPr sz="196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cs typeface="Segoe UI" pitchFamily="34" charset="0"/>
              </a:rPr>
              <a:t>Doc</a:t>
            </a:r>
            <a:r>
              <a:rPr lang="en-US" sz="105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 Semibold"/>
                <a:cs typeface="Segoe UI" pitchFamily="34" charset="0"/>
              </a:rPr>
              <a:t> Search</a:t>
            </a:r>
            <a:endParaRPr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 Semibold"/>
              <a:cs typeface="Segoe UI" pitchFamily="34" charset="0"/>
            </a:endParaRPr>
          </a:p>
        </p:txBody>
      </p:sp>
      <p:sp>
        <p:nvSpPr>
          <p:cNvPr id="1035" name="TextBox 1034">
            <a:extLst>
              <a:ext uri="{FF2B5EF4-FFF2-40B4-BE49-F238E27FC236}">
                <a16:creationId xmlns:a16="http://schemas.microsoft.com/office/drawing/2014/main" id="{7B5563E6-B9E4-F35B-0B24-3B8D9E11CF98}"/>
              </a:ext>
            </a:extLst>
          </p:cNvPr>
          <p:cNvSpPr txBox="1"/>
          <p:nvPr/>
        </p:nvSpPr>
        <p:spPr>
          <a:xfrm>
            <a:off x="5062570" y="6269504"/>
            <a:ext cx="614766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zure AI Search</a:t>
            </a:r>
          </a:p>
        </p:txBody>
      </p:sp>
      <p:pic>
        <p:nvPicPr>
          <p:cNvPr id="1036" name="Picture 6" descr="Pricing - Azure AI Search | Microsoft Azure">
            <a:extLst>
              <a:ext uri="{FF2B5EF4-FFF2-40B4-BE49-F238E27FC236}">
                <a16:creationId xmlns:a16="http://schemas.microsoft.com/office/drawing/2014/main" id="{84B421AE-D76D-A8B4-47E9-3F5CA54826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7948" y="6289964"/>
            <a:ext cx="977816" cy="514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9" name="Picture 1038">
            <a:extLst>
              <a:ext uri="{FF2B5EF4-FFF2-40B4-BE49-F238E27FC236}">
                <a16:creationId xmlns:a16="http://schemas.microsoft.com/office/drawing/2014/main" id="{E5B8D7CE-5F10-02BD-BBD0-A987D5152C2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264714" y="4625911"/>
            <a:ext cx="1011298" cy="601702"/>
          </a:xfrm>
          <a:prstGeom prst="rect">
            <a:avLst/>
          </a:prstGeom>
        </p:spPr>
      </p:pic>
      <p:cxnSp>
        <p:nvCxnSpPr>
          <p:cNvPr id="1042" name="Elbow Connector 7200">
            <a:extLst>
              <a:ext uri="{FF2B5EF4-FFF2-40B4-BE49-F238E27FC236}">
                <a16:creationId xmlns:a16="http://schemas.microsoft.com/office/drawing/2014/main" id="{B3A152A1-E1F5-4F12-5512-1759A6C29A8D}"/>
              </a:ext>
            </a:extLst>
          </p:cNvPr>
          <p:cNvCxnSpPr>
            <a:cxnSpLocks/>
          </p:cNvCxnSpPr>
          <p:nvPr/>
        </p:nvCxnSpPr>
        <p:spPr>
          <a:xfrm flipV="1">
            <a:off x="8962906" y="4811991"/>
            <a:ext cx="1107758" cy="304876"/>
          </a:xfrm>
          <a:prstGeom prst="bentConnector3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none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Elbow Connector 7200">
            <a:extLst>
              <a:ext uri="{FF2B5EF4-FFF2-40B4-BE49-F238E27FC236}">
                <a16:creationId xmlns:a16="http://schemas.microsoft.com/office/drawing/2014/main" id="{D7D10B3F-8623-969C-CF00-27CB12A31499}"/>
              </a:ext>
            </a:extLst>
          </p:cNvPr>
          <p:cNvCxnSpPr>
            <a:cxnSpLocks/>
          </p:cNvCxnSpPr>
          <p:nvPr/>
        </p:nvCxnSpPr>
        <p:spPr>
          <a:xfrm>
            <a:off x="9412568" y="5116867"/>
            <a:ext cx="727194" cy="658166"/>
          </a:xfrm>
          <a:prstGeom prst="bentConnector3">
            <a:avLst>
              <a:gd name="adj1" fmla="val 50000"/>
            </a:avLst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none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2" name="Elbow Connector 7200">
            <a:extLst>
              <a:ext uri="{FF2B5EF4-FFF2-40B4-BE49-F238E27FC236}">
                <a16:creationId xmlns:a16="http://schemas.microsoft.com/office/drawing/2014/main" id="{62ABA1A2-626A-C62B-BACE-1ECA655A2A70}"/>
              </a:ext>
            </a:extLst>
          </p:cNvPr>
          <p:cNvCxnSpPr>
            <a:cxnSpLocks/>
            <a:endCxn id="1054" idx="1"/>
          </p:cNvCxnSpPr>
          <p:nvPr/>
        </p:nvCxnSpPr>
        <p:spPr>
          <a:xfrm flipV="1">
            <a:off x="8984559" y="1641393"/>
            <a:ext cx="969802" cy="367810"/>
          </a:xfrm>
          <a:prstGeom prst="bentConnector3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none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4" name="Picture 1053">
            <a:extLst>
              <a:ext uri="{FF2B5EF4-FFF2-40B4-BE49-F238E27FC236}">
                <a16:creationId xmlns:a16="http://schemas.microsoft.com/office/drawing/2014/main" id="{917E5D40-50ED-2519-EB3D-AAB97B51838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954361" y="1238221"/>
            <a:ext cx="1451287" cy="806343"/>
          </a:xfrm>
          <a:prstGeom prst="rect">
            <a:avLst/>
          </a:prstGeom>
        </p:spPr>
      </p:pic>
      <p:sp>
        <p:nvSpPr>
          <p:cNvPr id="1055" name="TextBox 1054">
            <a:extLst>
              <a:ext uri="{FF2B5EF4-FFF2-40B4-BE49-F238E27FC236}">
                <a16:creationId xmlns:a16="http://schemas.microsoft.com/office/drawing/2014/main" id="{8726B57B-4931-6C56-713D-4C6777EEEF38}"/>
              </a:ext>
            </a:extLst>
          </p:cNvPr>
          <p:cNvSpPr txBox="1"/>
          <p:nvPr/>
        </p:nvSpPr>
        <p:spPr>
          <a:xfrm>
            <a:off x="10250477" y="1033018"/>
            <a:ext cx="99083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000000"/>
                </a:solidFill>
                <a:latin typeface="Segoe Sans Text"/>
              </a:rPr>
              <a:t>SharePoint </a:t>
            </a:r>
            <a:r>
              <a:rPr lang="en-US" sz="800" dirty="0" err="1">
                <a:solidFill>
                  <a:srgbClr val="000000"/>
                </a:solidFill>
                <a:latin typeface="Segoe Sans Text"/>
              </a:rPr>
              <a:t>SIte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cxnSp>
        <p:nvCxnSpPr>
          <p:cNvPr id="1065" name="Elbow Connector 7200">
            <a:extLst>
              <a:ext uri="{FF2B5EF4-FFF2-40B4-BE49-F238E27FC236}">
                <a16:creationId xmlns:a16="http://schemas.microsoft.com/office/drawing/2014/main" id="{984C3011-468E-6BF7-12F4-AAF529E2BB6D}"/>
              </a:ext>
            </a:extLst>
          </p:cNvPr>
          <p:cNvCxnSpPr>
            <a:cxnSpLocks/>
          </p:cNvCxnSpPr>
          <p:nvPr/>
        </p:nvCxnSpPr>
        <p:spPr>
          <a:xfrm flipV="1">
            <a:off x="8926002" y="2951220"/>
            <a:ext cx="1028359" cy="581452"/>
          </a:xfrm>
          <a:prstGeom prst="bentConnector3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none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7" name="Picture 1066">
            <a:extLst>
              <a:ext uri="{FF2B5EF4-FFF2-40B4-BE49-F238E27FC236}">
                <a16:creationId xmlns:a16="http://schemas.microsoft.com/office/drawing/2014/main" id="{8461A737-886E-B8B3-7D29-6674B13BAF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/>
          <a:stretch/>
        </p:blipFill>
        <p:spPr>
          <a:xfrm>
            <a:off x="10943385" y="3941079"/>
            <a:ext cx="373077" cy="356179"/>
          </a:xfrm>
          <a:prstGeom prst="rect">
            <a:avLst/>
          </a:prstGeom>
        </p:spPr>
      </p:pic>
      <p:pic>
        <p:nvPicPr>
          <p:cNvPr id="1068" name="Picture 1067" descr="OneLake Logo">
            <a:extLst>
              <a:ext uri="{FF2B5EF4-FFF2-40B4-BE49-F238E27FC236}">
                <a16:creationId xmlns:a16="http://schemas.microsoft.com/office/drawing/2014/main" id="{E7E57060-EDCE-93B2-35D6-02815092BF0E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/>
          <a:stretch/>
        </p:blipFill>
        <p:spPr>
          <a:xfrm>
            <a:off x="10537976" y="3963202"/>
            <a:ext cx="355483" cy="356179"/>
          </a:xfrm>
          <a:prstGeom prst="rect">
            <a:avLst/>
          </a:prstGeom>
        </p:spPr>
      </p:pic>
      <p:pic>
        <p:nvPicPr>
          <p:cNvPr id="1070" name="Picture 1069">
            <a:extLst>
              <a:ext uri="{FF2B5EF4-FFF2-40B4-BE49-F238E27FC236}">
                <a16:creationId xmlns:a16="http://schemas.microsoft.com/office/drawing/2014/main" id="{10517944-9672-0F7C-6CF7-A429D2FEF6F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070664" y="2547499"/>
            <a:ext cx="1586979" cy="861774"/>
          </a:xfrm>
          <a:prstGeom prst="rect">
            <a:avLst/>
          </a:prstGeom>
        </p:spPr>
      </p:pic>
      <p:sp>
        <p:nvSpPr>
          <p:cNvPr id="1073" name="TextBox 1072">
            <a:extLst>
              <a:ext uri="{FF2B5EF4-FFF2-40B4-BE49-F238E27FC236}">
                <a16:creationId xmlns:a16="http://schemas.microsoft.com/office/drawing/2014/main" id="{697A0F29-D50E-BBD1-1427-B95E410720E5}"/>
              </a:ext>
            </a:extLst>
          </p:cNvPr>
          <p:cNvSpPr txBox="1"/>
          <p:nvPr/>
        </p:nvSpPr>
        <p:spPr>
          <a:xfrm>
            <a:off x="10495737" y="2334109"/>
            <a:ext cx="99083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Data Agent</a:t>
            </a:r>
          </a:p>
        </p:txBody>
      </p:sp>
      <p:sp>
        <p:nvSpPr>
          <p:cNvPr id="1076" name="TextBox 1075">
            <a:extLst>
              <a:ext uri="{FF2B5EF4-FFF2-40B4-BE49-F238E27FC236}">
                <a16:creationId xmlns:a16="http://schemas.microsoft.com/office/drawing/2014/main" id="{4823DB65-6C5F-04D8-AA1E-7D2313EACD2A}"/>
              </a:ext>
            </a:extLst>
          </p:cNvPr>
          <p:cNvSpPr txBox="1"/>
          <p:nvPr/>
        </p:nvSpPr>
        <p:spPr>
          <a:xfrm>
            <a:off x="10364860" y="3703689"/>
            <a:ext cx="60960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25B61"/>
                </a:soli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rPr>
              <a:t>Access Data Lake</a:t>
            </a:r>
          </a:p>
        </p:txBody>
      </p:sp>
      <p:cxnSp>
        <p:nvCxnSpPr>
          <p:cNvPr id="1077" name="Straight Connector 1076">
            <a:extLst>
              <a:ext uri="{FF2B5EF4-FFF2-40B4-BE49-F238E27FC236}">
                <a16:creationId xmlns:a16="http://schemas.microsoft.com/office/drawing/2014/main" id="{20392FFD-955C-49A0-1476-DB84E93A8B22}"/>
              </a:ext>
            </a:extLst>
          </p:cNvPr>
          <p:cNvCxnSpPr>
            <a:cxnSpLocks/>
          </p:cNvCxnSpPr>
          <p:nvPr/>
        </p:nvCxnSpPr>
        <p:spPr>
          <a:xfrm flipV="1">
            <a:off x="10879735" y="3460701"/>
            <a:ext cx="0" cy="266210"/>
          </a:xfrm>
          <a:prstGeom prst="line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arrow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63E79E97-16AC-6FBA-28ED-2CF667D0D60A}"/>
              </a:ext>
            </a:extLst>
          </p:cNvPr>
          <p:cNvGrpSpPr/>
          <p:nvPr/>
        </p:nvGrpSpPr>
        <p:grpSpPr>
          <a:xfrm>
            <a:off x="4070638" y="1155070"/>
            <a:ext cx="1417232" cy="430886"/>
            <a:chOff x="1005474" y="1410274"/>
            <a:chExt cx="2154476" cy="585318"/>
          </a:xfrm>
        </p:grpSpPr>
        <p:sp>
          <p:nvSpPr>
            <p:cNvPr id="3" name="!! purple box">
              <a:extLst>
                <a:ext uri="{FF2B5EF4-FFF2-40B4-BE49-F238E27FC236}">
                  <a16:creationId xmlns:a16="http://schemas.microsoft.com/office/drawing/2014/main" id="{860647C6-0776-6EE5-6F01-2B489570829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005474" y="1470457"/>
              <a:ext cx="2099411" cy="502809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4364C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146304" rIns="18288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18F9BF2-5292-AD10-83C0-6666BBF8BB6C}"/>
                </a:ext>
              </a:extLst>
            </p:cNvPr>
            <p:cNvSpPr txBox="1"/>
            <p:nvPr/>
          </p:nvSpPr>
          <p:spPr>
            <a:xfrm>
              <a:off x="1086875" y="1410274"/>
              <a:ext cx="2073075" cy="5853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Query </a:t>
              </a:r>
            </a:p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Rewriter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A464E7CA-8199-BF66-B048-A60B56858D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lum bright="70000" contrast="-70000"/>
            </a:blip>
            <a:stretch>
              <a:fillRect/>
            </a:stretch>
          </p:blipFill>
          <p:spPr>
            <a:xfrm>
              <a:off x="1072548" y="1593256"/>
              <a:ext cx="306883" cy="306883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3E3854C9-F2DD-C286-4EE3-79D413ECFD62}"/>
              </a:ext>
            </a:extLst>
          </p:cNvPr>
          <p:cNvSpPr txBox="1"/>
          <p:nvPr/>
        </p:nvSpPr>
        <p:spPr>
          <a:xfrm>
            <a:off x="4612124" y="1571341"/>
            <a:ext cx="743289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zure AI Agent Service</a:t>
            </a:r>
          </a:p>
        </p:txBody>
      </p:sp>
      <p:pic>
        <p:nvPicPr>
          <p:cNvPr id="14" name="Picture 13" descr="A colorful hexagon with stars&#10;&#10;Description automatically generated">
            <a:extLst>
              <a:ext uri="{FF2B5EF4-FFF2-40B4-BE49-F238E27FC236}">
                <a16:creationId xmlns:a16="http://schemas.microsoft.com/office/drawing/2014/main" id="{9042D90B-C409-0751-BB7A-FD8BCCCFBAC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7451" y="1541653"/>
            <a:ext cx="459568" cy="459568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CA73C18-B1FA-752B-78A6-2E32622D3985}"/>
              </a:ext>
            </a:extLst>
          </p:cNvPr>
          <p:cNvCxnSpPr>
            <a:cxnSpLocks/>
          </p:cNvCxnSpPr>
          <p:nvPr/>
        </p:nvCxnSpPr>
        <p:spPr>
          <a:xfrm>
            <a:off x="4763367" y="2142673"/>
            <a:ext cx="0" cy="528961"/>
          </a:xfrm>
          <a:prstGeom prst="line">
            <a:avLst/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arrow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10FCC955-9F56-B168-05C4-7FE783C2D3A2}"/>
              </a:ext>
            </a:extLst>
          </p:cNvPr>
          <p:cNvSpPr txBox="1"/>
          <p:nvPr/>
        </p:nvSpPr>
        <p:spPr>
          <a:xfrm>
            <a:off x="3810487" y="2653619"/>
            <a:ext cx="71113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LM</a:t>
            </a:r>
          </a:p>
        </p:txBody>
      </p:sp>
      <p:pic>
        <p:nvPicPr>
          <p:cNvPr id="23" name="Picture 22" descr="A blue square with a white star&#10;&#10;Description automatically generated">
            <a:extLst>
              <a:ext uri="{FF2B5EF4-FFF2-40B4-BE49-F238E27FC236}">
                <a16:creationId xmlns:a16="http://schemas.microsoft.com/office/drawing/2014/main" id="{05075F85-9C49-1546-45AE-3062E22F9D9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0758" y="2043361"/>
            <a:ext cx="644943" cy="644943"/>
          </a:xfrm>
          <a:prstGeom prst="rect">
            <a:avLst/>
          </a:prstGeom>
        </p:spPr>
      </p:pic>
      <p:cxnSp>
        <p:nvCxnSpPr>
          <p:cNvPr id="24" name="Elbow Connector 7200">
            <a:extLst>
              <a:ext uri="{FF2B5EF4-FFF2-40B4-BE49-F238E27FC236}">
                <a16:creationId xmlns:a16="http://schemas.microsoft.com/office/drawing/2014/main" id="{3CFCB521-9F1B-B484-935C-9E8C28800304}"/>
              </a:ext>
            </a:extLst>
          </p:cNvPr>
          <p:cNvCxnSpPr>
            <a:cxnSpLocks/>
            <a:stCxn id="23" idx="2"/>
            <a:endCxn id="91" idx="0"/>
          </p:cNvCxnSpPr>
          <p:nvPr/>
        </p:nvCxnSpPr>
        <p:spPr>
          <a:xfrm rot="16200000" flipH="1">
            <a:off x="3814312" y="2417222"/>
            <a:ext cx="393913" cy="936076"/>
          </a:xfrm>
          <a:prstGeom prst="bentConnector3">
            <a:avLst>
              <a:gd name="adj1" fmla="val 50000"/>
            </a:avLst>
          </a:prstGeom>
          <a:ln w="22225">
            <a:gradFill>
              <a:gsLst>
                <a:gs pos="0">
                  <a:srgbClr val="C03BC4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2000000" scaled="0"/>
            </a:gradFill>
            <a:headEnd type="none" w="lg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6" name="TextBox 1105">
            <a:extLst>
              <a:ext uri="{FF2B5EF4-FFF2-40B4-BE49-F238E27FC236}">
                <a16:creationId xmlns:a16="http://schemas.microsoft.com/office/drawing/2014/main" id="{741A5B79-1652-BE31-7084-9E8F5E5D77EA}"/>
              </a:ext>
            </a:extLst>
          </p:cNvPr>
          <p:cNvSpPr txBox="1"/>
          <p:nvPr/>
        </p:nvSpPr>
        <p:spPr>
          <a:xfrm>
            <a:off x="3065351" y="1776114"/>
            <a:ext cx="15001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zure OpenAI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kern="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 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rvice</a:t>
            </a:r>
          </a:p>
        </p:txBody>
      </p:sp>
    </p:spTree>
    <p:extLst>
      <p:ext uri="{BB962C8B-B14F-4D97-AF65-F5344CB8AC3E}">
        <p14:creationId xmlns:p14="http://schemas.microsoft.com/office/powerpoint/2010/main" val="689183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0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0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2" grpId="0" animBg="1"/>
      <p:bldP spid="16" grpId="0" animBg="1"/>
      <p:bldP spid="27" grpId="0" animBg="1"/>
      <p:bldP spid="76" grpId="0" animBg="1"/>
      <p:bldP spid="83" grpId="0" animBg="1"/>
      <p:bldP spid="108" grpId="0" animBg="1"/>
      <p:bldP spid="1024" grpId="0" animBg="1"/>
      <p:bldP spid="1025" grpId="0" animBg="1"/>
      <p:bldP spid="103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CfLukH7ZUSR5q5XqlB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Azure 2023 Template">
  <a:themeElements>
    <a:clrScheme name="Custom 4">
      <a:dk1>
        <a:srgbClr val="000000"/>
      </a:dk1>
      <a:lt1>
        <a:srgbClr val="FFFFFF"/>
      </a:lt1>
      <a:dk2>
        <a:srgbClr val="0078D4"/>
      </a:dk2>
      <a:lt2>
        <a:srgbClr val="E8E6DF"/>
      </a:lt2>
      <a:accent1>
        <a:srgbClr val="0078D4"/>
      </a:accent1>
      <a:accent2>
        <a:srgbClr val="2A446F"/>
      </a:accent2>
      <a:accent3>
        <a:srgbClr val="49C5B1"/>
      </a:accent3>
      <a:accent4>
        <a:srgbClr val="8DE971"/>
      </a:accent4>
      <a:accent5>
        <a:srgbClr val="F4364F"/>
      </a:accent5>
      <a:accent6>
        <a:srgbClr val="C03BC4"/>
      </a:accent6>
      <a:hlink>
        <a:srgbClr val="091F2C"/>
      </a:hlink>
      <a:folHlink>
        <a:srgbClr val="091F2C"/>
      </a:folHlink>
    </a:clrScheme>
    <a:fontScheme name="Custom 4">
      <a:majorFont>
        <a:latin typeface="Segoe Sans Text Semibold"/>
        <a:ea typeface=""/>
        <a:cs typeface=""/>
      </a:majorFont>
      <a:minorFont>
        <a:latin typeface="Segoe Sans Tex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AzureTemplate_2023_v09" id="{84C66EF3-53A2-9A4F-A8C8-B123E5EB98BF}" vid="{4F8F454D-D741-BE40-A1B6-EA401B48B1B9}"/>
    </a:ext>
  </a:extLst>
</a:theme>
</file>

<file path=docMetadata/LabelInfo.xml><?xml version="1.0" encoding="utf-8"?>
<clbl:labelList xmlns:clbl="http://schemas.microsoft.com/office/2020/mipLabelMetadata">
  <clbl:label id="{87867195-f2b8-4ac2-b0b6-6bb73cb33af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6965</TotalTime>
  <Words>514</Words>
  <Application>Microsoft Office PowerPoint</Application>
  <PresentationFormat>Widescreen</PresentationFormat>
  <Paragraphs>142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9" baseType="lpstr">
      <vt:lpstr>Aptos</vt:lpstr>
      <vt:lpstr>Aptos Display</vt:lpstr>
      <vt:lpstr>Arial</vt:lpstr>
      <vt:lpstr>Consolas</vt:lpstr>
      <vt:lpstr>Segoe Sans Display Semibold</vt:lpstr>
      <vt:lpstr>Segoe Sans Text</vt:lpstr>
      <vt:lpstr>Segoe Sans Text Semibold</vt:lpstr>
      <vt:lpstr>Segoe UI</vt:lpstr>
      <vt:lpstr>Segoe UI Semibold</vt:lpstr>
      <vt:lpstr>Wingdings</vt:lpstr>
      <vt:lpstr>Office Theme</vt:lpstr>
      <vt:lpstr>1_Azure 2023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ablo Salvador Lopez</dc:creator>
  <cp:lastModifiedBy>Pablo Salvador Lopez</cp:lastModifiedBy>
  <cp:revision>1</cp:revision>
  <dcterms:created xsi:type="dcterms:W3CDTF">2025-03-24T00:05:42Z</dcterms:created>
  <dcterms:modified xsi:type="dcterms:W3CDTF">2025-06-25T05:38:30Z</dcterms:modified>
</cp:coreProperties>
</file>